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tif" ContentType="image/tif"/>
  <Default Extension="vml" ContentType="application/vnd.openxmlformats-officedocument.vmlDrawing"/>
  <Default Extension="gif" ContentType="image/gif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notesSlides/notesSlide21.xml" ContentType="application/vnd.openxmlformats-officedocument.presentationml.notesSlide+xml"/>
  <Override PartName="/ppt/tags/tag5.xml" ContentType="application/vnd.openxmlformats-officedocument.presentationml.tags+xml"/>
  <Override PartName="/ppt/notesSlides/notesSlide22.xml" ContentType="application/vnd.openxmlformats-officedocument.presentationml.notesSlide+xml"/>
  <Override PartName="/ppt/tags/tag6.xml" ContentType="application/vnd.openxmlformats-officedocument.presentationml.tags+xml"/>
  <Override PartName="/ppt/notesSlides/notesSlide23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24.xml" ContentType="application/vnd.openxmlformats-officedocument.presentationml.notesSlide+xml"/>
  <Override PartName="/ppt/tags/tag10.xml" ContentType="application/vnd.openxmlformats-officedocument.presentationml.tags+xml"/>
  <Override PartName="/ppt/notesSlides/notesSlide25.xml" ContentType="application/vnd.openxmlformats-officedocument.presentationml.notesSlide+xml"/>
  <Override PartName="/ppt/tags/tag11.xml" ContentType="application/vnd.openxmlformats-officedocument.presentationml.tags+xml"/>
  <Override PartName="/ppt/notesSlides/notesSlide26.xml" ContentType="application/vnd.openxmlformats-officedocument.presentationml.notesSlide+xml"/>
  <Override PartName="/ppt/tags/tag12.xml" ContentType="application/vnd.openxmlformats-officedocument.presentationml.tags+xml"/>
  <Override PartName="/ppt/notesSlides/notesSlide27.xml" ContentType="application/vnd.openxmlformats-officedocument.presentationml.notesSlide+xml"/>
  <Override PartName="/ppt/tags/tag13.xml" ContentType="application/vnd.openxmlformats-officedocument.presentationml.tags+xml"/>
  <Override PartName="/ppt/notesSlides/notesSlide28.xml" ContentType="application/vnd.openxmlformats-officedocument.presentationml.notesSlid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2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86" r:id="rId2"/>
  </p:sldMasterIdLst>
  <p:notesMasterIdLst>
    <p:notesMasterId r:id="rId58"/>
  </p:notesMasterIdLst>
  <p:sldIdLst>
    <p:sldId id="455" r:id="rId3"/>
    <p:sldId id="625" r:id="rId4"/>
    <p:sldId id="626" r:id="rId5"/>
    <p:sldId id="627" r:id="rId6"/>
    <p:sldId id="628" r:id="rId7"/>
    <p:sldId id="629" r:id="rId8"/>
    <p:sldId id="630" r:id="rId9"/>
    <p:sldId id="631" r:id="rId10"/>
    <p:sldId id="632" r:id="rId11"/>
    <p:sldId id="633" r:id="rId12"/>
    <p:sldId id="634" r:id="rId13"/>
    <p:sldId id="635" r:id="rId14"/>
    <p:sldId id="636" r:id="rId15"/>
    <p:sldId id="637" r:id="rId16"/>
    <p:sldId id="638" r:id="rId17"/>
    <p:sldId id="639" r:id="rId18"/>
    <p:sldId id="640" r:id="rId19"/>
    <p:sldId id="641" r:id="rId20"/>
    <p:sldId id="642" r:id="rId21"/>
    <p:sldId id="643" r:id="rId22"/>
    <p:sldId id="619" r:id="rId23"/>
    <p:sldId id="574" r:id="rId24"/>
    <p:sldId id="575" r:id="rId25"/>
    <p:sldId id="602" r:id="rId26"/>
    <p:sldId id="580" r:id="rId27"/>
    <p:sldId id="603" r:id="rId28"/>
    <p:sldId id="489" r:id="rId29"/>
    <p:sldId id="620" r:id="rId30"/>
    <p:sldId id="488" r:id="rId31"/>
    <p:sldId id="490" r:id="rId32"/>
    <p:sldId id="491" r:id="rId33"/>
    <p:sldId id="496" r:id="rId34"/>
    <p:sldId id="495" r:id="rId35"/>
    <p:sldId id="520" r:id="rId36"/>
    <p:sldId id="604" r:id="rId37"/>
    <p:sldId id="494" r:id="rId38"/>
    <p:sldId id="605" r:id="rId39"/>
    <p:sldId id="527" r:id="rId40"/>
    <p:sldId id="606" r:id="rId41"/>
    <p:sldId id="588" r:id="rId42"/>
    <p:sldId id="610" r:id="rId43"/>
    <p:sldId id="531" r:id="rId44"/>
    <p:sldId id="611" r:id="rId45"/>
    <p:sldId id="594" r:id="rId46"/>
    <p:sldId id="507" r:id="rId47"/>
    <p:sldId id="596" r:id="rId48"/>
    <p:sldId id="614" r:id="rId49"/>
    <p:sldId id="621" r:id="rId50"/>
    <p:sldId id="622" r:id="rId51"/>
    <p:sldId id="623" r:id="rId52"/>
    <p:sldId id="624" r:id="rId53"/>
    <p:sldId id="645" r:id="rId54"/>
    <p:sldId id="646" r:id="rId55"/>
    <p:sldId id="524" r:id="rId56"/>
    <p:sldId id="644" r:id="rId57"/>
  </p:sldIdLst>
  <p:sldSz cx="12192000" cy="6858000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arina" initials="M" lastIdx="9" clrIdx="0">
    <p:extLst>
      <p:ext uri="{19B8F6BF-5375-455C-9EA6-DF929625EA0E}">
        <p15:presenceInfo xmlns:p15="http://schemas.microsoft.com/office/powerpoint/2012/main" userId="Marina" providerId="None"/>
      </p:ext>
    </p:extLst>
  </p:cmAuthor>
  <p:cmAuthor id="2" name="Leilas" initials="L" lastIdx="11" clrIdx="1">
    <p:extLst>
      <p:ext uri="{19B8F6BF-5375-455C-9EA6-DF929625EA0E}">
        <p15:presenceInfo xmlns:p15="http://schemas.microsoft.com/office/powerpoint/2012/main" userId="Leilas" providerId="None"/>
      </p:ext>
    </p:extLst>
  </p:cmAuthor>
  <p:cmAuthor id="3" name="Admin" initials="AAA" lastIdx="2" clrIdx="2">
    <p:extLst>
      <p:ext uri="{19B8F6BF-5375-455C-9EA6-DF929625EA0E}">
        <p15:presenceInfo xmlns:p15="http://schemas.microsoft.com/office/powerpoint/2012/main" userId="Admin" providerId="None"/>
      </p:ext>
    </p:extLst>
  </p:cmAuthor>
  <p:cmAuthor id="4" name="Шинко Елена Юрьевна" initials="ШЕЮ" lastIdx="37" clrIdx="3">
    <p:extLst>
      <p:ext uri="{19B8F6BF-5375-455C-9EA6-DF929625EA0E}">
        <p15:presenceInfo xmlns:p15="http://schemas.microsoft.com/office/powerpoint/2012/main" userId="S-1-5-21-4226584364-21557989-1436132917-153086" providerId="AD"/>
      </p:ext>
    </p:extLst>
  </p:cmAuthor>
  <p:cmAuthor id="5" name="Яковлев Е.С." initials="ЯЕС" lastIdx="19" clrIdx="4">
    <p:extLst>
      <p:ext uri="{19B8F6BF-5375-455C-9EA6-DF929625EA0E}">
        <p15:presenceInfo xmlns:p15="http://schemas.microsoft.com/office/powerpoint/2012/main" userId="Яковлев Е.С.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0F8FA"/>
    <a:srgbClr val="2D2B8D"/>
    <a:srgbClr val="0073B8"/>
    <a:srgbClr val="9ED442"/>
    <a:srgbClr val="40A7E1"/>
    <a:srgbClr val="F5B144"/>
    <a:srgbClr val="F6DB7E"/>
    <a:srgbClr val="E9950D"/>
    <a:srgbClr val="4383DD"/>
    <a:srgbClr val="79BFD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7132" autoAdjust="0"/>
    <p:restoredTop sz="95126" autoAdjust="0"/>
  </p:normalViewPr>
  <p:slideViewPr>
    <p:cSldViewPr snapToGrid="0">
      <p:cViewPr varScale="1">
        <p:scale>
          <a:sx n="111" d="100"/>
          <a:sy n="111" d="100"/>
        </p:scale>
        <p:origin x="390" y="114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-954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5226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slide" Target="slides/slide37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42" Type="http://schemas.openxmlformats.org/officeDocument/2006/relationships/slide" Target="slides/slide40.xml"/><Relationship Id="rId47" Type="http://schemas.openxmlformats.org/officeDocument/2006/relationships/slide" Target="slides/slide45.xml"/><Relationship Id="rId50" Type="http://schemas.openxmlformats.org/officeDocument/2006/relationships/slide" Target="slides/slide48.xml"/><Relationship Id="rId55" Type="http://schemas.openxmlformats.org/officeDocument/2006/relationships/slide" Target="slides/slide53.xml"/><Relationship Id="rId63" Type="http://schemas.openxmlformats.org/officeDocument/2006/relationships/tableStyles" Target="tableStyles.xml"/><Relationship Id="rId7" Type="http://schemas.openxmlformats.org/officeDocument/2006/relationships/slide" Target="slides/slide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9" Type="http://schemas.openxmlformats.org/officeDocument/2006/relationships/slide" Target="slides/slide27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slide" Target="slides/slide35.xml"/><Relationship Id="rId40" Type="http://schemas.openxmlformats.org/officeDocument/2006/relationships/slide" Target="slides/slide38.xml"/><Relationship Id="rId45" Type="http://schemas.openxmlformats.org/officeDocument/2006/relationships/slide" Target="slides/slide43.xml"/><Relationship Id="rId53" Type="http://schemas.openxmlformats.org/officeDocument/2006/relationships/slide" Target="slides/slide51.xml"/><Relationship Id="rId58" Type="http://schemas.openxmlformats.org/officeDocument/2006/relationships/notesMaster" Target="notesMasters/notesMaster1.xml"/><Relationship Id="rId5" Type="http://schemas.openxmlformats.org/officeDocument/2006/relationships/slide" Target="slides/slide3.xml"/><Relationship Id="rId61" Type="http://schemas.openxmlformats.org/officeDocument/2006/relationships/viewProps" Target="viewProps.xml"/><Relationship Id="rId19" Type="http://schemas.openxmlformats.org/officeDocument/2006/relationships/slide" Target="slides/slide1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slide" Target="slides/slide33.xml"/><Relationship Id="rId43" Type="http://schemas.openxmlformats.org/officeDocument/2006/relationships/slide" Target="slides/slide41.xml"/><Relationship Id="rId48" Type="http://schemas.openxmlformats.org/officeDocument/2006/relationships/slide" Target="slides/slide46.xml"/><Relationship Id="rId56" Type="http://schemas.openxmlformats.org/officeDocument/2006/relationships/slide" Target="slides/slide54.xml"/><Relationship Id="rId8" Type="http://schemas.openxmlformats.org/officeDocument/2006/relationships/slide" Target="slides/slide6.xml"/><Relationship Id="rId51" Type="http://schemas.openxmlformats.org/officeDocument/2006/relationships/slide" Target="slides/slide49.xml"/><Relationship Id="rId3" Type="http://schemas.openxmlformats.org/officeDocument/2006/relationships/slide" Target="slides/slide1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slide" Target="slides/slide36.xml"/><Relationship Id="rId46" Type="http://schemas.openxmlformats.org/officeDocument/2006/relationships/slide" Target="slides/slide44.xml"/><Relationship Id="rId59" Type="http://schemas.openxmlformats.org/officeDocument/2006/relationships/commentAuthors" Target="commentAuthors.xml"/><Relationship Id="rId20" Type="http://schemas.openxmlformats.org/officeDocument/2006/relationships/slide" Target="slides/slide18.xml"/><Relationship Id="rId41" Type="http://schemas.openxmlformats.org/officeDocument/2006/relationships/slide" Target="slides/slide39.xml"/><Relationship Id="rId54" Type="http://schemas.openxmlformats.org/officeDocument/2006/relationships/slide" Target="slides/slide52.xml"/><Relationship Id="rId62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slide" Target="slides/slide34.xml"/><Relationship Id="rId49" Type="http://schemas.openxmlformats.org/officeDocument/2006/relationships/slide" Target="slides/slide47.xml"/><Relationship Id="rId57" Type="http://schemas.openxmlformats.org/officeDocument/2006/relationships/slide" Target="slides/slide55.xml"/><Relationship Id="rId10" Type="http://schemas.openxmlformats.org/officeDocument/2006/relationships/slide" Target="slides/slide8.xml"/><Relationship Id="rId31" Type="http://schemas.openxmlformats.org/officeDocument/2006/relationships/slide" Target="slides/slide29.xml"/><Relationship Id="rId44" Type="http://schemas.openxmlformats.org/officeDocument/2006/relationships/slide" Target="slides/slide42.xml"/><Relationship Id="rId52" Type="http://schemas.openxmlformats.org/officeDocument/2006/relationships/slide" Target="slides/slide50.xml"/><Relationship Id="rId60" Type="http://schemas.openxmlformats.org/officeDocument/2006/relationships/presProps" Target="presProps.xml"/><Relationship Id="rId4" Type="http://schemas.openxmlformats.org/officeDocument/2006/relationships/slide" Target="slides/slide2.xml"/><Relationship Id="rId9" Type="http://schemas.openxmlformats.org/officeDocument/2006/relationships/slide" Target="slides/slide7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package" Target="../embeddings/_____Microsoft_Excel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pieChart>
        <c:varyColors val="1"/>
        <c:ser>
          <c:idx val="0"/>
          <c:order val="0"/>
          <c:dPt>
            <c:idx val="0"/>
            <c:bubble3D val="0"/>
            <c:spPr>
              <a:solidFill>
                <a:schemeClr val="accent4">
                  <a:lumMod val="60000"/>
                  <a:lumOff val="4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0D99-4910-80EE-307819B42EA8}"/>
              </c:ext>
            </c:extLst>
          </c:dPt>
          <c:dPt>
            <c:idx val="1"/>
            <c:bubble3D val="0"/>
            <c:spPr>
              <a:solidFill>
                <a:srgbClr val="00B0F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0D99-4910-80EE-307819B42EA8}"/>
              </c:ext>
            </c:extLst>
          </c:dPt>
          <c:dPt>
            <c:idx val="2"/>
            <c:bubble3D val="0"/>
            <c:spPr>
              <a:solidFill>
                <a:schemeClr val="accent5">
                  <a:lumMod val="7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0D99-4910-80EE-307819B42EA8}"/>
              </c:ext>
            </c:extLst>
          </c:dPt>
          <c:dPt>
            <c:idx val="3"/>
            <c:bubble3D val="0"/>
            <c:spPr>
              <a:solidFill>
                <a:srgbClr val="00B05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0D99-4910-80EE-307819B42EA8}"/>
              </c:ext>
            </c:extLst>
          </c:dPt>
          <c:dPt>
            <c:idx val="4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0D99-4910-80EE-307819B42EA8}"/>
              </c:ext>
            </c:extLst>
          </c:dPt>
          <c:val>
            <c:numRef>
              <c:f>Лист1!$N$13:$N$17</c:f>
              <c:numCache>
                <c:formatCode>General</c:formatCode>
                <c:ptCount val="5"/>
                <c:pt idx="0">
                  <c:v>20</c:v>
                </c:pt>
                <c:pt idx="1">
                  <c:v>20</c:v>
                </c:pt>
                <c:pt idx="2">
                  <c:v>20</c:v>
                </c:pt>
                <c:pt idx="3">
                  <c:v>20</c:v>
                </c:pt>
                <c:pt idx="4">
                  <c:v>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0D99-4910-80EE-307819B42EA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 w="25400"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4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DBF8789-1979-4371-9085-ABA0C510A7FF}" type="datetimeFigureOut">
              <a:rPr lang="ru-RU" smtClean="0"/>
              <a:t>18.03.2021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BBC4957-3E6D-44F6-80D1-E054D6E6E008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9378170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400" dirty="0"/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>
          <a:xfrm>
            <a:off x="0" y="0"/>
            <a:ext cx="2949575" cy="496888"/>
          </a:xfrm>
          <a:prstGeom prst="rect">
            <a:avLst/>
          </a:prstGeom>
        </p:spPr>
        <p:txBody>
          <a:bodyPr/>
          <a:lstStyle/>
          <a:p>
            <a:r>
              <a:rPr lang="ru-RU" dirty="0"/>
              <a:t>1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>
          <a:xfrm>
            <a:off x="3854450" y="0"/>
            <a:ext cx="2949575" cy="496888"/>
          </a:xfrm>
          <a:prstGeom prst="rect">
            <a:avLst/>
          </a:prstGeom>
        </p:spPr>
        <p:txBody>
          <a:bodyPr/>
          <a:lstStyle/>
          <a:p>
            <a:fld id="{F834F1D5-33B3-480A-A4E8-311841A67364}" type="datetime1">
              <a:rPr lang="ru-RU" smtClean="0"/>
              <a:t>18.03.202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7080958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BBC4957-3E6D-44F6-80D1-E054D6E6E008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9801926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BBC4957-3E6D-44F6-80D1-E054D6E6E008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4012251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BBC4957-3E6D-44F6-80D1-E054D6E6E008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9362763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BBC4957-3E6D-44F6-80D1-E054D6E6E008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1406124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BBC4957-3E6D-44F6-80D1-E054D6E6E008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7194913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BBC4957-3E6D-44F6-80D1-E054D6E6E008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9873562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BBC4957-3E6D-44F6-80D1-E054D6E6E008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20643885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BBC4957-3E6D-44F6-80D1-E054D6E6E008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75875958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BBC4957-3E6D-44F6-80D1-E054D6E6E008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53800322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BBC4957-3E6D-44F6-80D1-E054D6E6E008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9550340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BBC4957-3E6D-44F6-80D1-E054D6E6E008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58550750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BBC4957-3E6D-44F6-80D1-E054D6E6E008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43781798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BBC4957-3E6D-44F6-80D1-E054D6E6E008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33536516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91053"/>
            <a:r>
              <a:rPr lang="ru-RU" sz="1800" dirty="0"/>
              <a:t>Формирование социально активной личности, сознательно и деятельно участвующей в деятельности, направленной на преобразование социальных условий, — необходимое условие создания гражданского общества и правового государства.</a:t>
            </a:r>
          </a:p>
          <a:p>
            <a:pPr indent="291053"/>
            <a:r>
              <a:rPr lang="ru-RU" sz="1800" dirty="0"/>
              <a:t>Наши учебные издания помогут вам подготовить людей, способных с пользой участвовать в преобразовании сферы социальных отношений.</a:t>
            </a:r>
          </a:p>
          <a:p>
            <a:pPr indent="291053"/>
            <a:r>
              <a:rPr lang="ru-RU" sz="1800" dirty="0"/>
              <a:t>Обращаем ваше особое внимание на новые проекты, такие как:</a:t>
            </a:r>
          </a:p>
          <a:p>
            <a:pPr indent="291053"/>
            <a:r>
              <a:rPr lang="ru-RU" sz="1800" dirty="0"/>
              <a:t>– «Экология»,</a:t>
            </a:r>
          </a:p>
          <a:p>
            <a:pPr indent="291053"/>
            <a:r>
              <a:rPr lang="ru-RU" sz="1800" dirty="0"/>
              <a:t>– «Лидерство»,</a:t>
            </a:r>
          </a:p>
          <a:p>
            <a:pPr indent="291053"/>
            <a:r>
              <a:rPr lang="ru-RU" sz="1800" dirty="0"/>
              <a:t>– «</a:t>
            </a:r>
            <a:r>
              <a:rPr lang="ru-RU" sz="1800" dirty="0" err="1"/>
              <a:t>Волонтерство</a:t>
            </a:r>
            <a:r>
              <a:rPr lang="ru-RU" sz="1800" dirty="0"/>
              <a:t>», а также проект «Право» издательства «Просвещение», который оказывает правовую поддержку школам и педагогам.</a:t>
            </a:r>
          </a:p>
          <a:p>
            <a:endParaRPr lang="ru-RU" sz="1800" dirty="0"/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>
          <a:xfrm>
            <a:off x="0" y="0"/>
            <a:ext cx="2927044" cy="540366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240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>
          <a:xfrm>
            <a:off x="3825007" y="0"/>
            <a:ext cx="2927044" cy="540366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240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48F52C9-DC5B-46C3-93BE-8BD8D1CF841E}" type="datetime1">
              <a:rPr kumimoji="0" lang="ru-RU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2409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.03.2021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22206159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91053"/>
            <a:r>
              <a:rPr lang="ru-RU" sz="1800" dirty="0"/>
              <a:t>Формирование социально активной личности, сознательно и деятельно участвующей в деятельности, направленной на преобразование социальных условий, — необходимое условие создания гражданского общества и правового государства.</a:t>
            </a:r>
          </a:p>
          <a:p>
            <a:pPr indent="291053"/>
            <a:r>
              <a:rPr lang="ru-RU" sz="1800" dirty="0"/>
              <a:t>Наши учебные издания помогут вам подготовить людей, способных с пользой участвовать в преобразовании сферы социальных отношений.</a:t>
            </a:r>
          </a:p>
          <a:p>
            <a:pPr indent="291053"/>
            <a:r>
              <a:rPr lang="ru-RU" sz="1800" dirty="0"/>
              <a:t>Обращаем ваше особое внимание на новые проекты, такие как:</a:t>
            </a:r>
          </a:p>
          <a:p>
            <a:pPr indent="291053"/>
            <a:r>
              <a:rPr lang="ru-RU" sz="1800" dirty="0"/>
              <a:t>– «Экология»,</a:t>
            </a:r>
          </a:p>
          <a:p>
            <a:pPr indent="291053"/>
            <a:r>
              <a:rPr lang="ru-RU" sz="1800" dirty="0"/>
              <a:t>– «Лидерство»,</a:t>
            </a:r>
          </a:p>
          <a:p>
            <a:pPr indent="291053"/>
            <a:r>
              <a:rPr lang="ru-RU" sz="1800" dirty="0"/>
              <a:t>– «</a:t>
            </a:r>
            <a:r>
              <a:rPr lang="ru-RU" sz="1800" dirty="0" err="1"/>
              <a:t>Волонтерство</a:t>
            </a:r>
            <a:r>
              <a:rPr lang="ru-RU" sz="1800" dirty="0"/>
              <a:t>», а также проект «Право» издательства «Просвещение», который оказывает правовую поддержку школам и педагогам.</a:t>
            </a:r>
          </a:p>
          <a:p>
            <a:endParaRPr lang="ru-RU" sz="1800" dirty="0"/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>
          <a:xfrm>
            <a:off x="0" y="0"/>
            <a:ext cx="2927044" cy="540366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240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>
          <a:xfrm>
            <a:off x="3825007" y="0"/>
            <a:ext cx="2927044" cy="540366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240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48F52C9-DC5B-46C3-93BE-8BD8D1CF841E}" type="datetime1">
              <a:rPr kumimoji="0" lang="ru-RU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2409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.03.2021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24828455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91053"/>
            <a:r>
              <a:rPr lang="ru-RU" sz="1800" dirty="0"/>
              <a:t>Формирование социально активной личности, сознательно и деятельно участвующей в деятельности, направленной на преобразование социальных условий, — необходимое условие создания гражданского общества и правового государства.</a:t>
            </a:r>
          </a:p>
          <a:p>
            <a:pPr indent="291053"/>
            <a:r>
              <a:rPr lang="ru-RU" sz="1800" dirty="0"/>
              <a:t>Наши учебные издания помогут вам подготовить людей, способных с пользой участвовать в преобразовании сферы социальных отношений.</a:t>
            </a:r>
          </a:p>
          <a:p>
            <a:pPr indent="291053"/>
            <a:r>
              <a:rPr lang="ru-RU" sz="1800" dirty="0"/>
              <a:t>Обращаем ваше особое внимание на новые проекты, такие как:</a:t>
            </a:r>
          </a:p>
          <a:p>
            <a:pPr indent="291053"/>
            <a:r>
              <a:rPr lang="ru-RU" sz="1800" dirty="0"/>
              <a:t>– «Экология»,</a:t>
            </a:r>
          </a:p>
          <a:p>
            <a:pPr indent="291053"/>
            <a:r>
              <a:rPr lang="ru-RU" sz="1800" dirty="0"/>
              <a:t>– «Лидерство»,</a:t>
            </a:r>
          </a:p>
          <a:p>
            <a:pPr indent="291053"/>
            <a:r>
              <a:rPr lang="ru-RU" sz="1800" dirty="0"/>
              <a:t>– «</a:t>
            </a:r>
            <a:r>
              <a:rPr lang="ru-RU" sz="1800" dirty="0" err="1"/>
              <a:t>Волонтерство</a:t>
            </a:r>
            <a:r>
              <a:rPr lang="ru-RU" sz="1800" dirty="0"/>
              <a:t>», а также проект «Право» издательства «Просвещение», который оказывает правовую поддержку школам и педагогам.</a:t>
            </a:r>
          </a:p>
          <a:p>
            <a:endParaRPr lang="ru-RU" sz="1800" dirty="0"/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>
          <a:xfrm>
            <a:off x="0" y="0"/>
            <a:ext cx="2927044" cy="540366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240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>
          <a:xfrm>
            <a:off x="3825007" y="0"/>
            <a:ext cx="2927044" cy="540366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240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48F52C9-DC5B-46C3-93BE-8BD8D1CF841E}" type="datetime1">
              <a:rPr kumimoji="0" lang="ru-RU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2409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.03.2021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50736763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91053"/>
            <a:r>
              <a:rPr lang="ru-RU" sz="1800" dirty="0"/>
              <a:t>Формирование социально активной личности, сознательно и деятельно участвующей в деятельности, направленной на преобразование социальных условий, — необходимое условие создания гражданского общества и правового государства.</a:t>
            </a:r>
          </a:p>
          <a:p>
            <a:pPr indent="291053"/>
            <a:r>
              <a:rPr lang="ru-RU" sz="1800" dirty="0"/>
              <a:t>Наши учебные издания помогут вам подготовить людей, способных с пользой участвовать в преобразовании сферы социальных отношений.</a:t>
            </a:r>
          </a:p>
          <a:p>
            <a:pPr indent="291053"/>
            <a:r>
              <a:rPr lang="ru-RU" sz="1800" dirty="0"/>
              <a:t>Обращаем ваше особое внимание на новые проекты, такие как:</a:t>
            </a:r>
          </a:p>
          <a:p>
            <a:pPr indent="291053"/>
            <a:r>
              <a:rPr lang="ru-RU" sz="1800" dirty="0"/>
              <a:t>– «Экология»,</a:t>
            </a:r>
          </a:p>
          <a:p>
            <a:pPr indent="291053"/>
            <a:r>
              <a:rPr lang="ru-RU" sz="1800" dirty="0"/>
              <a:t>– «Лидерство»,</a:t>
            </a:r>
          </a:p>
          <a:p>
            <a:pPr indent="291053"/>
            <a:r>
              <a:rPr lang="ru-RU" sz="1800" dirty="0"/>
              <a:t>– «</a:t>
            </a:r>
            <a:r>
              <a:rPr lang="ru-RU" sz="1800" dirty="0" err="1"/>
              <a:t>Волонтерство</a:t>
            </a:r>
            <a:r>
              <a:rPr lang="ru-RU" sz="1800" dirty="0"/>
              <a:t>», а также проект «Право» издательства «Просвещение», который оказывает правовую поддержку школам и педагогам.</a:t>
            </a:r>
          </a:p>
          <a:p>
            <a:endParaRPr lang="ru-RU" sz="1800" dirty="0"/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>
          <a:xfrm>
            <a:off x="0" y="0"/>
            <a:ext cx="2927044" cy="540366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240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>
          <a:xfrm>
            <a:off x="3825007" y="0"/>
            <a:ext cx="2927044" cy="540366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240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48F52C9-DC5B-46C3-93BE-8BD8D1CF841E}" type="datetime1">
              <a:rPr kumimoji="0" lang="ru-RU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2409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.03.2021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28050095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91053"/>
            <a:r>
              <a:rPr lang="ru-RU" sz="1800" dirty="0"/>
              <a:t>Формирование социально активной личности, сознательно и деятельно участвующей в деятельности, направленной на преобразование социальных условий, — необходимое условие создания гражданского общества и правового государства.</a:t>
            </a:r>
          </a:p>
          <a:p>
            <a:pPr indent="291053"/>
            <a:r>
              <a:rPr lang="ru-RU" sz="1800" dirty="0"/>
              <a:t>Наши учебные издания помогут вам подготовить людей, способных с пользой участвовать в преобразовании сферы социальных отношений.</a:t>
            </a:r>
          </a:p>
          <a:p>
            <a:pPr indent="291053"/>
            <a:r>
              <a:rPr lang="ru-RU" sz="1800" dirty="0"/>
              <a:t>Обращаем ваше особое внимание на новые проекты, такие как:</a:t>
            </a:r>
          </a:p>
          <a:p>
            <a:pPr indent="291053"/>
            <a:r>
              <a:rPr lang="ru-RU" sz="1800" dirty="0"/>
              <a:t>– «Экология»,</a:t>
            </a:r>
          </a:p>
          <a:p>
            <a:pPr indent="291053"/>
            <a:r>
              <a:rPr lang="ru-RU" sz="1800" dirty="0"/>
              <a:t>– «Лидерство»,</a:t>
            </a:r>
          </a:p>
          <a:p>
            <a:pPr indent="291053"/>
            <a:r>
              <a:rPr lang="ru-RU" sz="1800" dirty="0"/>
              <a:t>– «</a:t>
            </a:r>
            <a:r>
              <a:rPr lang="ru-RU" sz="1800" dirty="0" err="1"/>
              <a:t>Волонтерство</a:t>
            </a:r>
            <a:r>
              <a:rPr lang="ru-RU" sz="1800" dirty="0"/>
              <a:t>», а также проект «Право» издательства «Просвещение», который оказывает правовую поддержку школам и педагогам.</a:t>
            </a:r>
          </a:p>
          <a:p>
            <a:endParaRPr lang="ru-RU" sz="1800" dirty="0"/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>
          <a:xfrm>
            <a:off x="0" y="0"/>
            <a:ext cx="2927044" cy="540366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240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>
          <a:xfrm>
            <a:off x="3825007" y="0"/>
            <a:ext cx="2927044" cy="540366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240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48F52C9-DC5B-46C3-93BE-8BD8D1CF841E}" type="datetime1">
              <a:rPr kumimoji="0" lang="ru-RU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2409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.03.2021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4202661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91053"/>
            <a:r>
              <a:rPr lang="ru-RU" sz="1800" dirty="0"/>
              <a:t>Формирование социально активной личности, сознательно и деятельно участвующей в деятельности, направленной на преобразование социальных условий, — необходимое условие создания гражданского общества и правового государства.</a:t>
            </a:r>
          </a:p>
          <a:p>
            <a:pPr indent="291053"/>
            <a:r>
              <a:rPr lang="ru-RU" sz="1800" dirty="0"/>
              <a:t>Наши учебные издания помогут вам подготовить людей, способных с пользой участвовать в преобразовании сферы социальных отношений.</a:t>
            </a:r>
          </a:p>
          <a:p>
            <a:pPr indent="291053"/>
            <a:r>
              <a:rPr lang="ru-RU" sz="1800" dirty="0"/>
              <a:t>Обращаем ваше особое внимание на новые проекты, такие как:</a:t>
            </a:r>
          </a:p>
          <a:p>
            <a:pPr indent="291053"/>
            <a:r>
              <a:rPr lang="ru-RU" sz="1800" dirty="0"/>
              <a:t>– «Экология»,</a:t>
            </a:r>
          </a:p>
          <a:p>
            <a:pPr indent="291053"/>
            <a:r>
              <a:rPr lang="ru-RU" sz="1800" dirty="0"/>
              <a:t>– «Лидерство»,</a:t>
            </a:r>
          </a:p>
          <a:p>
            <a:pPr indent="291053"/>
            <a:r>
              <a:rPr lang="ru-RU" sz="1800" dirty="0"/>
              <a:t>– «</a:t>
            </a:r>
            <a:r>
              <a:rPr lang="ru-RU" sz="1800" dirty="0" err="1"/>
              <a:t>Волонтерство</a:t>
            </a:r>
            <a:r>
              <a:rPr lang="ru-RU" sz="1800" dirty="0"/>
              <a:t>», а также проект «Право» издательства «Просвещение», который оказывает правовую поддержку школам и педагогам.</a:t>
            </a:r>
          </a:p>
          <a:p>
            <a:endParaRPr lang="ru-RU" sz="1800" dirty="0"/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>
          <a:xfrm>
            <a:off x="0" y="0"/>
            <a:ext cx="2927044" cy="540366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240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>
          <a:xfrm>
            <a:off x="3825007" y="0"/>
            <a:ext cx="2927044" cy="540366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240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48F52C9-DC5B-46C3-93BE-8BD8D1CF841E}" type="datetime1">
              <a:rPr kumimoji="0" lang="ru-RU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2409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.03.2021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13246719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91053"/>
            <a:r>
              <a:rPr lang="ru-RU" sz="1800" dirty="0"/>
              <a:t>Формирование социально активной личности, сознательно и деятельно участвующей в деятельности, направленной на преобразование социальных условий, — необходимое условие создания гражданского общества и правового государства.</a:t>
            </a:r>
          </a:p>
          <a:p>
            <a:pPr indent="291053"/>
            <a:r>
              <a:rPr lang="ru-RU" sz="1800" dirty="0"/>
              <a:t>Наши учебные издания помогут вам подготовить людей, способных с пользой участвовать в преобразовании сферы социальных отношений.</a:t>
            </a:r>
          </a:p>
          <a:p>
            <a:pPr indent="291053"/>
            <a:r>
              <a:rPr lang="ru-RU" sz="1800" dirty="0"/>
              <a:t>Обращаем ваше особое внимание на новые проекты, такие как:</a:t>
            </a:r>
          </a:p>
          <a:p>
            <a:pPr indent="291053"/>
            <a:r>
              <a:rPr lang="ru-RU" sz="1800" dirty="0"/>
              <a:t>– «Экология»,</a:t>
            </a:r>
          </a:p>
          <a:p>
            <a:pPr indent="291053"/>
            <a:r>
              <a:rPr lang="ru-RU" sz="1800" dirty="0"/>
              <a:t>– «Лидерство»,</a:t>
            </a:r>
          </a:p>
          <a:p>
            <a:pPr indent="291053"/>
            <a:r>
              <a:rPr lang="ru-RU" sz="1800" dirty="0"/>
              <a:t>– «</a:t>
            </a:r>
            <a:r>
              <a:rPr lang="ru-RU" sz="1800" dirty="0" err="1"/>
              <a:t>Волонтерство</a:t>
            </a:r>
            <a:r>
              <a:rPr lang="ru-RU" sz="1800" dirty="0"/>
              <a:t>», а также проект «Право» издательства «Просвещение», который оказывает правовую поддержку школам и педагогам.</a:t>
            </a:r>
          </a:p>
          <a:p>
            <a:endParaRPr lang="ru-RU" sz="1800" dirty="0"/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>
          <a:xfrm>
            <a:off x="0" y="0"/>
            <a:ext cx="2927044" cy="540366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240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>
          <a:xfrm>
            <a:off x="3825007" y="0"/>
            <a:ext cx="2927044" cy="540366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240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48F52C9-DC5B-46C3-93BE-8BD8D1CF841E}" type="datetime1">
              <a:rPr kumimoji="0" lang="ru-RU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2409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.03.2021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89630405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400" dirty="0"/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>
          <a:xfrm>
            <a:off x="0" y="0"/>
            <a:ext cx="2927044" cy="540366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>
          <a:xfrm>
            <a:off x="3825007" y="0"/>
            <a:ext cx="2927044" cy="540366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834F1D5-33B3-480A-A4E8-311841A67364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.03.2021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5202140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BBC4957-3E6D-44F6-80D1-E054D6E6E008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197103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BBC4957-3E6D-44F6-80D1-E054D6E6E008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8793637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BBC4957-3E6D-44F6-80D1-E054D6E6E008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1560295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BBC4957-3E6D-44F6-80D1-E054D6E6E008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589235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BBC4957-3E6D-44F6-80D1-E054D6E6E008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4634231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BBC4957-3E6D-44F6-80D1-E054D6E6E008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1433551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BBC4957-3E6D-44F6-80D1-E054D6E6E008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4887074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if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oleObject" Target="../embeddings/oleObject2.bin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/>
              <a:t>18.03.2021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9050214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/>
              <a:t>18.03.2021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984659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/>
              <a:t>18.03.2021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368845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and body">
    <p:spTree>
      <p:nvGrpSpPr>
        <p:cNvPr id="1" name="Shape 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Shape 59"/>
          <p:cNvSpPr txBox="1">
            <a:spLocks noGrp="1"/>
          </p:cNvSpPr>
          <p:nvPr>
            <p:ph type="title"/>
          </p:nvPr>
        </p:nvSpPr>
        <p:spPr>
          <a:xfrm>
            <a:off x="609600" y="274637"/>
            <a:ext cx="10972800" cy="1143200"/>
          </a:xfrm>
          <a:prstGeom prst="rect">
            <a:avLst/>
          </a:prstGeom>
        </p:spPr>
        <p:txBody>
          <a:bodyPr lIns="91425" tIns="91425" rIns="91425" bIns="91425" anchor="b" anchorCtr="0"/>
          <a:lstStyle>
            <a:lvl1pPr lvl="0" rtl="0">
              <a:spcBef>
                <a:spcPts val="0"/>
              </a:spcBef>
              <a:defRPr/>
            </a:lvl1pPr>
            <a:lvl2pPr lvl="1" rtl="0">
              <a:spcBef>
                <a:spcPts val="0"/>
              </a:spcBef>
              <a:defRPr/>
            </a:lvl2pPr>
            <a:lvl3pPr lvl="2" rtl="0">
              <a:spcBef>
                <a:spcPts val="0"/>
              </a:spcBef>
              <a:defRPr/>
            </a:lvl3pPr>
            <a:lvl4pPr lvl="3" rtl="0">
              <a:spcBef>
                <a:spcPts val="0"/>
              </a:spcBef>
              <a:defRPr/>
            </a:lvl4pPr>
            <a:lvl5pPr lvl="4" rtl="0">
              <a:spcBef>
                <a:spcPts val="0"/>
              </a:spcBef>
              <a:defRPr/>
            </a:lvl5pPr>
            <a:lvl6pPr lvl="5" rtl="0">
              <a:spcBef>
                <a:spcPts val="0"/>
              </a:spcBef>
              <a:defRPr/>
            </a:lvl6pPr>
            <a:lvl7pPr lvl="6" rtl="0">
              <a:spcBef>
                <a:spcPts val="0"/>
              </a:spcBef>
              <a:defRPr/>
            </a:lvl7pPr>
            <a:lvl8pPr lvl="7" rtl="0">
              <a:spcBef>
                <a:spcPts val="0"/>
              </a:spcBef>
              <a:defRPr/>
            </a:lvl8pPr>
            <a:lvl9pPr lvl="8" rtl="0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60" name="Shape 60"/>
          <p:cNvSpPr txBox="1">
            <a:spLocks noGrp="1"/>
          </p:cNvSpPr>
          <p:nvPr>
            <p:ph type="body" idx="1"/>
          </p:nvPr>
        </p:nvSpPr>
        <p:spPr>
          <a:xfrm>
            <a:off x="609600" y="1600200"/>
            <a:ext cx="10972800" cy="4967600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lvl="0" rtl="0">
              <a:spcBef>
                <a:spcPts val="0"/>
              </a:spcBef>
              <a:defRPr/>
            </a:lvl1pPr>
            <a:lvl2pPr lvl="1" rtl="0">
              <a:spcBef>
                <a:spcPts val="0"/>
              </a:spcBef>
              <a:defRPr/>
            </a:lvl2pPr>
            <a:lvl3pPr lvl="2" rtl="0">
              <a:spcBef>
                <a:spcPts val="0"/>
              </a:spcBef>
              <a:defRPr/>
            </a:lvl3pPr>
            <a:lvl4pPr lvl="3" rtl="0">
              <a:spcBef>
                <a:spcPts val="0"/>
              </a:spcBef>
              <a:defRPr/>
            </a:lvl4pPr>
            <a:lvl5pPr lvl="4" rtl="0">
              <a:spcBef>
                <a:spcPts val="0"/>
              </a:spcBef>
              <a:defRPr/>
            </a:lvl5pPr>
            <a:lvl6pPr lvl="5" rtl="0">
              <a:spcBef>
                <a:spcPts val="0"/>
              </a:spcBef>
              <a:defRPr/>
            </a:lvl6pPr>
            <a:lvl7pPr lvl="6" rtl="0">
              <a:spcBef>
                <a:spcPts val="0"/>
              </a:spcBef>
              <a:defRPr/>
            </a:lvl7pPr>
            <a:lvl8pPr lvl="7" rtl="0">
              <a:spcBef>
                <a:spcPts val="0"/>
              </a:spcBef>
              <a:defRPr/>
            </a:lvl8pPr>
            <a:lvl9pPr lvl="8" rtl="0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61" name="Shape 61"/>
          <p:cNvSpPr txBox="1">
            <a:spLocks noGrp="1"/>
          </p:cNvSpPr>
          <p:nvPr>
            <p:ph type="sldNum" idx="12"/>
          </p:nvPr>
        </p:nvSpPr>
        <p:spPr>
          <a:xfrm>
            <a:off x="11409055" y="6333133"/>
            <a:ext cx="731600" cy="524800"/>
          </a:xfrm>
          <a:prstGeom prst="rect">
            <a:avLst/>
          </a:prstGeom>
        </p:spPr>
        <p:txBody>
          <a:bodyPr lIns="91425" tIns="91425" rIns="91425" bIns="91425" anchor="ctr" anchorCtr="0">
            <a:noAutofit/>
          </a:bodyPr>
          <a:lstStyle/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96518116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Линия"/>
          <p:cNvSpPr/>
          <p:nvPr/>
        </p:nvSpPr>
        <p:spPr>
          <a:xfrm>
            <a:off x="5924339" y="880580"/>
            <a:ext cx="212637" cy="527711"/>
          </a:xfrm>
          <a:prstGeom prst="line">
            <a:avLst/>
          </a:prstGeom>
          <a:ln w="25400">
            <a:solidFill>
              <a:srgbClr val="FFFFFF"/>
            </a:solidFill>
            <a:miter lim="400000"/>
          </a:ln>
        </p:spPr>
        <p:txBody>
          <a:bodyPr lIns="35719" tIns="35719" rIns="35719" bIns="35719" anchor="ctr"/>
          <a:lstStyle/>
          <a:p>
            <a:pPr>
              <a:defRPr sz="3200"/>
            </a:pPr>
            <a:endParaRPr sz="1600"/>
          </a:p>
        </p:txBody>
      </p:sp>
      <p:sp>
        <p:nvSpPr>
          <p:cNvPr id="21" name="Линия"/>
          <p:cNvSpPr/>
          <p:nvPr/>
        </p:nvSpPr>
        <p:spPr>
          <a:xfrm flipH="1">
            <a:off x="6055025" y="880580"/>
            <a:ext cx="212637" cy="527711"/>
          </a:xfrm>
          <a:prstGeom prst="line">
            <a:avLst/>
          </a:prstGeom>
          <a:ln w="25400">
            <a:solidFill>
              <a:srgbClr val="FFFFFF"/>
            </a:solidFill>
            <a:miter lim="400000"/>
          </a:ln>
        </p:spPr>
        <p:txBody>
          <a:bodyPr lIns="35719" tIns="35719" rIns="35719" bIns="35719" anchor="ctr"/>
          <a:lstStyle/>
          <a:p>
            <a:pPr>
              <a:defRPr sz="3200"/>
            </a:pPr>
            <a:endParaRPr sz="1600"/>
          </a:p>
        </p:txBody>
      </p:sp>
      <p:sp>
        <p:nvSpPr>
          <p:cNvPr id="22" name="Линия"/>
          <p:cNvSpPr/>
          <p:nvPr/>
        </p:nvSpPr>
        <p:spPr>
          <a:xfrm flipH="1">
            <a:off x="6010376" y="880580"/>
            <a:ext cx="212637" cy="527711"/>
          </a:xfrm>
          <a:prstGeom prst="line">
            <a:avLst/>
          </a:prstGeom>
          <a:ln w="12700">
            <a:solidFill>
              <a:srgbClr val="FFFFFF"/>
            </a:solidFill>
            <a:miter lim="400000"/>
          </a:ln>
        </p:spPr>
        <p:txBody>
          <a:bodyPr lIns="35719" tIns="35719" rIns="35719" bIns="35719" anchor="ctr"/>
          <a:lstStyle/>
          <a:p>
            <a:pPr>
              <a:defRPr sz="3200"/>
            </a:pPr>
            <a:endParaRPr sz="1600"/>
          </a:p>
        </p:txBody>
      </p:sp>
      <p:sp>
        <p:nvSpPr>
          <p:cNvPr id="23" name="Линия"/>
          <p:cNvSpPr/>
          <p:nvPr/>
        </p:nvSpPr>
        <p:spPr>
          <a:xfrm>
            <a:off x="5776306" y="1279922"/>
            <a:ext cx="639390" cy="1"/>
          </a:xfrm>
          <a:prstGeom prst="line">
            <a:avLst/>
          </a:prstGeom>
          <a:ln w="12700">
            <a:solidFill>
              <a:srgbClr val="FFFFFF"/>
            </a:solidFill>
            <a:miter lim="400000"/>
          </a:ln>
        </p:spPr>
        <p:txBody>
          <a:bodyPr lIns="35719" tIns="35719" rIns="35719" bIns="35719" anchor="ctr"/>
          <a:lstStyle/>
          <a:p>
            <a:pPr>
              <a:defRPr sz="3200"/>
            </a:pPr>
            <a:endParaRPr sz="1600"/>
          </a:p>
        </p:txBody>
      </p:sp>
      <p:sp>
        <p:nvSpPr>
          <p:cNvPr id="24" name="Прямоугольник"/>
          <p:cNvSpPr/>
          <p:nvPr/>
        </p:nvSpPr>
        <p:spPr>
          <a:xfrm>
            <a:off x="-1390" y="-5954"/>
            <a:ext cx="12194779" cy="317470"/>
          </a:xfrm>
          <a:prstGeom prst="rect">
            <a:avLst/>
          </a:prstGeom>
          <a:solidFill>
            <a:srgbClr val="294891"/>
          </a:solidFill>
          <a:ln w="12700">
            <a:miter lim="400000"/>
          </a:ln>
        </p:spPr>
        <p:txBody>
          <a:bodyPr lIns="35719" tIns="35719" rIns="35719" bIns="35719" anchor="ctr"/>
          <a:lstStyle/>
          <a:p>
            <a:pPr>
              <a:defRPr sz="3200">
                <a:solidFill>
                  <a:srgbClr val="294891"/>
                </a:solidFill>
              </a:defRPr>
            </a:pPr>
            <a:endParaRPr sz="1600"/>
          </a:p>
        </p:txBody>
      </p:sp>
      <p:sp>
        <p:nvSpPr>
          <p:cNvPr id="25" name="Прямоугольник"/>
          <p:cNvSpPr/>
          <p:nvPr/>
        </p:nvSpPr>
        <p:spPr>
          <a:xfrm>
            <a:off x="-1389" y="6546820"/>
            <a:ext cx="12194779" cy="317470"/>
          </a:xfrm>
          <a:prstGeom prst="rect">
            <a:avLst/>
          </a:prstGeom>
          <a:solidFill>
            <a:srgbClr val="294891"/>
          </a:solidFill>
          <a:ln w="12700">
            <a:miter lim="400000"/>
          </a:ln>
        </p:spPr>
        <p:txBody>
          <a:bodyPr lIns="35719" tIns="35719" rIns="35719" bIns="35719" anchor="ctr"/>
          <a:lstStyle/>
          <a:p>
            <a:pPr>
              <a:defRPr sz="3200">
                <a:solidFill>
                  <a:srgbClr val="FFFFFF"/>
                </a:solidFill>
              </a:defRPr>
            </a:pPr>
            <a:endParaRPr sz="1600"/>
          </a:p>
        </p:txBody>
      </p:sp>
      <p:pic>
        <p:nvPicPr>
          <p:cNvPr id="26" name="pasted-image.tiff" descr="pasted-image.tiff"/>
          <p:cNvPicPr>
            <a:picLocks noChangeAspect="1"/>
          </p:cNvPicPr>
          <p:nvPr/>
        </p:nvPicPr>
        <p:blipFill>
          <a:blip r:embed="rId2">
            <a:extLst/>
          </a:blip>
          <a:srcRect l="39743" r="39743" b="36077"/>
          <a:stretch>
            <a:fillRect/>
          </a:stretch>
        </p:blipFill>
        <p:spPr>
          <a:xfrm>
            <a:off x="11386743" y="476085"/>
            <a:ext cx="523745" cy="547763"/>
          </a:xfrm>
          <a:prstGeom prst="rect">
            <a:avLst/>
          </a:prstGeom>
          <a:ln w="12700">
            <a:miter lim="400000"/>
          </a:ln>
        </p:spPr>
      </p:pic>
      <p:sp>
        <p:nvSpPr>
          <p:cNvPr id="27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5967907" y="6500813"/>
            <a:ext cx="247257" cy="255588"/>
          </a:xfrm>
          <a:prstGeom prst="rect">
            <a:avLst/>
          </a:prstGeom>
        </p:spPr>
        <p:txBody>
          <a:bodyPr lIns="71437" tIns="71437" rIns="71437" bIns="71437" anchor="t"/>
          <a:lstStyle>
            <a:lvl1pPr algn="ctr" defTabSz="410766">
              <a:defRPr>
                <a:solidFill>
                  <a:srgbClr val="000000"/>
                </a:solidFill>
                <a:latin typeface="+mn-lt"/>
                <a:ea typeface="+mn-ea"/>
                <a:cs typeface="+mn-cs"/>
                <a:sym typeface="Helvetica Light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5014316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:blinds dir="vert"/>
      </p:transition>
    </mc:Choice>
    <mc:Fallback xmlns="">
      <p:transition spd="slow">
        <p:blinds dir="vert"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Текст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266" name="Слайд think-cell" r:id="rId5" imgW="416" imgH="416" progId="TCLayout.ActiveDocument.1">
                  <p:embed/>
                </p:oleObj>
              </mc:Choice>
              <mc:Fallback>
                <p:oleObj name="Слайд think-cell" r:id="rId5" imgW="416" imgH="416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Текст 10"/>
          <p:cNvSpPr>
            <a:spLocks noGrp="1"/>
          </p:cNvSpPr>
          <p:nvPr>
            <p:ph type="body" sz="quarter" idx="12"/>
          </p:nvPr>
        </p:nvSpPr>
        <p:spPr>
          <a:xfrm>
            <a:off x="334433" y="1052736"/>
            <a:ext cx="11520000" cy="4896544"/>
          </a:xfrm>
        </p:spPr>
        <p:txBody>
          <a:bodyPr/>
          <a:lstStyle>
            <a:lvl1pPr>
              <a:spcBef>
                <a:spcPts val="600"/>
              </a:spcBef>
              <a:buClr>
                <a:srgbClr val="2D3494"/>
              </a:buClr>
              <a:defRPr sz="1400" b="0" i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spcBef>
                <a:spcPts val="600"/>
              </a:spcBef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53336"/>
            <a:ext cx="8425863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7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 err="1"/>
              <a:t>ЗАГОЛОВОК</a:t>
            </a:r>
            <a:endParaRPr lang="ru-RU" dirty="0"/>
          </a:p>
        </p:txBody>
      </p:sp>
      <p:graphicFrame>
        <p:nvGraphicFramePr>
          <p:cNvPr id="8" name="Объект 7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267" name="Слайд think-cell" r:id="rId7" imgW="416" imgH="416" progId="TCLayout.ActiveDocument.1">
                  <p:embed/>
                </p:oleObj>
              </mc:Choice>
              <mc:Fallback>
                <p:oleObj name="Слайд think-cell" r:id="rId7" imgW="416" imgH="416" progId="TCLayout.ActiveDocument.1">
                  <p:embed/>
                  <p:pic>
                    <p:nvPicPr>
                      <p:cNvPr id="8" name="Объект 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18123686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/>
              <a:t>18.03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5694480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/>
              <a:t>18.03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213858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/>
              <a:t>18.03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7125415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/>
              <a:t>18.03.2021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6641035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/>
              <a:t>18.03.2021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224565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/>
              <a:t>18.03.2021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1633204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/>
              <a:t>18.03.2021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2308234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/>
              <a:t>18.03.2021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0889181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/>
              <a:t>18.03.2021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2576834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/>
              <a:t>18.03.2021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5413102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/>
              <a:t>18.03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2061712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/>
              <a:t>18.03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1657730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and body">
    <p:spTree>
      <p:nvGrpSpPr>
        <p:cNvPr id="1" name="Shape 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Shape 59"/>
          <p:cNvSpPr txBox="1">
            <a:spLocks noGrp="1"/>
          </p:cNvSpPr>
          <p:nvPr>
            <p:ph type="title"/>
          </p:nvPr>
        </p:nvSpPr>
        <p:spPr>
          <a:xfrm>
            <a:off x="609600" y="274637"/>
            <a:ext cx="10972800" cy="1143200"/>
          </a:xfrm>
          <a:prstGeom prst="rect">
            <a:avLst/>
          </a:prstGeom>
        </p:spPr>
        <p:txBody>
          <a:bodyPr lIns="91425" tIns="91425" rIns="91425" bIns="91425" anchor="b" anchorCtr="0"/>
          <a:lstStyle>
            <a:lvl1pPr lvl="0" rtl="0">
              <a:spcBef>
                <a:spcPts val="0"/>
              </a:spcBef>
              <a:defRPr/>
            </a:lvl1pPr>
            <a:lvl2pPr lvl="1" rtl="0">
              <a:spcBef>
                <a:spcPts val="0"/>
              </a:spcBef>
              <a:defRPr/>
            </a:lvl2pPr>
            <a:lvl3pPr lvl="2" rtl="0">
              <a:spcBef>
                <a:spcPts val="0"/>
              </a:spcBef>
              <a:defRPr/>
            </a:lvl3pPr>
            <a:lvl4pPr lvl="3" rtl="0">
              <a:spcBef>
                <a:spcPts val="0"/>
              </a:spcBef>
              <a:defRPr/>
            </a:lvl4pPr>
            <a:lvl5pPr lvl="4" rtl="0">
              <a:spcBef>
                <a:spcPts val="0"/>
              </a:spcBef>
              <a:defRPr/>
            </a:lvl5pPr>
            <a:lvl6pPr lvl="5" rtl="0">
              <a:spcBef>
                <a:spcPts val="0"/>
              </a:spcBef>
              <a:defRPr/>
            </a:lvl6pPr>
            <a:lvl7pPr lvl="6" rtl="0">
              <a:spcBef>
                <a:spcPts val="0"/>
              </a:spcBef>
              <a:defRPr/>
            </a:lvl7pPr>
            <a:lvl8pPr lvl="7" rtl="0">
              <a:spcBef>
                <a:spcPts val="0"/>
              </a:spcBef>
              <a:defRPr/>
            </a:lvl8pPr>
            <a:lvl9pPr lvl="8" rtl="0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60" name="Shape 60"/>
          <p:cNvSpPr txBox="1">
            <a:spLocks noGrp="1"/>
          </p:cNvSpPr>
          <p:nvPr>
            <p:ph type="body" idx="1"/>
          </p:nvPr>
        </p:nvSpPr>
        <p:spPr>
          <a:xfrm>
            <a:off x="609600" y="1600200"/>
            <a:ext cx="10972800" cy="4967600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lvl="0" rtl="0">
              <a:spcBef>
                <a:spcPts val="0"/>
              </a:spcBef>
              <a:defRPr/>
            </a:lvl1pPr>
            <a:lvl2pPr lvl="1" rtl="0">
              <a:spcBef>
                <a:spcPts val="0"/>
              </a:spcBef>
              <a:defRPr/>
            </a:lvl2pPr>
            <a:lvl3pPr lvl="2" rtl="0">
              <a:spcBef>
                <a:spcPts val="0"/>
              </a:spcBef>
              <a:defRPr/>
            </a:lvl3pPr>
            <a:lvl4pPr lvl="3" rtl="0">
              <a:spcBef>
                <a:spcPts val="0"/>
              </a:spcBef>
              <a:defRPr/>
            </a:lvl4pPr>
            <a:lvl5pPr lvl="4" rtl="0">
              <a:spcBef>
                <a:spcPts val="0"/>
              </a:spcBef>
              <a:defRPr/>
            </a:lvl5pPr>
            <a:lvl6pPr lvl="5" rtl="0">
              <a:spcBef>
                <a:spcPts val="0"/>
              </a:spcBef>
              <a:defRPr/>
            </a:lvl6pPr>
            <a:lvl7pPr lvl="6" rtl="0">
              <a:spcBef>
                <a:spcPts val="0"/>
              </a:spcBef>
              <a:defRPr/>
            </a:lvl7pPr>
            <a:lvl8pPr lvl="7" rtl="0">
              <a:spcBef>
                <a:spcPts val="0"/>
              </a:spcBef>
              <a:defRPr/>
            </a:lvl8pPr>
            <a:lvl9pPr lvl="8" rtl="0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61" name="Shape 61"/>
          <p:cNvSpPr txBox="1">
            <a:spLocks noGrp="1"/>
          </p:cNvSpPr>
          <p:nvPr>
            <p:ph type="sldNum" idx="12"/>
          </p:nvPr>
        </p:nvSpPr>
        <p:spPr>
          <a:xfrm>
            <a:off x="11409055" y="6333133"/>
            <a:ext cx="731600" cy="524800"/>
          </a:xfrm>
          <a:prstGeom prst="rect">
            <a:avLst/>
          </a:prstGeom>
        </p:spPr>
        <p:txBody>
          <a:bodyPr lIns="91425" tIns="91425" rIns="91425" bIns="91425" anchor="ctr" anchorCtr="0">
            <a:noAutofit/>
          </a:bodyPr>
          <a:lstStyle/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334837021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/>
              <a:t>18.03.2021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2213700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/>
              <a:t>18.03.2021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6629155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/>
              <a:t>18.03.2021</a:t>
            </a:fld>
            <a:endParaRPr lang="ru-RU"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13503195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/>
              <a:t>18.03.2021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0645916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/>
              <a:t>18.03.2021</a:t>
            </a:fld>
            <a:endParaRPr lang="ru-RU" dirty="0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93229945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/>
              <a:t>18.03.2021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61784428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/>
              <a:t>18.03.2021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0045750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7.xml"/><Relationship Id="rId7" Type="http://schemas.openxmlformats.org/officeDocument/2006/relationships/slideLayout" Target="../slideLayouts/slideLayout21.xml"/><Relationship Id="rId12" Type="http://schemas.openxmlformats.org/officeDocument/2006/relationships/slideLayout" Target="../slideLayouts/slideLayout26.xml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5" Type="http://schemas.openxmlformats.org/officeDocument/2006/relationships/slideLayout" Target="../slideLayouts/slideLayout19.xml"/><Relationship Id="rId10" Type="http://schemas.openxmlformats.org/officeDocument/2006/relationships/slideLayout" Target="../slideLayouts/slideLayout24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Relationship Id="rId14" Type="http://schemas.openxmlformats.org/officeDocument/2006/relationships/image" Target="../media/image3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08523F2-53FE-42F4-86B8-4598D2998874}" type="datetimeFigureOut">
              <a:rPr lang="ru-RU" smtClean="0"/>
              <a:t>18.03.2021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1697463-1C33-49B9-B1AC-991EFB90EE51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45032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85" r:id="rId1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08523F2-53FE-42F4-86B8-4598D2998874}" type="datetimeFigureOut">
              <a:rPr lang="ru-RU" smtClean="0"/>
              <a:t>18.03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1697463-1C33-49B9-B1AC-991EFB90EE51}" type="slidenum">
              <a:rPr lang="ru-RU" smtClean="0"/>
              <a:t>‹#›</a:t>
            </a:fld>
            <a:endParaRPr lang="ru-RU"/>
          </a:p>
        </p:txBody>
      </p:sp>
      <p:pic>
        <p:nvPicPr>
          <p:cNvPr id="15" name="Рисунок 14"/>
          <p:cNvPicPr>
            <a:picLocks noChangeAspect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11" y="0"/>
            <a:ext cx="1757966" cy="6402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98532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7" r:id="rId1"/>
    <p:sldLayoutId id="2147483688" r:id="rId2"/>
    <p:sldLayoutId id="2147483689" r:id="rId3"/>
    <p:sldLayoutId id="2147483690" r:id="rId4"/>
    <p:sldLayoutId id="2147483691" r:id="rId5"/>
    <p:sldLayoutId id="2147483692" r:id="rId6"/>
    <p:sldLayoutId id="2147483693" r:id="rId7"/>
    <p:sldLayoutId id="2147483694" r:id="rId8"/>
    <p:sldLayoutId id="2147483695" r:id="rId9"/>
    <p:sldLayoutId id="2147483696" r:id="rId10"/>
    <p:sldLayoutId id="2147483697" r:id="rId11"/>
    <p:sldLayoutId id="2147483698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tags" Target="../tags/tag4.xml"/><Relationship Id="rId7" Type="http://schemas.openxmlformats.org/officeDocument/2006/relationships/image" Target="../media/image4.emf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6.xml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6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6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6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6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6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6.xml"/><Relationship Id="rId4" Type="http://schemas.openxmlformats.org/officeDocument/2006/relationships/slide" Target="slide3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6.xml"/><Relationship Id="rId4" Type="http://schemas.openxmlformats.org/officeDocument/2006/relationships/image" Target="../media/image20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7" Type="http://schemas.openxmlformats.org/officeDocument/2006/relationships/image" Target="../media/image24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6.xml"/><Relationship Id="rId6" Type="http://schemas.openxmlformats.org/officeDocument/2006/relationships/image" Target="../media/image23.png"/><Relationship Id="rId5" Type="http://schemas.openxmlformats.org/officeDocument/2006/relationships/image" Target="../media/image22.png"/><Relationship Id="rId4" Type="http://schemas.openxmlformats.org/officeDocument/2006/relationships/image" Target="../media/image21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6.xml"/><Relationship Id="rId6" Type="http://schemas.openxmlformats.org/officeDocument/2006/relationships/image" Target="../media/image26.png"/><Relationship Id="rId5" Type="http://schemas.openxmlformats.org/officeDocument/2006/relationships/image" Target="../media/image25.png"/><Relationship Id="rId4" Type="http://schemas.openxmlformats.org/officeDocument/2006/relationships/slide" Target="slide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6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slide" Target="slide2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6.xml"/><Relationship Id="rId5" Type="http://schemas.openxmlformats.org/officeDocument/2006/relationships/slide" Target="slide2.xml"/><Relationship Id="rId4" Type="http://schemas.openxmlformats.org/officeDocument/2006/relationships/chart" Target="../charts/chart1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7" Type="http://schemas.openxmlformats.org/officeDocument/2006/relationships/image" Target="../media/image28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6.xml"/><Relationship Id="rId6" Type="http://schemas.openxmlformats.org/officeDocument/2006/relationships/image" Target="../media/image27.png"/><Relationship Id="rId5" Type="http://schemas.openxmlformats.org/officeDocument/2006/relationships/hyperlink" Target="http://publication.pravo.gov.ru/SignatoryAuthority/foiv262" TargetMode="External"/><Relationship Id="rId4" Type="http://schemas.openxmlformats.org/officeDocument/2006/relationships/hyperlink" Target="https://toipkro.ru/content/files/documents/podrazdeleniya/cuar/normativ/59808_compressed__1_.pdf" TargetMode="Externa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jpeg"/><Relationship Id="rId3" Type="http://schemas.openxmlformats.org/officeDocument/2006/relationships/image" Target="../media/image29.jpeg"/><Relationship Id="rId7" Type="http://schemas.openxmlformats.org/officeDocument/2006/relationships/image" Target="../media/image32.jpeg"/><Relationship Id="rId12" Type="http://schemas.openxmlformats.org/officeDocument/2006/relationships/image" Target="../media/image37.jpeg"/><Relationship Id="rId2" Type="http://schemas.openxmlformats.org/officeDocument/2006/relationships/image" Target="../media/image6.emf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31.png"/><Relationship Id="rId11" Type="http://schemas.openxmlformats.org/officeDocument/2006/relationships/image" Target="../media/image36.jpeg"/><Relationship Id="rId5" Type="http://schemas.openxmlformats.org/officeDocument/2006/relationships/hyperlink" Target="https://fpu.edu.ru/" TargetMode="External"/><Relationship Id="rId10" Type="http://schemas.openxmlformats.org/officeDocument/2006/relationships/image" Target="../media/image35.png"/><Relationship Id="rId4" Type="http://schemas.openxmlformats.org/officeDocument/2006/relationships/image" Target="../media/image30.jpeg"/><Relationship Id="rId9" Type="http://schemas.openxmlformats.org/officeDocument/2006/relationships/image" Target="../media/image34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eg"/><Relationship Id="rId2" Type="http://schemas.openxmlformats.org/officeDocument/2006/relationships/image" Target="../media/image6.emf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38.jpeg"/><Relationship Id="rId5" Type="http://schemas.openxmlformats.org/officeDocument/2006/relationships/image" Target="../media/image34.png"/><Relationship Id="rId4" Type="http://schemas.openxmlformats.org/officeDocument/2006/relationships/image" Target="../media/image33.jpeg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emf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39.emf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emf"/><Relationship Id="rId11" Type="http://schemas.openxmlformats.org/officeDocument/2006/relationships/image" Target="../media/image42.png"/><Relationship Id="rId5" Type="http://schemas.openxmlformats.org/officeDocument/2006/relationships/oleObject" Target="../embeddings/oleObject4.bin"/><Relationship Id="rId10" Type="http://schemas.openxmlformats.org/officeDocument/2006/relationships/image" Target="../media/image41.jpeg"/><Relationship Id="rId4" Type="http://schemas.openxmlformats.org/officeDocument/2006/relationships/notesSlide" Target="../notesSlides/notesSlide22.xml"/><Relationship Id="rId9" Type="http://schemas.openxmlformats.org/officeDocument/2006/relationships/image" Target="../media/image40.jpe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jpeg"/><Relationship Id="rId2" Type="http://schemas.openxmlformats.org/officeDocument/2006/relationships/image" Target="../media/image6.emf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43.png"/><Relationship Id="rId4" Type="http://schemas.openxmlformats.org/officeDocument/2006/relationships/image" Target="../media/image41.jpeg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emf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39.emf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emf"/><Relationship Id="rId11" Type="http://schemas.openxmlformats.org/officeDocument/2006/relationships/image" Target="../media/image46.png"/><Relationship Id="rId5" Type="http://schemas.openxmlformats.org/officeDocument/2006/relationships/oleObject" Target="../embeddings/oleObject4.bin"/><Relationship Id="rId10" Type="http://schemas.openxmlformats.org/officeDocument/2006/relationships/image" Target="../media/image45.png"/><Relationship Id="rId4" Type="http://schemas.openxmlformats.org/officeDocument/2006/relationships/notesSlide" Target="../notesSlides/notesSlide23.xml"/><Relationship Id="rId9" Type="http://schemas.openxmlformats.org/officeDocument/2006/relationships/image" Target="../media/image44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7" Type="http://schemas.openxmlformats.org/officeDocument/2006/relationships/image" Target="../media/image48.png"/><Relationship Id="rId2" Type="http://schemas.openxmlformats.org/officeDocument/2006/relationships/image" Target="../media/image6.emf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47.png"/><Relationship Id="rId5" Type="http://schemas.openxmlformats.org/officeDocument/2006/relationships/image" Target="../media/image46.png"/><Relationship Id="rId4" Type="http://schemas.openxmlformats.org/officeDocument/2006/relationships/image" Target="../media/image45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6.emf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49.png"/><Relationship Id="rId5" Type="http://schemas.openxmlformats.org/officeDocument/2006/relationships/image" Target="../media/image46.png"/><Relationship Id="rId4" Type="http://schemas.openxmlformats.org/officeDocument/2006/relationships/image" Target="../media/image45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6.emf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51.png"/><Relationship Id="rId4" Type="http://schemas.openxmlformats.org/officeDocument/2006/relationships/image" Target="../media/image50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7" Type="http://schemas.openxmlformats.org/officeDocument/2006/relationships/slide" Target="slide20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6.xml"/><Relationship Id="rId6" Type="http://schemas.openxmlformats.org/officeDocument/2006/relationships/slide" Target="slide17.xml"/><Relationship Id="rId5" Type="http://schemas.openxmlformats.org/officeDocument/2006/relationships/slide" Target="slide7.xml"/><Relationship Id="rId4" Type="http://schemas.openxmlformats.org/officeDocument/2006/relationships/slide" Target="slide4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7" Type="http://schemas.openxmlformats.org/officeDocument/2006/relationships/image" Target="../media/image56.png"/><Relationship Id="rId2" Type="http://schemas.openxmlformats.org/officeDocument/2006/relationships/image" Target="../media/image6.emf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55.png"/><Relationship Id="rId5" Type="http://schemas.openxmlformats.org/officeDocument/2006/relationships/image" Target="../media/image54.png"/><Relationship Id="rId4" Type="http://schemas.openxmlformats.org/officeDocument/2006/relationships/image" Target="../media/image53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image" Target="../media/image6.emf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60.png"/><Relationship Id="rId5" Type="http://schemas.openxmlformats.org/officeDocument/2006/relationships/image" Target="../media/image59.png"/><Relationship Id="rId4" Type="http://schemas.openxmlformats.org/officeDocument/2006/relationships/image" Target="../media/image58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7" Type="http://schemas.openxmlformats.org/officeDocument/2006/relationships/image" Target="../media/image65.png"/><Relationship Id="rId2" Type="http://schemas.openxmlformats.org/officeDocument/2006/relationships/image" Target="../media/image6.emf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64.png"/><Relationship Id="rId5" Type="http://schemas.openxmlformats.org/officeDocument/2006/relationships/image" Target="../media/image63.png"/><Relationship Id="rId4" Type="http://schemas.openxmlformats.org/officeDocument/2006/relationships/image" Target="../media/image62.png"/></Relationships>
</file>

<file path=ppt/slides/_rels/slide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1.png"/><Relationship Id="rId3" Type="http://schemas.openxmlformats.org/officeDocument/2006/relationships/image" Target="../media/image66.png"/><Relationship Id="rId7" Type="http://schemas.openxmlformats.org/officeDocument/2006/relationships/image" Target="../media/image70.png"/><Relationship Id="rId2" Type="http://schemas.openxmlformats.org/officeDocument/2006/relationships/image" Target="../media/image6.emf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69.png"/><Relationship Id="rId5" Type="http://schemas.openxmlformats.org/officeDocument/2006/relationships/image" Target="../media/image68.png"/><Relationship Id="rId4" Type="http://schemas.openxmlformats.org/officeDocument/2006/relationships/image" Target="../media/image67.png"/><Relationship Id="rId9" Type="http://schemas.openxmlformats.org/officeDocument/2006/relationships/image" Target="../media/image72.png"/></Relationships>
</file>

<file path=ppt/slides/_rels/slide34.xml.rels><?xml version="1.0" encoding="UTF-8" standalone="yes"?>
<Relationships xmlns="http://schemas.openxmlformats.org/package/2006/relationships"><Relationship Id="rId8" Type="http://schemas.openxmlformats.org/officeDocument/2006/relationships/hyperlink" Target="https://media.prosv.ru/" TargetMode="External"/><Relationship Id="rId13" Type="http://schemas.openxmlformats.org/officeDocument/2006/relationships/image" Target="../media/image78.jpeg"/><Relationship Id="rId18" Type="http://schemas.openxmlformats.org/officeDocument/2006/relationships/image" Target="../media/image82.png"/><Relationship Id="rId3" Type="http://schemas.openxmlformats.org/officeDocument/2006/relationships/tags" Target="../tags/tag8.xml"/><Relationship Id="rId7" Type="http://schemas.openxmlformats.org/officeDocument/2006/relationships/hyperlink" Target="http://www.prosv.ru/" TargetMode="External"/><Relationship Id="rId12" Type="http://schemas.openxmlformats.org/officeDocument/2006/relationships/image" Target="../media/image77.jpeg"/><Relationship Id="rId17" Type="http://schemas.openxmlformats.org/officeDocument/2006/relationships/image" Target="../media/image6.emf"/><Relationship Id="rId2" Type="http://schemas.openxmlformats.org/officeDocument/2006/relationships/tags" Target="../tags/tag7.xml"/><Relationship Id="rId16" Type="http://schemas.openxmlformats.org/officeDocument/2006/relationships/image" Target="../media/image81.jpeg"/><Relationship Id="rId1" Type="http://schemas.openxmlformats.org/officeDocument/2006/relationships/vmlDrawing" Target="../drawings/vmlDrawing5.vml"/><Relationship Id="rId6" Type="http://schemas.openxmlformats.org/officeDocument/2006/relationships/image" Target="../media/image73.emf"/><Relationship Id="rId11" Type="http://schemas.openxmlformats.org/officeDocument/2006/relationships/image" Target="../media/image76.jpeg"/><Relationship Id="rId5" Type="http://schemas.openxmlformats.org/officeDocument/2006/relationships/oleObject" Target="../embeddings/oleObject5.bin"/><Relationship Id="rId15" Type="http://schemas.openxmlformats.org/officeDocument/2006/relationships/image" Target="../media/image80.png"/><Relationship Id="rId10" Type="http://schemas.openxmlformats.org/officeDocument/2006/relationships/image" Target="../media/image75.jpeg"/><Relationship Id="rId4" Type="http://schemas.openxmlformats.org/officeDocument/2006/relationships/slideLayout" Target="../slideLayouts/slideLayout14.xml"/><Relationship Id="rId9" Type="http://schemas.openxmlformats.org/officeDocument/2006/relationships/image" Target="../media/image74.jpeg"/><Relationship Id="rId14" Type="http://schemas.openxmlformats.org/officeDocument/2006/relationships/image" Target="../media/image79.jpeg"/></Relationships>
</file>

<file path=ppt/slides/_rels/slide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emf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39.emf"/><Relationship Id="rId2" Type="http://schemas.openxmlformats.org/officeDocument/2006/relationships/tags" Target="../tags/tag9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4.emf"/><Relationship Id="rId11" Type="http://schemas.openxmlformats.org/officeDocument/2006/relationships/image" Target="../media/image84.jpeg"/><Relationship Id="rId5" Type="http://schemas.openxmlformats.org/officeDocument/2006/relationships/oleObject" Target="../embeddings/oleObject4.bin"/><Relationship Id="rId10" Type="http://schemas.openxmlformats.org/officeDocument/2006/relationships/image" Target="../media/image83.jpeg"/><Relationship Id="rId4" Type="http://schemas.openxmlformats.org/officeDocument/2006/relationships/notesSlide" Target="../notesSlides/notesSlide24.xml"/><Relationship Id="rId9" Type="http://schemas.openxmlformats.org/officeDocument/2006/relationships/image" Target="../media/image30.jpe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eg"/><Relationship Id="rId2" Type="http://schemas.openxmlformats.org/officeDocument/2006/relationships/image" Target="../media/image6.emf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84.jpeg"/><Relationship Id="rId4" Type="http://schemas.openxmlformats.org/officeDocument/2006/relationships/image" Target="../media/image83.jpeg"/></Relationships>
</file>

<file path=ppt/slides/_rels/slide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emf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39.emf"/><Relationship Id="rId2" Type="http://schemas.openxmlformats.org/officeDocument/2006/relationships/tags" Target="../tags/tag10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4.emf"/><Relationship Id="rId11" Type="http://schemas.openxmlformats.org/officeDocument/2006/relationships/image" Target="../media/image87.jpeg"/><Relationship Id="rId5" Type="http://schemas.openxmlformats.org/officeDocument/2006/relationships/oleObject" Target="../embeddings/oleObject4.bin"/><Relationship Id="rId10" Type="http://schemas.openxmlformats.org/officeDocument/2006/relationships/image" Target="../media/image86.jpeg"/><Relationship Id="rId4" Type="http://schemas.openxmlformats.org/officeDocument/2006/relationships/notesSlide" Target="../notesSlides/notesSlide25.xml"/><Relationship Id="rId9" Type="http://schemas.openxmlformats.org/officeDocument/2006/relationships/image" Target="../media/image85.jpe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7" Type="http://schemas.openxmlformats.org/officeDocument/2006/relationships/image" Target="../media/image88.png"/><Relationship Id="rId2" Type="http://schemas.openxmlformats.org/officeDocument/2006/relationships/image" Target="../media/image6.emf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87.jpeg"/><Relationship Id="rId5" Type="http://schemas.openxmlformats.org/officeDocument/2006/relationships/image" Target="../media/image86.jpeg"/><Relationship Id="rId4" Type="http://schemas.openxmlformats.org/officeDocument/2006/relationships/image" Target="../media/image85.jpeg"/></Relationships>
</file>

<file path=ppt/slides/_rels/slide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emf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39.emf"/><Relationship Id="rId2" Type="http://schemas.openxmlformats.org/officeDocument/2006/relationships/tags" Target="../tags/tag11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4.emf"/><Relationship Id="rId11" Type="http://schemas.openxmlformats.org/officeDocument/2006/relationships/image" Target="../media/image29.jpeg"/><Relationship Id="rId5" Type="http://schemas.openxmlformats.org/officeDocument/2006/relationships/oleObject" Target="../embeddings/oleObject4.bin"/><Relationship Id="rId10" Type="http://schemas.openxmlformats.org/officeDocument/2006/relationships/image" Target="../media/image90.png"/><Relationship Id="rId4" Type="http://schemas.openxmlformats.org/officeDocument/2006/relationships/notesSlide" Target="../notesSlides/notesSlide26.xml"/><Relationship Id="rId9" Type="http://schemas.openxmlformats.org/officeDocument/2006/relationships/image" Target="../media/image89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6.xml"/><Relationship Id="rId6" Type="http://schemas.openxmlformats.org/officeDocument/2006/relationships/hyperlink" Target="https://www.youtube.com/watch?v=BHmTDidNPG8" TargetMode="External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9.jpeg"/><Relationship Id="rId2" Type="http://schemas.openxmlformats.org/officeDocument/2006/relationships/image" Target="../media/image6.emf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47.png"/><Relationship Id="rId5" Type="http://schemas.openxmlformats.org/officeDocument/2006/relationships/image" Target="../media/image29.jpeg"/><Relationship Id="rId4" Type="http://schemas.openxmlformats.org/officeDocument/2006/relationships/image" Target="../media/image90.png"/></Relationships>
</file>

<file path=ppt/slides/_rels/slide4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emf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39.emf"/><Relationship Id="rId2" Type="http://schemas.openxmlformats.org/officeDocument/2006/relationships/tags" Target="../tags/tag12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4.emf"/><Relationship Id="rId11" Type="http://schemas.openxmlformats.org/officeDocument/2006/relationships/image" Target="../media/image93.png"/><Relationship Id="rId5" Type="http://schemas.openxmlformats.org/officeDocument/2006/relationships/oleObject" Target="../embeddings/oleObject4.bin"/><Relationship Id="rId10" Type="http://schemas.openxmlformats.org/officeDocument/2006/relationships/image" Target="../media/image92.png"/><Relationship Id="rId4" Type="http://schemas.openxmlformats.org/officeDocument/2006/relationships/notesSlide" Target="../notesSlides/notesSlide27.xml"/><Relationship Id="rId9" Type="http://schemas.openxmlformats.org/officeDocument/2006/relationships/image" Target="../media/image91.png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4.png"/><Relationship Id="rId7" Type="http://schemas.openxmlformats.org/officeDocument/2006/relationships/image" Target="../media/image93.png"/><Relationship Id="rId2" Type="http://schemas.openxmlformats.org/officeDocument/2006/relationships/image" Target="../media/image6.emf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92.png"/><Relationship Id="rId5" Type="http://schemas.openxmlformats.org/officeDocument/2006/relationships/image" Target="../media/image91.png"/><Relationship Id="rId4" Type="http://schemas.openxmlformats.org/officeDocument/2006/relationships/image" Target="../media/image95.png"/></Relationships>
</file>

<file path=ppt/slides/_rels/slide4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emf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39.emf"/><Relationship Id="rId2" Type="http://schemas.openxmlformats.org/officeDocument/2006/relationships/tags" Target="../tags/tag13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4.emf"/><Relationship Id="rId11" Type="http://schemas.openxmlformats.org/officeDocument/2006/relationships/image" Target="../media/image97.jpeg"/><Relationship Id="rId5" Type="http://schemas.openxmlformats.org/officeDocument/2006/relationships/oleObject" Target="../embeddings/oleObject4.bin"/><Relationship Id="rId10" Type="http://schemas.openxmlformats.org/officeDocument/2006/relationships/image" Target="../media/image96.jpeg"/><Relationship Id="rId4" Type="http://schemas.openxmlformats.org/officeDocument/2006/relationships/notesSlide" Target="../notesSlides/notesSlide28.xml"/><Relationship Id="rId9" Type="http://schemas.openxmlformats.org/officeDocument/2006/relationships/image" Target="../media/image36.jpeg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jpeg"/><Relationship Id="rId7" Type="http://schemas.openxmlformats.org/officeDocument/2006/relationships/image" Target="../media/image98.jpeg"/><Relationship Id="rId2" Type="http://schemas.openxmlformats.org/officeDocument/2006/relationships/image" Target="../media/image6.emf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97.jpeg"/><Relationship Id="rId5" Type="http://schemas.openxmlformats.org/officeDocument/2006/relationships/image" Target="../media/image96.jpeg"/><Relationship Id="rId4" Type="http://schemas.openxmlformats.org/officeDocument/2006/relationships/image" Target="../media/image43.png"/></Relationships>
</file>

<file path=ppt/slides/_rels/slide45.xml.rels><?xml version="1.0" encoding="UTF-8" standalone="yes"?>
<Relationships xmlns="http://schemas.openxmlformats.org/package/2006/relationships"><Relationship Id="rId8" Type="http://schemas.openxmlformats.org/officeDocument/2006/relationships/hyperlink" Target="https://shop.prosv.ru/katalog#/orderby=5&amp;sFilters=4!2304;2!1750;8!2506;" TargetMode="External"/><Relationship Id="rId3" Type="http://schemas.openxmlformats.org/officeDocument/2006/relationships/image" Target="../media/image99.png"/><Relationship Id="rId7" Type="http://schemas.openxmlformats.org/officeDocument/2006/relationships/image" Target="../media/image31.png"/><Relationship Id="rId2" Type="http://schemas.openxmlformats.org/officeDocument/2006/relationships/image" Target="../media/image6.emf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02.jpeg"/><Relationship Id="rId5" Type="http://schemas.openxmlformats.org/officeDocument/2006/relationships/image" Target="../media/image101.png"/><Relationship Id="rId10" Type="http://schemas.openxmlformats.org/officeDocument/2006/relationships/image" Target="../media/image104.gif"/><Relationship Id="rId4" Type="http://schemas.openxmlformats.org/officeDocument/2006/relationships/image" Target="../media/image100.png"/><Relationship Id="rId9" Type="http://schemas.openxmlformats.org/officeDocument/2006/relationships/image" Target="../media/image103.jpeg"/></Relationships>
</file>

<file path=ppt/slides/_rels/slide4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9.jpeg"/><Relationship Id="rId3" Type="http://schemas.openxmlformats.org/officeDocument/2006/relationships/image" Target="../media/image105.png"/><Relationship Id="rId7" Type="http://schemas.openxmlformats.org/officeDocument/2006/relationships/image" Target="../media/image108.jpeg"/><Relationship Id="rId2" Type="http://schemas.openxmlformats.org/officeDocument/2006/relationships/image" Target="../media/image6.emf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07.png"/><Relationship Id="rId11" Type="http://schemas.openxmlformats.org/officeDocument/2006/relationships/image" Target="../media/image31.png"/><Relationship Id="rId5" Type="http://schemas.openxmlformats.org/officeDocument/2006/relationships/image" Target="../media/image106.jpeg"/><Relationship Id="rId10" Type="http://schemas.openxmlformats.org/officeDocument/2006/relationships/hyperlink" Target="https://shop.prosv.ru/katalog#/orderby=5&amp;sFilters=4!2304;13!17879;" TargetMode="External"/><Relationship Id="rId4" Type="http://schemas.openxmlformats.org/officeDocument/2006/relationships/hyperlink" Target="https://catalog.prosv.ru/attachment/47002d34f608698cb718a303b7896aad2acf2486.pdf" TargetMode="External"/><Relationship Id="rId9" Type="http://schemas.openxmlformats.org/officeDocument/2006/relationships/image" Target="../media/image110.gif"/></Relationships>
</file>

<file path=ppt/slides/_rels/slide4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2.jpeg"/><Relationship Id="rId13" Type="http://schemas.openxmlformats.org/officeDocument/2006/relationships/hyperlink" Target="https://prosv.ru/pages/pisa.html" TargetMode="External"/><Relationship Id="rId3" Type="http://schemas.openxmlformats.org/officeDocument/2006/relationships/image" Target="../media/image111.png"/><Relationship Id="rId7" Type="http://schemas.openxmlformats.org/officeDocument/2006/relationships/hyperlink" Target="https://shop.prosv.ru/katalog#/orderby=5&amp;sFilters=13!3000;" TargetMode="External"/><Relationship Id="rId12" Type="http://schemas.openxmlformats.org/officeDocument/2006/relationships/hyperlink" Target="https://media.prosv.ru/content/?situations=true" TargetMode="External"/><Relationship Id="rId2" Type="http://schemas.openxmlformats.org/officeDocument/2006/relationships/image" Target="../media/image6.emf"/><Relationship Id="rId1" Type="http://schemas.openxmlformats.org/officeDocument/2006/relationships/slideLayout" Target="../slideLayouts/slideLayout12.xml"/><Relationship Id="rId6" Type="http://schemas.openxmlformats.org/officeDocument/2006/relationships/hyperlink" Target="https://shop.prosv.ru/katalog#/orderby=5&amp;sFilters=13!2969,101891;" TargetMode="External"/><Relationship Id="rId11" Type="http://schemas.openxmlformats.org/officeDocument/2006/relationships/image" Target="../media/image115.png"/><Relationship Id="rId5" Type="http://schemas.openxmlformats.org/officeDocument/2006/relationships/hyperlink" Target="https://shop.prosv.ru/katalog#/orderby=5&amp;sFilters=13!67611;" TargetMode="External"/><Relationship Id="rId15" Type="http://schemas.openxmlformats.org/officeDocument/2006/relationships/image" Target="../media/image116.gif"/><Relationship Id="rId10" Type="http://schemas.openxmlformats.org/officeDocument/2006/relationships/image" Target="../media/image114.png"/><Relationship Id="rId4" Type="http://schemas.openxmlformats.org/officeDocument/2006/relationships/hyperlink" Target="https://shop.prosv.ru/katalog#/orderby=5&amp;sFilters=13!81288;" TargetMode="External"/><Relationship Id="rId9" Type="http://schemas.openxmlformats.org/officeDocument/2006/relationships/image" Target="../media/image113.png"/><Relationship Id="rId14" Type="http://schemas.openxmlformats.org/officeDocument/2006/relationships/image" Target="../media/image31.png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7.png"/><Relationship Id="rId2" Type="http://schemas.openxmlformats.org/officeDocument/2006/relationships/image" Target="../media/image6.emf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31.png"/><Relationship Id="rId4" Type="http://schemas.openxmlformats.org/officeDocument/2006/relationships/hyperlink" Target="https://edu.skysmart.ru/" TargetMode="Externa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8.png"/><Relationship Id="rId2" Type="http://schemas.openxmlformats.org/officeDocument/2006/relationships/image" Target="../media/image6.emf"/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6.xml"/><Relationship Id="rId5" Type="http://schemas.openxmlformats.org/officeDocument/2006/relationships/hyperlink" Target="https://www.youtube.com/watch?v=BHmTDidNPG8" TargetMode="External"/><Relationship Id="rId4" Type="http://schemas.openxmlformats.org/officeDocument/2006/relationships/hyperlink" Target="http://static.government.ru/media/files/lqtsp4kjhf1A7fA8KDBsml5evUpp3XNF.pdf" TargetMode="Externa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9.png"/><Relationship Id="rId2" Type="http://schemas.openxmlformats.org/officeDocument/2006/relationships/image" Target="../media/image6.emf"/><Relationship Id="rId1" Type="http://schemas.openxmlformats.org/officeDocument/2006/relationships/slideLayout" Target="../slideLayouts/slideLayout12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0.png"/><Relationship Id="rId2" Type="http://schemas.openxmlformats.org/officeDocument/2006/relationships/image" Target="../media/image6.emf"/><Relationship Id="rId1" Type="http://schemas.openxmlformats.org/officeDocument/2006/relationships/slideLayout" Target="../slideLayouts/slideLayout12.xml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7" Type="http://schemas.openxmlformats.org/officeDocument/2006/relationships/image" Target="../media/image123.png"/><Relationship Id="rId2" Type="http://schemas.openxmlformats.org/officeDocument/2006/relationships/image" Target="../media/image6.emf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22.png"/><Relationship Id="rId5" Type="http://schemas.openxmlformats.org/officeDocument/2006/relationships/hyperlink" Target="https://uchitel.club/subject-week1/" TargetMode="External"/><Relationship Id="rId4" Type="http://schemas.openxmlformats.org/officeDocument/2006/relationships/image" Target="../media/image121.png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6.emf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124.png"/><Relationship Id="rId4" Type="http://schemas.openxmlformats.org/officeDocument/2006/relationships/hyperlink" Target="https://uchitel.club/subject-week1/" TargetMode="External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hyperlink" Target="https://uchitel.club/" TargetMode="External"/><Relationship Id="rId2" Type="http://schemas.openxmlformats.org/officeDocument/2006/relationships/image" Target="../media/image6.emf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31.png"/><Relationship Id="rId4" Type="http://schemas.openxmlformats.org/officeDocument/2006/relationships/image" Target="../media/image125.png"/></Relationships>
</file>

<file path=ppt/slides/_rels/slide55.xml.rels><?xml version="1.0" encoding="UTF-8" standalone="yes"?>
<Relationships xmlns="http://schemas.openxmlformats.org/package/2006/relationships"><Relationship Id="rId8" Type="http://schemas.openxmlformats.org/officeDocument/2006/relationships/hyperlink" Target="mailto:vopros@prosv.ru" TargetMode="External"/><Relationship Id="rId13" Type="http://schemas.openxmlformats.org/officeDocument/2006/relationships/image" Target="../media/image129.png"/><Relationship Id="rId3" Type="http://schemas.openxmlformats.org/officeDocument/2006/relationships/tags" Target="../tags/tag15.xml"/><Relationship Id="rId7" Type="http://schemas.openxmlformats.org/officeDocument/2006/relationships/image" Target="../media/image4.emf"/><Relationship Id="rId12" Type="http://schemas.openxmlformats.org/officeDocument/2006/relationships/image" Target="../media/image128.png"/><Relationship Id="rId2" Type="http://schemas.openxmlformats.org/officeDocument/2006/relationships/tags" Target="../tags/tag14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6.bin"/><Relationship Id="rId11" Type="http://schemas.openxmlformats.org/officeDocument/2006/relationships/image" Target="../media/image127.png"/><Relationship Id="rId5" Type="http://schemas.openxmlformats.org/officeDocument/2006/relationships/notesSlide" Target="../notesSlides/notesSlide29.xml"/><Relationship Id="rId15" Type="http://schemas.openxmlformats.org/officeDocument/2006/relationships/image" Target="../media/image131.jpeg"/><Relationship Id="rId10" Type="http://schemas.openxmlformats.org/officeDocument/2006/relationships/hyperlink" Target="mailto:OLitvinov@prosv.ru" TargetMode="External"/><Relationship Id="rId4" Type="http://schemas.openxmlformats.org/officeDocument/2006/relationships/slideLayout" Target="../slideLayouts/slideLayout1.xml"/><Relationship Id="rId9" Type="http://schemas.openxmlformats.org/officeDocument/2006/relationships/image" Target="../media/image126.gif"/><Relationship Id="rId14" Type="http://schemas.openxmlformats.org/officeDocument/2006/relationships/image" Target="../media/image130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image" Target="../media/image6.emf"/><Relationship Id="rId7" Type="http://schemas.openxmlformats.org/officeDocument/2006/relationships/hyperlink" Target="https://oge.sdamgia.ru/" TargetMode="External"/><Relationship Id="rId12" Type="http://schemas.openxmlformats.org/officeDocument/2006/relationships/image" Target="../media/image13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6.xml"/><Relationship Id="rId6" Type="http://schemas.openxmlformats.org/officeDocument/2006/relationships/hyperlink" Target="https://fipi.ru/oge/otkrytyy-bank-zadaniy-oge#!/tab/173942232-3" TargetMode="External"/><Relationship Id="rId11" Type="http://schemas.openxmlformats.org/officeDocument/2006/relationships/hyperlink" Target="https://edu.skysmart.ru/teacher/olympiad" TargetMode="External"/><Relationship Id="rId5" Type="http://schemas.openxmlformats.org/officeDocument/2006/relationships/image" Target="../media/image11.jpeg"/><Relationship Id="rId10" Type="http://schemas.openxmlformats.org/officeDocument/2006/relationships/image" Target="../media/image7.png"/><Relationship Id="rId4" Type="http://schemas.openxmlformats.org/officeDocument/2006/relationships/hyperlink" Target="https://fipi.ru/oge/demoversii-specifikacii-kodifikatory#!/tab/173801626-3" TargetMode="External"/><Relationship Id="rId9" Type="http://schemas.openxmlformats.org/officeDocument/2006/relationships/slide" Target="slide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6.xml"/><Relationship Id="rId6" Type="http://schemas.openxmlformats.org/officeDocument/2006/relationships/hyperlink" Target="http://static.government.ru/media/files/lqtsp4kjhf1A7fA8KDBsml5evUpp3XNF.pdf" TargetMode="External"/><Relationship Id="rId5" Type="http://schemas.openxmlformats.org/officeDocument/2006/relationships/image" Target="../media/image14.png"/><Relationship Id="rId4" Type="http://schemas.openxmlformats.org/officeDocument/2006/relationships/image" Target="../media/image9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6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6.xml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5"/>
          <p:cNvSpPr>
            <a:spLocks noChangeArrowheads="1"/>
          </p:cNvSpPr>
          <p:nvPr/>
        </p:nvSpPr>
        <p:spPr bwMode="auto">
          <a:xfrm>
            <a:off x="-1" y="8533"/>
            <a:ext cx="12192001" cy="6849467"/>
          </a:xfrm>
          <a:prstGeom prst="rect">
            <a:avLst/>
          </a:prstGeom>
          <a:solidFill>
            <a:srgbClr val="F0F8F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96" name="Прямоугольник 95"/>
          <p:cNvSpPr/>
          <p:nvPr/>
        </p:nvSpPr>
        <p:spPr>
          <a:xfrm>
            <a:off x="186182" y="4101075"/>
            <a:ext cx="11819633" cy="211223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/>
          </a:p>
        </p:txBody>
      </p:sp>
      <p:sp>
        <p:nvSpPr>
          <p:cNvPr id="29" name="Rectangle 7"/>
          <p:cNvSpPr>
            <a:spLocks noChangeArrowheads="1"/>
          </p:cNvSpPr>
          <p:nvPr/>
        </p:nvSpPr>
        <p:spPr bwMode="auto">
          <a:xfrm>
            <a:off x="7573455" y="2669879"/>
            <a:ext cx="1477453" cy="1233124"/>
          </a:xfrm>
          <a:prstGeom prst="rect">
            <a:avLst/>
          </a:prstGeom>
          <a:solidFill>
            <a:srgbClr val="9ED442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0" name="Rectangle 8"/>
          <p:cNvSpPr>
            <a:spLocks noChangeArrowheads="1"/>
          </p:cNvSpPr>
          <p:nvPr/>
        </p:nvSpPr>
        <p:spPr bwMode="auto">
          <a:xfrm>
            <a:off x="4618544" y="203633"/>
            <a:ext cx="1477453" cy="1233124"/>
          </a:xfrm>
          <a:prstGeom prst="rect">
            <a:avLst/>
          </a:prstGeom>
          <a:solidFill>
            <a:srgbClr val="9ED442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1" name="Rectangle 9"/>
          <p:cNvSpPr>
            <a:spLocks noChangeArrowheads="1"/>
          </p:cNvSpPr>
          <p:nvPr/>
        </p:nvSpPr>
        <p:spPr bwMode="auto">
          <a:xfrm>
            <a:off x="10528363" y="2669879"/>
            <a:ext cx="1477453" cy="1233124"/>
          </a:xfrm>
          <a:prstGeom prst="rect">
            <a:avLst/>
          </a:prstGeom>
          <a:solidFill>
            <a:srgbClr val="4383DD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2" name="Rectangle 10"/>
          <p:cNvSpPr>
            <a:spLocks noChangeArrowheads="1"/>
          </p:cNvSpPr>
          <p:nvPr/>
        </p:nvSpPr>
        <p:spPr bwMode="auto">
          <a:xfrm>
            <a:off x="7573455" y="1436757"/>
            <a:ext cx="1477453" cy="1233124"/>
          </a:xfrm>
          <a:prstGeom prst="rect">
            <a:avLst/>
          </a:prstGeom>
          <a:solidFill>
            <a:schemeClr val="bg1"/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3" name="Rectangle 11"/>
          <p:cNvSpPr>
            <a:spLocks noChangeArrowheads="1"/>
          </p:cNvSpPr>
          <p:nvPr/>
        </p:nvSpPr>
        <p:spPr bwMode="auto">
          <a:xfrm>
            <a:off x="3141091" y="203633"/>
            <a:ext cx="1477453" cy="1233124"/>
          </a:xfrm>
          <a:prstGeom prst="rect">
            <a:avLst/>
          </a:prstGeom>
          <a:solidFill>
            <a:srgbClr val="5471A9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4" name="Rectangle 12"/>
          <p:cNvSpPr>
            <a:spLocks noChangeArrowheads="1"/>
          </p:cNvSpPr>
          <p:nvPr/>
        </p:nvSpPr>
        <p:spPr bwMode="auto">
          <a:xfrm>
            <a:off x="6096002" y="203633"/>
            <a:ext cx="1477453" cy="1233124"/>
          </a:xfrm>
          <a:prstGeom prst="rect">
            <a:avLst/>
          </a:prstGeom>
          <a:solidFill>
            <a:srgbClr val="4383DD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5" name="Rectangle 13"/>
          <p:cNvSpPr>
            <a:spLocks noChangeArrowheads="1"/>
          </p:cNvSpPr>
          <p:nvPr/>
        </p:nvSpPr>
        <p:spPr bwMode="auto">
          <a:xfrm>
            <a:off x="10528363" y="203633"/>
            <a:ext cx="1477453" cy="1233124"/>
          </a:xfrm>
          <a:prstGeom prst="rect">
            <a:avLst/>
          </a:prstGeom>
          <a:solidFill>
            <a:srgbClr val="43D1A1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6" name="Rectangle 14"/>
          <p:cNvSpPr>
            <a:spLocks noChangeArrowheads="1"/>
          </p:cNvSpPr>
          <p:nvPr/>
        </p:nvSpPr>
        <p:spPr bwMode="auto">
          <a:xfrm>
            <a:off x="9050908" y="1436757"/>
            <a:ext cx="1477453" cy="1233124"/>
          </a:xfrm>
          <a:prstGeom prst="rect">
            <a:avLst/>
          </a:prstGeom>
          <a:solidFill>
            <a:srgbClr val="4383DD"/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7" name="Rectangle 15"/>
          <p:cNvSpPr>
            <a:spLocks noChangeArrowheads="1"/>
          </p:cNvSpPr>
          <p:nvPr/>
        </p:nvSpPr>
        <p:spPr bwMode="auto">
          <a:xfrm>
            <a:off x="186183" y="203633"/>
            <a:ext cx="1477453" cy="1233124"/>
          </a:xfrm>
          <a:prstGeom prst="rect">
            <a:avLst/>
          </a:prstGeom>
          <a:solidFill>
            <a:srgbClr val="43D1A1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8" name="Rectangle 16"/>
          <p:cNvSpPr>
            <a:spLocks noChangeArrowheads="1"/>
          </p:cNvSpPr>
          <p:nvPr/>
        </p:nvSpPr>
        <p:spPr bwMode="auto">
          <a:xfrm>
            <a:off x="7573455" y="203633"/>
            <a:ext cx="2954908" cy="1233124"/>
          </a:xfrm>
          <a:prstGeom prst="rect">
            <a:avLst/>
          </a:prstGeom>
          <a:solidFill>
            <a:srgbClr val="2D2B8D"/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9" name="Rectangle 17"/>
          <p:cNvSpPr>
            <a:spLocks noChangeArrowheads="1"/>
          </p:cNvSpPr>
          <p:nvPr/>
        </p:nvSpPr>
        <p:spPr bwMode="auto">
          <a:xfrm>
            <a:off x="186183" y="2669879"/>
            <a:ext cx="1477453" cy="1233124"/>
          </a:xfrm>
          <a:prstGeom prst="rect">
            <a:avLst/>
          </a:prstGeom>
          <a:solidFill>
            <a:srgbClr val="F5B144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0" name="Rectangle 18"/>
          <p:cNvSpPr>
            <a:spLocks noChangeArrowheads="1"/>
          </p:cNvSpPr>
          <p:nvPr/>
        </p:nvSpPr>
        <p:spPr bwMode="auto">
          <a:xfrm>
            <a:off x="3141091" y="2669879"/>
            <a:ext cx="1477453" cy="1233124"/>
          </a:xfrm>
          <a:prstGeom prst="rect">
            <a:avLst/>
          </a:prstGeom>
          <a:solidFill>
            <a:srgbClr val="5471A9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1" name="Rectangle 19"/>
          <p:cNvSpPr>
            <a:spLocks noChangeArrowheads="1"/>
          </p:cNvSpPr>
          <p:nvPr/>
        </p:nvSpPr>
        <p:spPr bwMode="auto">
          <a:xfrm>
            <a:off x="6096002" y="1436757"/>
            <a:ext cx="1477453" cy="1233124"/>
          </a:xfrm>
          <a:prstGeom prst="rect">
            <a:avLst/>
          </a:prstGeom>
          <a:solidFill>
            <a:srgbClr val="40D4E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2" name="Rectangle 20"/>
          <p:cNvSpPr>
            <a:spLocks noChangeArrowheads="1"/>
          </p:cNvSpPr>
          <p:nvPr/>
        </p:nvSpPr>
        <p:spPr bwMode="auto">
          <a:xfrm>
            <a:off x="10528363" y="1436757"/>
            <a:ext cx="1477453" cy="1233124"/>
          </a:xfrm>
          <a:prstGeom prst="rect">
            <a:avLst/>
          </a:prstGeom>
          <a:solidFill>
            <a:srgbClr val="F5B144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3" name="Rectangle 21"/>
          <p:cNvSpPr>
            <a:spLocks noChangeArrowheads="1"/>
          </p:cNvSpPr>
          <p:nvPr/>
        </p:nvSpPr>
        <p:spPr bwMode="auto">
          <a:xfrm>
            <a:off x="4618544" y="1436757"/>
            <a:ext cx="1477453" cy="1233124"/>
          </a:xfrm>
          <a:prstGeom prst="rect">
            <a:avLst/>
          </a:prstGeom>
          <a:solidFill>
            <a:srgbClr val="40A7E1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4" name="Rectangle 22"/>
          <p:cNvSpPr>
            <a:spLocks noChangeArrowheads="1"/>
          </p:cNvSpPr>
          <p:nvPr/>
        </p:nvSpPr>
        <p:spPr bwMode="auto">
          <a:xfrm>
            <a:off x="3141091" y="1436757"/>
            <a:ext cx="1477453" cy="1233124"/>
          </a:xfrm>
          <a:prstGeom prst="rect">
            <a:avLst/>
          </a:prstGeom>
          <a:solidFill>
            <a:srgbClr val="43D1A1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5" name="Rectangle 23"/>
          <p:cNvSpPr>
            <a:spLocks noChangeArrowheads="1"/>
          </p:cNvSpPr>
          <p:nvPr/>
        </p:nvSpPr>
        <p:spPr bwMode="auto">
          <a:xfrm>
            <a:off x="1663636" y="2669879"/>
            <a:ext cx="1477453" cy="1233124"/>
          </a:xfrm>
          <a:prstGeom prst="rect">
            <a:avLst/>
          </a:prstGeom>
          <a:solidFill>
            <a:srgbClr val="40D4E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6" name="Rectangle 24"/>
          <p:cNvSpPr>
            <a:spLocks noChangeArrowheads="1"/>
          </p:cNvSpPr>
          <p:nvPr/>
        </p:nvSpPr>
        <p:spPr bwMode="auto">
          <a:xfrm>
            <a:off x="1663636" y="203633"/>
            <a:ext cx="1477453" cy="1233124"/>
          </a:xfrm>
          <a:prstGeom prst="rect">
            <a:avLst/>
          </a:prstGeom>
          <a:solidFill>
            <a:srgbClr val="F5B144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7" name="Rectangle 25"/>
          <p:cNvSpPr>
            <a:spLocks noChangeArrowheads="1"/>
          </p:cNvSpPr>
          <p:nvPr/>
        </p:nvSpPr>
        <p:spPr bwMode="auto">
          <a:xfrm>
            <a:off x="1663636" y="1436757"/>
            <a:ext cx="1477453" cy="1233124"/>
          </a:xfrm>
          <a:prstGeom prst="rect">
            <a:avLst/>
          </a:prstGeom>
          <a:solidFill>
            <a:srgbClr val="4383DD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8" name="Rectangle 26"/>
          <p:cNvSpPr>
            <a:spLocks noChangeArrowheads="1"/>
          </p:cNvSpPr>
          <p:nvPr/>
        </p:nvSpPr>
        <p:spPr bwMode="auto">
          <a:xfrm>
            <a:off x="4618544" y="2669879"/>
            <a:ext cx="1477453" cy="1233124"/>
          </a:xfrm>
          <a:prstGeom prst="rect">
            <a:avLst/>
          </a:prstGeom>
          <a:solidFill>
            <a:srgbClr val="F5B144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9" name="Rectangle 27"/>
          <p:cNvSpPr>
            <a:spLocks noChangeArrowheads="1"/>
          </p:cNvSpPr>
          <p:nvPr/>
        </p:nvSpPr>
        <p:spPr bwMode="auto">
          <a:xfrm>
            <a:off x="6096002" y="2669879"/>
            <a:ext cx="1477453" cy="1233124"/>
          </a:xfrm>
          <a:prstGeom prst="rect">
            <a:avLst/>
          </a:prstGeom>
          <a:solidFill>
            <a:srgbClr val="4383DD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0" name="Rectangle 28"/>
          <p:cNvSpPr>
            <a:spLocks noChangeArrowheads="1"/>
          </p:cNvSpPr>
          <p:nvPr/>
        </p:nvSpPr>
        <p:spPr bwMode="auto">
          <a:xfrm>
            <a:off x="9050908" y="2669879"/>
            <a:ext cx="1477453" cy="1233124"/>
          </a:xfrm>
          <a:prstGeom prst="rect">
            <a:avLst/>
          </a:prstGeom>
          <a:solidFill>
            <a:srgbClr val="40D4E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1" name="Rectangle 29"/>
          <p:cNvSpPr>
            <a:spLocks noChangeArrowheads="1"/>
          </p:cNvSpPr>
          <p:nvPr/>
        </p:nvSpPr>
        <p:spPr bwMode="auto">
          <a:xfrm>
            <a:off x="186183" y="1436757"/>
            <a:ext cx="1477453" cy="1233124"/>
          </a:xfrm>
          <a:prstGeom prst="rect">
            <a:avLst/>
          </a:prstGeom>
          <a:solidFill>
            <a:srgbClr val="9ED442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2" name="Freeform 30"/>
          <p:cNvSpPr>
            <a:spLocks noEditPoints="1"/>
          </p:cNvSpPr>
          <p:nvPr/>
        </p:nvSpPr>
        <p:spPr bwMode="auto">
          <a:xfrm>
            <a:off x="10963791" y="3056737"/>
            <a:ext cx="606596" cy="489249"/>
          </a:xfrm>
          <a:custGeom>
            <a:avLst/>
            <a:gdLst>
              <a:gd name="T0" fmla="*/ 442 w 884"/>
              <a:gd name="T1" fmla="*/ 286 h 711"/>
              <a:gd name="T2" fmla="*/ 334 w 884"/>
              <a:gd name="T3" fmla="*/ 179 h 711"/>
              <a:gd name="T4" fmla="*/ 442 w 884"/>
              <a:gd name="T5" fmla="*/ 71 h 711"/>
              <a:gd name="T6" fmla="*/ 549 w 884"/>
              <a:gd name="T7" fmla="*/ 179 h 711"/>
              <a:gd name="T8" fmla="*/ 442 w 884"/>
              <a:gd name="T9" fmla="*/ 286 h 711"/>
              <a:gd name="T10" fmla="*/ 442 w 884"/>
              <a:gd name="T11" fmla="*/ 0 h 711"/>
              <a:gd name="T12" fmla="*/ 263 w 884"/>
              <a:gd name="T13" fmla="*/ 179 h 711"/>
              <a:gd name="T14" fmla="*/ 442 w 884"/>
              <a:gd name="T15" fmla="*/ 358 h 711"/>
              <a:gd name="T16" fmla="*/ 514 w 884"/>
              <a:gd name="T17" fmla="*/ 343 h 711"/>
              <a:gd name="T18" fmla="*/ 514 w 884"/>
              <a:gd name="T19" fmla="*/ 577 h 711"/>
              <a:gd name="T20" fmla="*/ 442 w 884"/>
              <a:gd name="T21" fmla="*/ 529 h 711"/>
              <a:gd name="T22" fmla="*/ 370 w 884"/>
              <a:gd name="T23" fmla="*/ 577 h 711"/>
              <a:gd name="T24" fmla="*/ 370 w 884"/>
              <a:gd name="T25" fmla="*/ 391 h 711"/>
              <a:gd name="T26" fmla="*/ 299 w 884"/>
              <a:gd name="T27" fmla="*/ 391 h 711"/>
              <a:gd name="T28" fmla="*/ 299 w 884"/>
              <a:gd name="T29" fmla="*/ 711 h 711"/>
              <a:gd name="T30" fmla="*/ 442 w 884"/>
              <a:gd name="T31" fmla="*/ 616 h 711"/>
              <a:gd name="T32" fmla="*/ 585 w 884"/>
              <a:gd name="T33" fmla="*/ 711 h 711"/>
              <a:gd name="T34" fmla="*/ 585 w 884"/>
              <a:gd name="T35" fmla="*/ 285 h 711"/>
              <a:gd name="T36" fmla="*/ 621 w 884"/>
              <a:gd name="T37" fmla="*/ 179 h 711"/>
              <a:gd name="T38" fmla="*/ 442 w 884"/>
              <a:gd name="T39" fmla="*/ 0 h 711"/>
              <a:gd name="T40" fmla="*/ 836 w 884"/>
              <a:gd name="T41" fmla="*/ 36 h 711"/>
              <a:gd name="T42" fmla="*/ 662 w 884"/>
              <a:gd name="T43" fmla="*/ 60 h 711"/>
              <a:gd name="T44" fmla="*/ 687 w 884"/>
              <a:gd name="T45" fmla="*/ 130 h 711"/>
              <a:gd name="T46" fmla="*/ 789 w 884"/>
              <a:gd name="T47" fmla="*/ 116 h 711"/>
              <a:gd name="T48" fmla="*/ 789 w 884"/>
              <a:gd name="T49" fmla="*/ 277 h 711"/>
              <a:gd name="T50" fmla="*/ 678 w 884"/>
              <a:gd name="T51" fmla="*/ 262 h 711"/>
              <a:gd name="T52" fmla="*/ 641 w 884"/>
              <a:gd name="T53" fmla="*/ 330 h 711"/>
              <a:gd name="T54" fmla="*/ 836 w 884"/>
              <a:gd name="T55" fmla="*/ 358 h 711"/>
              <a:gd name="T56" fmla="*/ 836 w 884"/>
              <a:gd name="T57" fmla="*/ 36 h 711"/>
              <a:gd name="T58" fmla="*/ 95 w 884"/>
              <a:gd name="T59" fmla="*/ 277 h 711"/>
              <a:gd name="T60" fmla="*/ 95 w 884"/>
              <a:gd name="T61" fmla="*/ 116 h 711"/>
              <a:gd name="T62" fmla="*/ 196 w 884"/>
              <a:gd name="T63" fmla="*/ 130 h 711"/>
              <a:gd name="T64" fmla="*/ 221 w 884"/>
              <a:gd name="T65" fmla="*/ 60 h 711"/>
              <a:gd name="T66" fmla="*/ 48 w 884"/>
              <a:gd name="T67" fmla="*/ 35 h 711"/>
              <a:gd name="T68" fmla="*/ 48 w 884"/>
              <a:gd name="T69" fmla="*/ 358 h 711"/>
              <a:gd name="T70" fmla="*/ 243 w 884"/>
              <a:gd name="T71" fmla="*/ 331 h 711"/>
              <a:gd name="T72" fmla="*/ 206 w 884"/>
              <a:gd name="T73" fmla="*/ 263 h 711"/>
              <a:gd name="T74" fmla="*/ 95 w 884"/>
              <a:gd name="T75" fmla="*/ 277 h 7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884" h="711">
                <a:moveTo>
                  <a:pt x="442" y="286"/>
                </a:moveTo>
                <a:cubicBezTo>
                  <a:pt x="382" y="286"/>
                  <a:pt x="334" y="238"/>
                  <a:pt x="334" y="179"/>
                </a:cubicBezTo>
                <a:cubicBezTo>
                  <a:pt x="334" y="120"/>
                  <a:pt x="382" y="71"/>
                  <a:pt x="442" y="71"/>
                </a:cubicBezTo>
                <a:cubicBezTo>
                  <a:pt x="501" y="71"/>
                  <a:pt x="549" y="120"/>
                  <a:pt x="549" y="179"/>
                </a:cubicBezTo>
                <a:cubicBezTo>
                  <a:pt x="549" y="238"/>
                  <a:pt x="501" y="286"/>
                  <a:pt x="442" y="286"/>
                </a:cubicBezTo>
                <a:close/>
                <a:moveTo>
                  <a:pt x="442" y="0"/>
                </a:moveTo>
                <a:cubicBezTo>
                  <a:pt x="343" y="0"/>
                  <a:pt x="263" y="80"/>
                  <a:pt x="263" y="179"/>
                </a:cubicBezTo>
                <a:cubicBezTo>
                  <a:pt x="263" y="277"/>
                  <a:pt x="343" y="358"/>
                  <a:pt x="442" y="358"/>
                </a:cubicBezTo>
                <a:cubicBezTo>
                  <a:pt x="467" y="358"/>
                  <a:pt x="478" y="352"/>
                  <a:pt x="514" y="343"/>
                </a:cubicBezTo>
                <a:lnTo>
                  <a:pt x="514" y="577"/>
                </a:lnTo>
                <a:lnTo>
                  <a:pt x="442" y="529"/>
                </a:lnTo>
                <a:lnTo>
                  <a:pt x="370" y="577"/>
                </a:lnTo>
                <a:lnTo>
                  <a:pt x="370" y="391"/>
                </a:lnTo>
                <a:lnTo>
                  <a:pt x="299" y="391"/>
                </a:lnTo>
                <a:lnTo>
                  <a:pt x="299" y="711"/>
                </a:lnTo>
                <a:lnTo>
                  <a:pt x="442" y="616"/>
                </a:lnTo>
                <a:lnTo>
                  <a:pt x="585" y="711"/>
                </a:lnTo>
                <a:lnTo>
                  <a:pt x="585" y="285"/>
                </a:lnTo>
                <a:cubicBezTo>
                  <a:pt x="621" y="255"/>
                  <a:pt x="621" y="219"/>
                  <a:pt x="621" y="179"/>
                </a:cubicBezTo>
                <a:cubicBezTo>
                  <a:pt x="621" y="80"/>
                  <a:pt x="540" y="0"/>
                  <a:pt x="442" y="0"/>
                </a:cubicBezTo>
                <a:close/>
                <a:moveTo>
                  <a:pt x="836" y="36"/>
                </a:moveTo>
                <a:cubicBezTo>
                  <a:pt x="778" y="46"/>
                  <a:pt x="720" y="54"/>
                  <a:pt x="662" y="60"/>
                </a:cubicBezTo>
                <a:cubicBezTo>
                  <a:pt x="674" y="82"/>
                  <a:pt x="683" y="105"/>
                  <a:pt x="687" y="130"/>
                </a:cubicBezTo>
                <a:cubicBezTo>
                  <a:pt x="721" y="126"/>
                  <a:pt x="756" y="121"/>
                  <a:pt x="789" y="116"/>
                </a:cubicBezTo>
                <a:cubicBezTo>
                  <a:pt x="804" y="169"/>
                  <a:pt x="804" y="224"/>
                  <a:pt x="789" y="277"/>
                </a:cubicBezTo>
                <a:cubicBezTo>
                  <a:pt x="752" y="271"/>
                  <a:pt x="715" y="266"/>
                  <a:pt x="678" y="262"/>
                </a:cubicBezTo>
                <a:cubicBezTo>
                  <a:pt x="669" y="287"/>
                  <a:pt x="656" y="310"/>
                  <a:pt x="641" y="330"/>
                </a:cubicBezTo>
                <a:cubicBezTo>
                  <a:pt x="706" y="336"/>
                  <a:pt x="771" y="346"/>
                  <a:pt x="836" y="358"/>
                </a:cubicBezTo>
                <a:cubicBezTo>
                  <a:pt x="883" y="258"/>
                  <a:pt x="884" y="138"/>
                  <a:pt x="836" y="36"/>
                </a:cubicBezTo>
                <a:close/>
                <a:moveTo>
                  <a:pt x="95" y="277"/>
                </a:moveTo>
                <a:cubicBezTo>
                  <a:pt x="81" y="225"/>
                  <a:pt x="81" y="170"/>
                  <a:pt x="95" y="116"/>
                </a:cubicBezTo>
                <a:cubicBezTo>
                  <a:pt x="129" y="122"/>
                  <a:pt x="162" y="126"/>
                  <a:pt x="196" y="130"/>
                </a:cubicBezTo>
                <a:cubicBezTo>
                  <a:pt x="201" y="105"/>
                  <a:pt x="209" y="82"/>
                  <a:pt x="221" y="60"/>
                </a:cubicBezTo>
                <a:cubicBezTo>
                  <a:pt x="163" y="54"/>
                  <a:pt x="105" y="46"/>
                  <a:pt x="48" y="35"/>
                </a:cubicBezTo>
                <a:cubicBezTo>
                  <a:pt x="3" y="140"/>
                  <a:pt x="0" y="255"/>
                  <a:pt x="48" y="358"/>
                </a:cubicBezTo>
                <a:cubicBezTo>
                  <a:pt x="112" y="346"/>
                  <a:pt x="178" y="337"/>
                  <a:pt x="243" y="331"/>
                </a:cubicBezTo>
                <a:cubicBezTo>
                  <a:pt x="227" y="310"/>
                  <a:pt x="215" y="287"/>
                  <a:pt x="206" y="263"/>
                </a:cubicBezTo>
                <a:cubicBezTo>
                  <a:pt x="169" y="267"/>
                  <a:pt x="132" y="271"/>
                  <a:pt x="95" y="277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3" name="Freeform 31"/>
          <p:cNvSpPr>
            <a:spLocks noEditPoints="1"/>
          </p:cNvSpPr>
          <p:nvPr/>
        </p:nvSpPr>
        <p:spPr bwMode="auto">
          <a:xfrm>
            <a:off x="5062984" y="3029721"/>
            <a:ext cx="591581" cy="567288"/>
          </a:xfrm>
          <a:custGeom>
            <a:avLst/>
            <a:gdLst>
              <a:gd name="T0" fmla="*/ 466 w 860"/>
              <a:gd name="T1" fmla="*/ 465 h 823"/>
              <a:gd name="T2" fmla="*/ 394 w 860"/>
              <a:gd name="T3" fmla="*/ 393 h 823"/>
              <a:gd name="T4" fmla="*/ 537 w 860"/>
              <a:gd name="T5" fmla="*/ 716 h 823"/>
              <a:gd name="T6" fmla="*/ 609 w 860"/>
              <a:gd name="T7" fmla="*/ 644 h 823"/>
              <a:gd name="T8" fmla="*/ 537 w 860"/>
              <a:gd name="T9" fmla="*/ 716 h 823"/>
              <a:gd name="T10" fmla="*/ 609 w 860"/>
              <a:gd name="T11" fmla="*/ 608 h 823"/>
              <a:gd name="T12" fmla="*/ 537 w 860"/>
              <a:gd name="T13" fmla="*/ 537 h 823"/>
              <a:gd name="T14" fmla="*/ 716 w 860"/>
              <a:gd name="T15" fmla="*/ 644 h 823"/>
              <a:gd name="T16" fmla="*/ 645 w 860"/>
              <a:gd name="T17" fmla="*/ 716 h 823"/>
              <a:gd name="T18" fmla="*/ 716 w 860"/>
              <a:gd name="T19" fmla="*/ 644 h 823"/>
              <a:gd name="T20" fmla="*/ 645 w 860"/>
              <a:gd name="T21" fmla="*/ 537 h 823"/>
              <a:gd name="T22" fmla="*/ 716 w 860"/>
              <a:gd name="T23" fmla="*/ 608 h 823"/>
              <a:gd name="T24" fmla="*/ 251 w 860"/>
              <a:gd name="T25" fmla="*/ 716 h 823"/>
              <a:gd name="T26" fmla="*/ 322 w 860"/>
              <a:gd name="T27" fmla="*/ 644 h 823"/>
              <a:gd name="T28" fmla="*/ 251 w 860"/>
              <a:gd name="T29" fmla="*/ 716 h 823"/>
              <a:gd name="T30" fmla="*/ 322 w 860"/>
              <a:gd name="T31" fmla="*/ 608 h 823"/>
              <a:gd name="T32" fmla="*/ 251 w 860"/>
              <a:gd name="T33" fmla="*/ 537 h 823"/>
              <a:gd name="T34" fmla="*/ 143 w 860"/>
              <a:gd name="T35" fmla="*/ 716 h 823"/>
              <a:gd name="T36" fmla="*/ 215 w 860"/>
              <a:gd name="T37" fmla="*/ 644 h 823"/>
              <a:gd name="T38" fmla="*/ 143 w 860"/>
              <a:gd name="T39" fmla="*/ 716 h 823"/>
              <a:gd name="T40" fmla="*/ 215 w 860"/>
              <a:gd name="T41" fmla="*/ 608 h 823"/>
              <a:gd name="T42" fmla="*/ 143 w 860"/>
              <a:gd name="T43" fmla="*/ 537 h 823"/>
              <a:gd name="T44" fmla="*/ 788 w 860"/>
              <a:gd name="T45" fmla="*/ 752 h 823"/>
              <a:gd name="T46" fmla="*/ 466 w 860"/>
              <a:gd name="T47" fmla="*/ 537 h 823"/>
              <a:gd name="T48" fmla="*/ 394 w 860"/>
              <a:gd name="T49" fmla="*/ 752 h 823"/>
              <a:gd name="T50" fmla="*/ 72 w 860"/>
              <a:gd name="T51" fmla="*/ 501 h 823"/>
              <a:gd name="T52" fmla="*/ 430 w 860"/>
              <a:gd name="T53" fmla="*/ 269 h 823"/>
              <a:gd name="T54" fmla="*/ 788 w 860"/>
              <a:gd name="T55" fmla="*/ 501 h 823"/>
              <a:gd name="T56" fmla="*/ 100 w 860"/>
              <a:gd name="T57" fmla="*/ 358 h 823"/>
              <a:gd name="T58" fmla="*/ 199 w 860"/>
              <a:gd name="T59" fmla="*/ 429 h 823"/>
              <a:gd name="T60" fmla="*/ 100 w 860"/>
              <a:gd name="T61" fmla="*/ 358 h 823"/>
              <a:gd name="T62" fmla="*/ 778 w 860"/>
              <a:gd name="T63" fmla="*/ 429 h 823"/>
              <a:gd name="T64" fmla="*/ 600 w 860"/>
              <a:gd name="T65" fmla="*/ 358 h 823"/>
              <a:gd name="T66" fmla="*/ 816 w 860"/>
              <a:gd name="T67" fmla="*/ 286 h 823"/>
              <a:gd name="T68" fmla="*/ 466 w 860"/>
              <a:gd name="T69" fmla="*/ 183 h 823"/>
              <a:gd name="T70" fmla="*/ 483 w 860"/>
              <a:gd name="T71" fmla="*/ 73 h 823"/>
              <a:gd name="T72" fmla="*/ 645 w 860"/>
              <a:gd name="T73" fmla="*/ 53 h 823"/>
              <a:gd name="T74" fmla="*/ 430 w 860"/>
              <a:gd name="T75" fmla="*/ 0 h 823"/>
              <a:gd name="T76" fmla="*/ 394 w 860"/>
              <a:gd name="T77" fmla="*/ 183 h 823"/>
              <a:gd name="T78" fmla="*/ 44 w 860"/>
              <a:gd name="T79" fmla="*/ 286 h 823"/>
              <a:gd name="T80" fmla="*/ 0 w 860"/>
              <a:gd name="T81" fmla="*/ 823 h 823"/>
              <a:gd name="T82" fmla="*/ 860 w 860"/>
              <a:gd name="T83" fmla="*/ 448 h 8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860" h="823">
                <a:moveTo>
                  <a:pt x="394" y="465"/>
                </a:moveTo>
                <a:lnTo>
                  <a:pt x="466" y="465"/>
                </a:lnTo>
                <a:lnTo>
                  <a:pt x="466" y="393"/>
                </a:lnTo>
                <a:lnTo>
                  <a:pt x="394" y="393"/>
                </a:lnTo>
                <a:lnTo>
                  <a:pt x="394" y="465"/>
                </a:lnTo>
                <a:close/>
                <a:moveTo>
                  <a:pt x="537" y="716"/>
                </a:moveTo>
                <a:lnTo>
                  <a:pt x="609" y="716"/>
                </a:lnTo>
                <a:lnTo>
                  <a:pt x="609" y="644"/>
                </a:lnTo>
                <a:lnTo>
                  <a:pt x="537" y="644"/>
                </a:lnTo>
                <a:lnTo>
                  <a:pt x="537" y="716"/>
                </a:lnTo>
                <a:close/>
                <a:moveTo>
                  <a:pt x="537" y="608"/>
                </a:moveTo>
                <a:lnTo>
                  <a:pt x="609" y="608"/>
                </a:lnTo>
                <a:lnTo>
                  <a:pt x="609" y="537"/>
                </a:lnTo>
                <a:lnTo>
                  <a:pt x="537" y="537"/>
                </a:lnTo>
                <a:lnTo>
                  <a:pt x="537" y="608"/>
                </a:lnTo>
                <a:close/>
                <a:moveTo>
                  <a:pt x="716" y="644"/>
                </a:moveTo>
                <a:lnTo>
                  <a:pt x="645" y="644"/>
                </a:lnTo>
                <a:lnTo>
                  <a:pt x="645" y="716"/>
                </a:lnTo>
                <a:lnTo>
                  <a:pt x="716" y="716"/>
                </a:lnTo>
                <a:lnTo>
                  <a:pt x="716" y="644"/>
                </a:lnTo>
                <a:close/>
                <a:moveTo>
                  <a:pt x="716" y="537"/>
                </a:moveTo>
                <a:lnTo>
                  <a:pt x="645" y="537"/>
                </a:lnTo>
                <a:lnTo>
                  <a:pt x="645" y="608"/>
                </a:lnTo>
                <a:lnTo>
                  <a:pt x="716" y="608"/>
                </a:lnTo>
                <a:lnTo>
                  <a:pt x="716" y="537"/>
                </a:lnTo>
                <a:close/>
                <a:moveTo>
                  <a:pt x="251" y="716"/>
                </a:moveTo>
                <a:lnTo>
                  <a:pt x="322" y="716"/>
                </a:lnTo>
                <a:lnTo>
                  <a:pt x="322" y="644"/>
                </a:lnTo>
                <a:lnTo>
                  <a:pt x="251" y="644"/>
                </a:lnTo>
                <a:lnTo>
                  <a:pt x="251" y="716"/>
                </a:lnTo>
                <a:close/>
                <a:moveTo>
                  <a:pt x="251" y="608"/>
                </a:moveTo>
                <a:lnTo>
                  <a:pt x="322" y="608"/>
                </a:lnTo>
                <a:lnTo>
                  <a:pt x="322" y="537"/>
                </a:lnTo>
                <a:lnTo>
                  <a:pt x="251" y="537"/>
                </a:lnTo>
                <a:lnTo>
                  <a:pt x="251" y="608"/>
                </a:lnTo>
                <a:close/>
                <a:moveTo>
                  <a:pt x="143" y="716"/>
                </a:moveTo>
                <a:lnTo>
                  <a:pt x="215" y="716"/>
                </a:lnTo>
                <a:lnTo>
                  <a:pt x="215" y="644"/>
                </a:lnTo>
                <a:lnTo>
                  <a:pt x="143" y="644"/>
                </a:lnTo>
                <a:lnTo>
                  <a:pt x="143" y="716"/>
                </a:lnTo>
                <a:close/>
                <a:moveTo>
                  <a:pt x="143" y="608"/>
                </a:moveTo>
                <a:lnTo>
                  <a:pt x="215" y="608"/>
                </a:lnTo>
                <a:lnTo>
                  <a:pt x="215" y="537"/>
                </a:lnTo>
                <a:lnTo>
                  <a:pt x="143" y="537"/>
                </a:lnTo>
                <a:lnTo>
                  <a:pt x="143" y="608"/>
                </a:lnTo>
                <a:close/>
                <a:moveTo>
                  <a:pt x="788" y="752"/>
                </a:moveTo>
                <a:lnTo>
                  <a:pt x="466" y="752"/>
                </a:lnTo>
                <a:lnTo>
                  <a:pt x="466" y="537"/>
                </a:lnTo>
                <a:lnTo>
                  <a:pt x="394" y="537"/>
                </a:lnTo>
                <a:lnTo>
                  <a:pt x="394" y="752"/>
                </a:lnTo>
                <a:lnTo>
                  <a:pt x="72" y="752"/>
                </a:lnTo>
                <a:lnTo>
                  <a:pt x="72" y="501"/>
                </a:lnTo>
                <a:lnTo>
                  <a:pt x="232" y="501"/>
                </a:lnTo>
                <a:lnTo>
                  <a:pt x="430" y="269"/>
                </a:lnTo>
                <a:lnTo>
                  <a:pt x="628" y="501"/>
                </a:lnTo>
                <a:lnTo>
                  <a:pt x="788" y="501"/>
                </a:lnTo>
                <a:lnTo>
                  <a:pt x="788" y="752"/>
                </a:lnTo>
                <a:close/>
                <a:moveTo>
                  <a:pt x="100" y="358"/>
                </a:moveTo>
                <a:lnTo>
                  <a:pt x="260" y="358"/>
                </a:lnTo>
                <a:lnTo>
                  <a:pt x="199" y="429"/>
                </a:lnTo>
                <a:lnTo>
                  <a:pt x="82" y="429"/>
                </a:lnTo>
                <a:lnTo>
                  <a:pt x="100" y="358"/>
                </a:lnTo>
                <a:close/>
                <a:moveTo>
                  <a:pt x="760" y="358"/>
                </a:moveTo>
                <a:lnTo>
                  <a:pt x="778" y="429"/>
                </a:lnTo>
                <a:lnTo>
                  <a:pt x="661" y="429"/>
                </a:lnTo>
                <a:lnTo>
                  <a:pt x="600" y="358"/>
                </a:lnTo>
                <a:lnTo>
                  <a:pt x="760" y="358"/>
                </a:lnTo>
                <a:close/>
                <a:moveTo>
                  <a:pt x="816" y="286"/>
                </a:moveTo>
                <a:lnTo>
                  <a:pt x="539" y="286"/>
                </a:lnTo>
                <a:lnTo>
                  <a:pt x="466" y="183"/>
                </a:lnTo>
                <a:lnTo>
                  <a:pt x="466" y="59"/>
                </a:lnTo>
                <a:cubicBezTo>
                  <a:pt x="466" y="62"/>
                  <a:pt x="477" y="67"/>
                  <a:pt x="483" y="73"/>
                </a:cubicBezTo>
                <a:cubicBezTo>
                  <a:pt x="512" y="101"/>
                  <a:pt x="537" y="125"/>
                  <a:pt x="645" y="125"/>
                </a:cubicBezTo>
                <a:lnTo>
                  <a:pt x="645" y="53"/>
                </a:lnTo>
                <a:cubicBezTo>
                  <a:pt x="573" y="53"/>
                  <a:pt x="550" y="47"/>
                  <a:pt x="533" y="31"/>
                </a:cubicBezTo>
                <a:cubicBezTo>
                  <a:pt x="511" y="9"/>
                  <a:pt x="488" y="0"/>
                  <a:pt x="430" y="0"/>
                </a:cubicBezTo>
                <a:lnTo>
                  <a:pt x="394" y="0"/>
                </a:lnTo>
                <a:lnTo>
                  <a:pt x="394" y="183"/>
                </a:lnTo>
                <a:lnTo>
                  <a:pt x="322" y="286"/>
                </a:lnTo>
                <a:lnTo>
                  <a:pt x="44" y="286"/>
                </a:lnTo>
                <a:lnTo>
                  <a:pt x="1" y="458"/>
                </a:lnTo>
                <a:lnTo>
                  <a:pt x="0" y="823"/>
                </a:lnTo>
                <a:lnTo>
                  <a:pt x="860" y="823"/>
                </a:lnTo>
                <a:lnTo>
                  <a:pt x="860" y="448"/>
                </a:lnTo>
                <a:lnTo>
                  <a:pt x="816" y="286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5" name="Freeform 33"/>
          <p:cNvSpPr>
            <a:spLocks noEditPoints="1"/>
          </p:cNvSpPr>
          <p:nvPr/>
        </p:nvSpPr>
        <p:spPr bwMode="auto">
          <a:xfrm>
            <a:off x="8017892" y="3077747"/>
            <a:ext cx="591581" cy="543275"/>
          </a:xfrm>
          <a:custGeom>
            <a:avLst/>
            <a:gdLst>
              <a:gd name="T0" fmla="*/ 143 w 859"/>
              <a:gd name="T1" fmla="*/ 645 h 788"/>
              <a:gd name="T2" fmla="*/ 143 w 859"/>
              <a:gd name="T3" fmla="*/ 430 h 788"/>
              <a:gd name="T4" fmla="*/ 716 w 859"/>
              <a:gd name="T5" fmla="*/ 430 h 788"/>
              <a:gd name="T6" fmla="*/ 716 w 859"/>
              <a:gd name="T7" fmla="*/ 645 h 788"/>
              <a:gd name="T8" fmla="*/ 143 w 859"/>
              <a:gd name="T9" fmla="*/ 645 h 788"/>
              <a:gd name="T10" fmla="*/ 179 w 859"/>
              <a:gd name="T11" fmla="*/ 72 h 788"/>
              <a:gd name="T12" fmla="*/ 680 w 859"/>
              <a:gd name="T13" fmla="*/ 72 h 788"/>
              <a:gd name="T14" fmla="*/ 716 w 859"/>
              <a:gd name="T15" fmla="*/ 108 h 788"/>
              <a:gd name="T16" fmla="*/ 716 w 859"/>
              <a:gd name="T17" fmla="*/ 358 h 788"/>
              <a:gd name="T18" fmla="*/ 465 w 859"/>
              <a:gd name="T19" fmla="*/ 358 h 788"/>
              <a:gd name="T20" fmla="*/ 465 w 859"/>
              <a:gd name="T21" fmla="*/ 108 h 788"/>
              <a:gd name="T22" fmla="*/ 393 w 859"/>
              <a:gd name="T23" fmla="*/ 108 h 788"/>
              <a:gd name="T24" fmla="*/ 393 w 859"/>
              <a:gd name="T25" fmla="*/ 358 h 788"/>
              <a:gd name="T26" fmla="*/ 143 w 859"/>
              <a:gd name="T27" fmla="*/ 358 h 788"/>
              <a:gd name="T28" fmla="*/ 143 w 859"/>
              <a:gd name="T29" fmla="*/ 108 h 788"/>
              <a:gd name="T30" fmla="*/ 179 w 859"/>
              <a:gd name="T31" fmla="*/ 72 h 788"/>
              <a:gd name="T32" fmla="*/ 787 w 859"/>
              <a:gd name="T33" fmla="*/ 179 h 788"/>
              <a:gd name="T34" fmla="*/ 787 w 859"/>
              <a:gd name="T35" fmla="*/ 108 h 788"/>
              <a:gd name="T36" fmla="*/ 680 w 859"/>
              <a:gd name="T37" fmla="*/ 0 h 788"/>
              <a:gd name="T38" fmla="*/ 179 w 859"/>
              <a:gd name="T39" fmla="*/ 0 h 788"/>
              <a:gd name="T40" fmla="*/ 71 w 859"/>
              <a:gd name="T41" fmla="*/ 108 h 788"/>
              <a:gd name="T42" fmla="*/ 71 w 859"/>
              <a:gd name="T43" fmla="*/ 179 h 788"/>
              <a:gd name="T44" fmla="*/ 0 w 859"/>
              <a:gd name="T45" fmla="*/ 179 h 788"/>
              <a:gd name="T46" fmla="*/ 0 w 859"/>
              <a:gd name="T47" fmla="*/ 358 h 788"/>
              <a:gd name="T48" fmla="*/ 71 w 859"/>
              <a:gd name="T49" fmla="*/ 358 h 788"/>
              <a:gd name="T50" fmla="*/ 71 w 859"/>
              <a:gd name="T51" fmla="*/ 716 h 788"/>
              <a:gd name="T52" fmla="*/ 143 w 859"/>
              <a:gd name="T53" fmla="*/ 716 h 788"/>
              <a:gd name="T54" fmla="*/ 143 w 859"/>
              <a:gd name="T55" fmla="*/ 788 h 788"/>
              <a:gd name="T56" fmla="*/ 214 w 859"/>
              <a:gd name="T57" fmla="*/ 788 h 788"/>
              <a:gd name="T58" fmla="*/ 214 w 859"/>
              <a:gd name="T59" fmla="*/ 716 h 788"/>
              <a:gd name="T60" fmla="*/ 644 w 859"/>
              <a:gd name="T61" fmla="*/ 716 h 788"/>
              <a:gd name="T62" fmla="*/ 644 w 859"/>
              <a:gd name="T63" fmla="*/ 788 h 788"/>
              <a:gd name="T64" fmla="*/ 716 w 859"/>
              <a:gd name="T65" fmla="*/ 788 h 788"/>
              <a:gd name="T66" fmla="*/ 716 w 859"/>
              <a:gd name="T67" fmla="*/ 716 h 788"/>
              <a:gd name="T68" fmla="*/ 787 w 859"/>
              <a:gd name="T69" fmla="*/ 716 h 788"/>
              <a:gd name="T70" fmla="*/ 787 w 859"/>
              <a:gd name="T71" fmla="*/ 358 h 788"/>
              <a:gd name="T72" fmla="*/ 859 w 859"/>
              <a:gd name="T73" fmla="*/ 358 h 788"/>
              <a:gd name="T74" fmla="*/ 859 w 859"/>
              <a:gd name="T75" fmla="*/ 179 h 788"/>
              <a:gd name="T76" fmla="*/ 787 w 859"/>
              <a:gd name="T77" fmla="*/ 179 h 7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859" h="788">
                <a:moveTo>
                  <a:pt x="143" y="645"/>
                </a:moveTo>
                <a:lnTo>
                  <a:pt x="143" y="430"/>
                </a:lnTo>
                <a:lnTo>
                  <a:pt x="716" y="430"/>
                </a:lnTo>
                <a:lnTo>
                  <a:pt x="716" y="645"/>
                </a:lnTo>
                <a:lnTo>
                  <a:pt x="143" y="645"/>
                </a:lnTo>
                <a:close/>
                <a:moveTo>
                  <a:pt x="179" y="72"/>
                </a:moveTo>
                <a:lnTo>
                  <a:pt x="680" y="72"/>
                </a:lnTo>
                <a:cubicBezTo>
                  <a:pt x="700" y="72"/>
                  <a:pt x="716" y="88"/>
                  <a:pt x="716" y="108"/>
                </a:cubicBezTo>
                <a:lnTo>
                  <a:pt x="716" y="358"/>
                </a:lnTo>
                <a:lnTo>
                  <a:pt x="465" y="358"/>
                </a:lnTo>
                <a:lnTo>
                  <a:pt x="465" y="108"/>
                </a:lnTo>
                <a:lnTo>
                  <a:pt x="393" y="108"/>
                </a:lnTo>
                <a:lnTo>
                  <a:pt x="393" y="358"/>
                </a:lnTo>
                <a:lnTo>
                  <a:pt x="143" y="358"/>
                </a:lnTo>
                <a:lnTo>
                  <a:pt x="143" y="108"/>
                </a:lnTo>
                <a:cubicBezTo>
                  <a:pt x="143" y="88"/>
                  <a:pt x="159" y="72"/>
                  <a:pt x="179" y="72"/>
                </a:cubicBezTo>
                <a:close/>
                <a:moveTo>
                  <a:pt x="787" y="179"/>
                </a:moveTo>
                <a:lnTo>
                  <a:pt x="787" y="108"/>
                </a:lnTo>
                <a:cubicBezTo>
                  <a:pt x="787" y="48"/>
                  <a:pt x="739" y="0"/>
                  <a:pt x="680" y="0"/>
                </a:cubicBezTo>
                <a:lnTo>
                  <a:pt x="179" y="0"/>
                </a:lnTo>
                <a:cubicBezTo>
                  <a:pt x="120" y="0"/>
                  <a:pt x="71" y="48"/>
                  <a:pt x="71" y="108"/>
                </a:cubicBezTo>
                <a:lnTo>
                  <a:pt x="71" y="179"/>
                </a:lnTo>
                <a:lnTo>
                  <a:pt x="0" y="179"/>
                </a:lnTo>
                <a:lnTo>
                  <a:pt x="0" y="358"/>
                </a:lnTo>
                <a:lnTo>
                  <a:pt x="71" y="358"/>
                </a:lnTo>
                <a:lnTo>
                  <a:pt x="71" y="716"/>
                </a:lnTo>
                <a:lnTo>
                  <a:pt x="143" y="716"/>
                </a:lnTo>
                <a:lnTo>
                  <a:pt x="143" y="788"/>
                </a:lnTo>
                <a:lnTo>
                  <a:pt x="214" y="788"/>
                </a:lnTo>
                <a:lnTo>
                  <a:pt x="214" y="716"/>
                </a:lnTo>
                <a:lnTo>
                  <a:pt x="644" y="716"/>
                </a:lnTo>
                <a:lnTo>
                  <a:pt x="644" y="788"/>
                </a:lnTo>
                <a:lnTo>
                  <a:pt x="716" y="788"/>
                </a:lnTo>
                <a:lnTo>
                  <a:pt x="716" y="716"/>
                </a:lnTo>
                <a:lnTo>
                  <a:pt x="787" y="716"/>
                </a:lnTo>
                <a:lnTo>
                  <a:pt x="787" y="358"/>
                </a:lnTo>
                <a:lnTo>
                  <a:pt x="859" y="358"/>
                </a:lnTo>
                <a:lnTo>
                  <a:pt x="859" y="179"/>
                </a:lnTo>
                <a:lnTo>
                  <a:pt x="787" y="179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6" name="Rectangle 34"/>
          <p:cNvSpPr>
            <a:spLocks noChangeArrowheads="1"/>
          </p:cNvSpPr>
          <p:nvPr/>
        </p:nvSpPr>
        <p:spPr bwMode="auto">
          <a:xfrm>
            <a:off x="8141012" y="3429000"/>
            <a:ext cx="123120" cy="5102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7" name="Rectangle 35"/>
          <p:cNvSpPr>
            <a:spLocks noChangeArrowheads="1"/>
          </p:cNvSpPr>
          <p:nvPr/>
        </p:nvSpPr>
        <p:spPr bwMode="auto">
          <a:xfrm>
            <a:off x="8363231" y="3429000"/>
            <a:ext cx="123120" cy="5102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8" name="Rectangle 36"/>
          <p:cNvSpPr>
            <a:spLocks noChangeArrowheads="1"/>
          </p:cNvSpPr>
          <p:nvPr/>
        </p:nvSpPr>
        <p:spPr bwMode="auto">
          <a:xfrm>
            <a:off x="2279241" y="647860"/>
            <a:ext cx="246243" cy="4802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9" name="Freeform 37"/>
          <p:cNvSpPr>
            <a:spLocks noEditPoints="1"/>
          </p:cNvSpPr>
          <p:nvPr/>
        </p:nvSpPr>
        <p:spPr bwMode="auto">
          <a:xfrm>
            <a:off x="2177142" y="560563"/>
            <a:ext cx="447441" cy="519263"/>
          </a:xfrm>
          <a:custGeom>
            <a:avLst/>
            <a:gdLst>
              <a:gd name="T0" fmla="*/ 212 w 651"/>
              <a:gd name="T1" fmla="*/ 446 h 752"/>
              <a:gd name="T2" fmla="*/ 281 w 651"/>
              <a:gd name="T3" fmla="*/ 680 h 752"/>
              <a:gd name="T4" fmla="*/ 290 w 651"/>
              <a:gd name="T5" fmla="*/ 680 h 752"/>
              <a:gd name="T6" fmla="*/ 290 w 651"/>
              <a:gd name="T7" fmla="*/ 348 h 752"/>
              <a:gd name="T8" fmla="*/ 254 w 651"/>
              <a:gd name="T9" fmla="*/ 286 h 752"/>
              <a:gd name="T10" fmla="*/ 326 w 651"/>
              <a:gd name="T11" fmla="*/ 215 h 752"/>
              <a:gd name="T12" fmla="*/ 397 w 651"/>
              <a:gd name="T13" fmla="*/ 286 h 752"/>
              <a:gd name="T14" fmla="*/ 362 w 651"/>
              <a:gd name="T15" fmla="*/ 348 h 752"/>
              <a:gd name="T16" fmla="*/ 362 w 651"/>
              <a:gd name="T17" fmla="*/ 680 h 752"/>
              <a:gd name="T18" fmla="*/ 370 w 651"/>
              <a:gd name="T19" fmla="*/ 680 h 752"/>
              <a:gd name="T20" fmla="*/ 435 w 651"/>
              <a:gd name="T21" fmla="*/ 456 h 752"/>
              <a:gd name="T22" fmla="*/ 573 w 651"/>
              <a:gd name="T23" fmla="*/ 245 h 752"/>
              <a:gd name="T24" fmla="*/ 326 w 651"/>
              <a:gd name="T25" fmla="*/ 72 h 752"/>
              <a:gd name="T26" fmla="*/ 79 w 651"/>
              <a:gd name="T27" fmla="*/ 245 h 752"/>
              <a:gd name="T28" fmla="*/ 212 w 651"/>
              <a:gd name="T29" fmla="*/ 446 h 752"/>
              <a:gd name="T30" fmla="*/ 5 w 651"/>
              <a:gd name="T31" fmla="*/ 241 h 752"/>
              <a:gd name="T32" fmla="*/ 326 w 651"/>
              <a:gd name="T33" fmla="*/ 0 h 752"/>
              <a:gd name="T34" fmla="*/ 647 w 651"/>
              <a:gd name="T35" fmla="*/ 241 h 752"/>
              <a:gd name="T36" fmla="*/ 651 w 651"/>
              <a:gd name="T37" fmla="*/ 257 h 752"/>
              <a:gd name="T38" fmla="*/ 502 w 651"/>
              <a:gd name="T39" fmla="*/ 481 h 752"/>
              <a:gd name="T40" fmla="*/ 424 w 651"/>
              <a:gd name="T41" fmla="*/ 752 h 752"/>
              <a:gd name="T42" fmla="*/ 227 w 651"/>
              <a:gd name="T43" fmla="*/ 752 h 752"/>
              <a:gd name="T44" fmla="*/ 150 w 651"/>
              <a:gd name="T45" fmla="*/ 481 h 752"/>
              <a:gd name="T46" fmla="*/ 0 w 651"/>
              <a:gd name="T47" fmla="*/ 257 h 752"/>
              <a:gd name="T48" fmla="*/ 5 w 651"/>
              <a:gd name="T49" fmla="*/ 24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651" h="752">
                <a:moveTo>
                  <a:pt x="212" y="446"/>
                </a:moveTo>
                <a:lnTo>
                  <a:pt x="281" y="680"/>
                </a:lnTo>
                <a:lnTo>
                  <a:pt x="290" y="680"/>
                </a:lnTo>
                <a:lnTo>
                  <a:pt x="290" y="348"/>
                </a:lnTo>
                <a:cubicBezTo>
                  <a:pt x="254" y="336"/>
                  <a:pt x="254" y="313"/>
                  <a:pt x="254" y="286"/>
                </a:cubicBezTo>
                <a:cubicBezTo>
                  <a:pt x="254" y="247"/>
                  <a:pt x="286" y="215"/>
                  <a:pt x="326" y="215"/>
                </a:cubicBezTo>
                <a:cubicBezTo>
                  <a:pt x="365" y="215"/>
                  <a:pt x="397" y="247"/>
                  <a:pt x="397" y="286"/>
                </a:cubicBezTo>
                <a:cubicBezTo>
                  <a:pt x="397" y="313"/>
                  <a:pt x="398" y="336"/>
                  <a:pt x="362" y="348"/>
                </a:cubicBezTo>
                <a:lnTo>
                  <a:pt x="362" y="680"/>
                </a:lnTo>
                <a:lnTo>
                  <a:pt x="370" y="680"/>
                </a:lnTo>
                <a:lnTo>
                  <a:pt x="435" y="456"/>
                </a:lnTo>
                <a:lnTo>
                  <a:pt x="573" y="245"/>
                </a:lnTo>
                <a:cubicBezTo>
                  <a:pt x="536" y="142"/>
                  <a:pt x="436" y="72"/>
                  <a:pt x="326" y="72"/>
                </a:cubicBezTo>
                <a:cubicBezTo>
                  <a:pt x="215" y="72"/>
                  <a:pt x="116" y="142"/>
                  <a:pt x="79" y="245"/>
                </a:cubicBezTo>
                <a:lnTo>
                  <a:pt x="212" y="446"/>
                </a:lnTo>
                <a:close/>
                <a:moveTo>
                  <a:pt x="5" y="241"/>
                </a:moveTo>
                <a:cubicBezTo>
                  <a:pt x="46" y="99"/>
                  <a:pt x="178" y="0"/>
                  <a:pt x="326" y="0"/>
                </a:cubicBezTo>
                <a:cubicBezTo>
                  <a:pt x="473" y="0"/>
                  <a:pt x="605" y="99"/>
                  <a:pt x="647" y="241"/>
                </a:cubicBezTo>
                <a:lnTo>
                  <a:pt x="651" y="257"/>
                </a:lnTo>
                <a:lnTo>
                  <a:pt x="502" y="481"/>
                </a:lnTo>
                <a:lnTo>
                  <a:pt x="424" y="752"/>
                </a:lnTo>
                <a:lnTo>
                  <a:pt x="227" y="752"/>
                </a:lnTo>
                <a:lnTo>
                  <a:pt x="150" y="481"/>
                </a:lnTo>
                <a:lnTo>
                  <a:pt x="0" y="257"/>
                </a:lnTo>
                <a:lnTo>
                  <a:pt x="5" y="24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62" name="Freeform 40"/>
          <p:cNvSpPr>
            <a:spLocks noEditPoints="1"/>
          </p:cNvSpPr>
          <p:nvPr/>
        </p:nvSpPr>
        <p:spPr bwMode="auto">
          <a:xfrm>
            <a:off x="3585527" y="1831707"/>
            <a:ext cx="588580" cy="492248"/>
          </a:xfrm>
          <a:custGeom>
            <a:avLst/>
            <a:gdLst>
              <a:gd name="T0" fmla="*/ 716 w 859"/>
              <a:gd name="T1" fmla="*/ 0 h 716"/>
              <a:gd name="T2" fmla="*/ 143 w 859"/>
              <a:gd name="T3" fmla="*/ 0 h 716"/>
              <a:gd name="T4" fmla="*/ 0 w 859"/>
              <a:gd name="T5" fmla="*/ 143 h 716"/>
              <a:gd name="T6" fmla="*/ 143 w 859"/>
              <a:gd name="T7" fmla="*/ 286 h 716"/>
              <a:gd name="T8" fmla="*/ 286 w 859"/>
              <a:gd name="T9" fmla="*/ 143 h 716"/>
              <a:gd name="T10" fmla="*/ 215 w 859"/>
              <a:gd name="T11" fmla="*/ 143 h 716"/>
              <a:gd name="T12" fmla="*/ 143 w 859"/>
              <a:gd name="T13" fmla="*/ 215 h 716"/>
              <a:gd name="T14" fmla="*/ 72 w 859"/>
              <a:gd name="T15" fmla="*/ 143 h 716"/>
              <a:gd name="T16" fmla="*/ 143 w 859"/>
              <a:gd name="T17" fmla="*/ 72 h 716"/>
              <a:gd name="T18" fmla="*/ 716 w 859"/>
              <a:gd name="T19" fmla="*/ 72 h 716"/>
              <a:gd name="T20" fmla="*/ 788 w 859"/>
              <a:gd name="T21" fmla="*/ 143 h 716"/>
              <a:gd name="T22" fmla="*/ 716 w 859"/>
              <a:gd name="T23" fmla="*/ 215 h 716"/>
              <a:gd name="T24" fmla="*/ 645 w 859"/>
              <a:gd name="T25" fmla="*/ 143 h 716"/>
              <a:gd name="T26" fmla="*/ 573 w 859"/>
              <a:gd name="T27" fmla="*/ 143 h 716"/>
              <a:gd name="T28" fmla="*/ 716 w 859"/>
              <a:gd name="T29" fmla="*/ 286 h 716"/>
              <a:gd name="T30" fmla="*/ 859 w 859"/>
              <a:gd name="T31" fmla="*/ 143 h 716"/>
              <a:gd name="T32" fmla="*/ 716 w 859"/>
              <a:gd name="T33" fmla="*/ 0 h 716"/>
              <a:gd name="T34" fmla="*/ 394 w 859"/>
              <a:gd name="T35" fmla="*/ 143 h 716"/>
              <a:gd name="T36" fmla="*/ 394 w 859"/>
              <a:gd name="T37" fmla="*/ 573 h 716"/>
              <a:gd name="T38" fmla="*/ 465 w 859"/>
              <a:gd name="T39" fmla="*/ 573 h 716"/>
              <a:gd name="T40" fmla="*/ 465 w 859"/>
              <a:gd name="T41" fmla="*/ 143 h 716"/>
              <a:gd name="T42" fmla="*/ 394 w 859"/>
              <a:gd name="T43" fmla="*/ 143 h 716"/>
              <a:gd name="T44" fmla="*/ 537 w 859"/>
              <a:gd name="T45" fmla="*/ 262 h 716"/>
              <a:gd name="T46" fmla="*/ 537 w 859"/>
              <a:gd name="T47" fmla="*/ 573 h 716"/>
              <a:gd name="T48" fmla="*/ 609 w 859"/>
              <a:gd name="T49" fmla="*/ 573 h 716"/>
              <a:gd name="T50" fmla="*/ 609 w 859"/>
              <a:gd name="T51" fmla="*/ 329 h 716"/>
              <a:gd name="T52" fmla="*/ 537 w 859"/>
              <a:gd name="T53" fmla="*/ 262 h 716"/>
              <a:gd name="T54" fmla="*/ 250 w 859"/>
              <a:gd name="T55" fmla="*/ 329 h 716"/>
              <a:gd name="T56" fmla="*/ 250 w 859"/>
              <a:gd name="T57" fmla="*/ 573 h 716"/>
              <a:gd name="T58" fmla="*/ 322 w 859"/>
              <a:gd name="T59" fmla="*/ 573 h 716"/>
              <a:gd name="T60" fmla="*/ 322 w 859"/>
              <a:gd name="T61" fmla="*/ 262 h 716"/>
              <a:gd name="T62" fmla="*/ 250 w 859"/>
              <a:gd name="T63" fmla="*/ 329 h 716"/>
              <a:gd name="T64" fmla="*/ 143 w 859"/>
              <a:gd name="T65" fmla="*/ 716 h 716"/>
              <a:gd name="T66" fmla="*/ 716 w 859"/>
              <a:gd name="T67" fmla="*/ 716 h 716"/>
              <a:gd name="T68" fmla="*/ 716 w 859"/>
              <a:gd name="T69" fmla="*/ 645 h 716"/>
              <a:gd name="T70" fmla="*/ 143 w 859"/>
              <a:gd name="T71" fmla="*/ 645 h 716"/>
              <a:gd name="T72" fmla="*/ 143 w 859"/>
              <a:gd name="T73" fmla="*/ 716 h 7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859" h="716">
                <a:moveTo>
                  <a:pt x="716" y="0"/>
                </a:moveTo>
                <a:lnTo>
                  <a:pt x="143" y="0"/>
                </a:lnTo>
                <a:cubicBezTo>
                  <a:pt x="64" y="0"/>
                  <a:pt x="0" y="64"/>
                  <a:pt x="0" y="143"/>
                </a:cubicBezTo>
                <a:cubicBezTo>
                  <a:pt x="0" y="222"/>
                  <a:pt x="64" y="286"/>
                  <a:pt x="143" y="286"/>
                </a:cubicBezTo>
                <a:cubicBezTo>
                  <a:pt x="222" y="286"/>
                  <a:pt x="286" y="215"/>
                  <a:pt x="286" y="143"/>
                </a:cubicBezTo>
                <a:lnTo>
                  <a:pt x="215" y="143"/>
                </a:lnTo>
                <a:cubicBezTo>
                  <a:pt x="215" y="179"/>
                  <a:pt x="183" y="215"/>
                  <a:pt x="143" y="215"/>
                </a:cubicBezTo>
                <a:cubicBezTo>
                  <a:pt x="104" y="215"/>
                  <a:pt x="72" y="183"/>
                  <a:pt x="72" y="143"/>
                </a:cubicBezTo>
                <a:cubicBezTo>
                  <a:pt x="72" y="104"/>
                  <a:pt x="104" y="72"/>
                  <a:pt x="143" y="72"/>
                </a:cubicBezTo>
                <a:lnTo>
                  <a:pt x="716" y="72"/>
                </a:lnTo>
                <a:cubicBezTo>
                  <a:pt x="756" y="72"/>
                  <a:pt x="788" y="104"/>
                  <a:pt x="788" y="143"/>
                </a:cubicBezTo>
                <a:cubicBezTo>
                  <a:pt x="788" y="183"/>
                  <a:pt x="756" y="215"/>
                  <a:pt x="716" y="215"/>
                </a:cubicBezTo>
                <a:cubicBezTo>
                  <a:pt x="677" y="215"/>
                  <a:pt x="645" y="179"/>
                  <a:pt x="645" y="143"/>
                </a:cubicBezTo>
                <a:lnTo>
                  <a:pt x="573" y="143"/>
                </a:lnTo>
                <a:cubicBezTo>
                  <a:pt x="573" y="215"/>
                  <a:pt x="637" y="286"/>
                  <a:pt x="716" y="286"/>
                </a:cubicBezTo>
                <a:cubicBezTo>
                  <a:pt x="795" y="286"/>
                  <a:pt x="859" y="222"/>
                  <a:pt x="859" y="143"/>
                </a:cubicBezTo>
                <a:cubicBezTo>
                  <a:pt x="859" y="64"/>
                  <a:pt x="795" y="0"/>
                  <a:pt x="716" y="0"/>
                </a:cubicBezTo>
                <a:close/>
                <a:moveTo>
                  <a:pt x="394" y="143"/>
                </a:moveTo>
                <a:lnTo>
                  <a:pt x="394" y="573"/>
                </a:lnTo>
                <a:lnTo>
                  <a:pt x="465" y="573"/>
                </a:lnTo>
                <a:lnTo>
                  <a:pt x="465" y="143"/>
                </a:lnTo>
                <a:lnTo>
                  <a:pt x="394" y="143"/>
                </a:lnTo>
                <a:close/>
                <a:moveTo>
                  <a:pt x="537" y="262"/>
                </a:moveTo>
                <a:lnTo>
                  <a:pt x="537" y="573"/>
                </a:lnTo>
                <a:lnTo>
                  <a:pt x="609" y="573"/>
                </a:lnTo>
                <a:lnTo>
                  <a:pt x="609" y="329"/>
                </a:lnTo>
                <a:cubicBezTo>
                  <a:pt x="573" y="312"/>
                  <a:pt x="573" y="289"/>
                  <a:pt x="537" y="262"/>
                </a:cubicBezTo>
                <a:close/>
                <a:moveTo>
                  <a:pt x="250" y="329"/>
                </a:moveTo>
                <a:lnTo>
                  <a:pt x="250" y="573"/>
                </a:lnTo>
                <a:lnTo>
                  <a:pt x="322" y="573"/>
                </a:lnTo>
                <a:lnTo>
                  <a:pt x="322" y="262"/>
                </a:lnTo>
                <a:cubicBezTo>
                  <a:pt x="286" y="289"/>
                  <a:pt x="286" y="312"/>
                  <a:pt x="250" y="329"/>
                </a:cubicBezTo>
                <a:close/>
                <a:moveTo>
                  <a:pt x="143" y="716"/>
                </a:moveTo>
                <a:lnTo>
                  <a:pt x="716" y="716"/>
                </a:lnTo>
                <a:lnTo>
                  <a:pt x="716" y="645"/>
                </a:lnTo>
                <a:lnTo>
                  <a:pt x="143" y="645"/>
                </a:lnTo>
                <a:lnTo>
                  <a:pt x="143" y="716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66" name="Freeform 44"/>
          <p:cNvSpPr>
            <a:spLocks noEditPoints="1"/>
          </p:cNvSpPr>
          <p:nvPr/>
        </p:nvSpPr>
        <p:spPr bwMode="auto">
          <a:xfrm>
            <a:off x="10966795" y="509538"/>
            <a:ext cx="573565" cy="621313"/>
          </a:xfrm>
          <a:custGeom>
            <a:avLst/>
            <a:gdLst>
              <a:gd name="T0" fmla="*/ 583 w 837"/>
              <a:gd name="T1" fmla="*/ 579 h 901"/>
              <a:gd name="T2" fmla="*/ 511 w 837"/>
              <a:gd name="T3" fmla="*/ 650 h 901"/>
              <a:gd name="T4" fmla="*/ 583 w 837"/>
              <a:gd name="T5" fmla="*/ 722 h 901"/>
              <a:gd name="T6" fmla="*/ 654 w 837"/>
              <a:gd name="T7" fmla="*/ 650 h 901"/>
              <a:gd name="T8" fmla="*/ 583 w 837"/>
              <a:gd name="T9" fmla="*/ 579 h 901"/>
              <a:gd name="T10" fmla="*/ 332 w 837"/>
              <a:gd name="T11" fmla="*/ 579 h 901"/>
              <a:gd name="T12" fmla="*/ 260 w 837"/>
              <a:gd name="T13" fmla="*/ 650 h 901"/>
              <a:gd name="T14" fmla="*/ 332 w 837"/>
              <a:gd name="T15" fmla="*/ 722 h 901"/>
              <a:gd name="T16" fmla="*/ 404 w 837"/>
              <a:gd name="T17" fmla="*/ 650 h 901"/>
              <a:gd name="T18" fmla="*/ 332 w 837"/>
              <a:gd name="T19" fmla="*/ 579 h 901"/>
              <a:gd name="T20" fmla="*/ 332 w 837"/>
              <a:gd name="T21" fmla="*/ 435 h 901"/>
              <a:gd name="T22" fmla="*/ 260 w 837"/>
              <a:gd name="T23" fmla="*/ 364 h 901"/>
              <a:gd name="T24" fmla="*/ 189 w 837"/>
              <a:gd name="T25" fmla="*/ 435 h 901"/>
              <a:gd name="T26" fmla="*/ 260 w 837"/>
              <a:gd name="T27" fmla="*/ 507 h 901"/>
              <a:gd name="T28" fmla="*/ 332 w 837"/>
              <a:gd name="T29" fmla="*/ 435 h 901"/>
              <a:gd name="T30" fmla="*/ 404 w 837"/>
              <a:gd name="T31" fmla="*/ 185 h 901"/>
              <a:gd name="T32" fmla="*/ 332 w 837"/>
              <a:gd name="T33" fmla="*/ 256 h 901"/>
              <a:gd name="T34" fmla="*/ 404 w 837"/>
              <a:gd name="T35" fmla="*/ 328 h 901"/>
              <a:gd name="T36" fmla="*/ 475 w 837"/>
              <a:gd name="T37" fmla="*/ 256 h 901"/>
              <a:gd name="T38" fmla="*/ 404 w 837"/>
              <a:gd name="T39" fmla="*/ 185 h 901"/>
              <a:gd name="T40" fmla="*/ 757 w 837"/>
              <a:gd name="T41" fmla="*/ 635 h 901"/>
              <a:gd name="T42" fmla="*/ 698 w 837"/>
              <a:gd name="T43" fmla="*/ 711 h 901"/>
              <a:gd name="T44" fmla="*/ 429 w 837"/>
              <a:gd name="T45" fmla="*/ 829 h 901"/>
              <a:gd name="T46" fmla="*/ 207 w 837"/>
              <a:gd name="T47" fmla="*/ 738 h 901"/>
              <a:gd name="T48" fmla="*/ 233 w 837"/>
              <a:gd name="T49" fmla="*/ 231 h 901"/>
              <a:gd name="T50" fmla="*/ 502 w 837"/>
              <a:gd name="T51" fmla="*/ 113 h 901"/>
              <a:gd name="T52" fmla="*/ 658 w 837"/>
              <a:gd name="T53" fmla="*/ 154 h 901"/>
              <a:gd name="T54" fmla="*/ 675 w 837"/>
              <a:gd name="T55" fmla="*/ 177 h 901"/>
              <a:gd name="T56" fmla="*/ 665 w 837"/>
              <a:gd name="T57" fmla="*/ 208 h 901"/>
              <a:gd name="T58" fmla="*/ 602 w 837"/>
              <a:gd name="T59" fmla="*/ 366 h 901"/>
              <a:gd name="T60" fmla="*/ 744 w 837"/>
              <a:gd name="T61" fmla="*/ 584 h 901"/>
              <a:gd name="T62" fmla="*/ 760 w 837"/>
              <a:gd name="T63" fmla="*/ 605 h 901"/>
              <a:gd name="T64" fmla="*/ 757 w 837"/>
              <a:gd name="T65" fmla="*/ 635 h 901"/>
              <a:gd name="T66" fmla="*/ 829 w 837"/>
              <a:gd name="T67" fmla="*/ 585 h 901"/>
              <a:gd name="T68" fmla="*/ 776 w 837"/>
              <a:gd name="T69" fmla="*/ 520 h 901"/>
              <a:gd name="T70" fmla="*/ 673 w 837"/>
              <a:gd name="T71" fmla="*/ 366 h 901"/>
              <a:gd name="T72" fmla="*/ 718 w 837"/>
              <a:gd name="T73" fmla="*/ 257 h 901"/>
              <a:gd name="T74" fmla="*/ 746 w 837"/>
              <a:gd name="T75" fmla="*/ 166 h 901"/>
              <a:gd name="T76" fmla="*/ 694 w 837"/>
              <a:gd name="T77" fmla="*/ 92 h 901"/>
              <a:gd name="T78" fmla="*/ 181 w 837"/>
              <a:gd name="T79" fmla="*/ 181 h 901"/>
              <a:gd name="T80" fmla="*/ 156 w 837"/>
              <a:gd name="T81" fmla="*/ 788 h 901"/>
              <a:gd name="T82" fmla="*/ 429 w 837"/>
              <a:gd name="T83" fmla="*/ 901 h 901"/>
              <a:gd name="T84" fmla="*/ 749 w 837"/>
              <a:gd name="T85" fmla="*/ 761 h 901"/>
              <a:gd name="T86" fmla="*/ 818 w 837"/>
              <a:gd name="T87" fmla="*/ 672 h 901"/>
              <a:gd name="T88" fmla="*/ 829 w 837"/>
              <a:gd name="T89" fmla="*/ 585 h 9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837" h="901">
                <a:moveTo>
                  <a:pt x="583" y="579"/>
                </a:moveTo>
                <a:cubicBezTo>
                  <a:pt x="543" y="579"/>
                  <a:pt x="511" y="611"/>
                  <a:pt x="511" y="650"/>
                </a:cubicBezTo>
                <a:cubicBezTo>
                  <a:pt x="511" y="690"/>
                  <a:pt x="543" y="722"/>
                  <a:pt x="583" y="722"/>
                </a:cubicBezTo>
                <a:cubicBezTo>
                  <a:pt x="622" y="722"/>
                  <a:pt x="654" y="690"/>
                  <a:pt x="654" y="650"/>
                </a:cubicBezTo>
                <a:cubicBezTo>
                  <a:pt x="654" y="611"/>
                  <a:pt x="622" y="579"/>
                  <a:pt x="583" y="579"/>
                </a:cubicBezTo>
                <a:close/>
                <a:moveTo>
                  <a:pt x="332" y="579"/>
                </a:moveTo>
                <a:cubicBezTo>
                  <a:pt x="292" y="579"/>
                  <a:pt x="260" y="611"/>
                  <a:pt x="260" y="650"/>
                </a:cubicBezTo>
                <a:cubicBezTo>
                  <a:pt x="260" y="690"/>
                  <a:pt x="292" y="722"/>
                  <a:pt x="332" y="722"/>
                </a:cubicBezTo>
                <a:cubicBezTo>
                  <a:pt x="372" y="722"/>
                  <a:pt x="404" y="690"/>
                  <a:pt x="404" y="650"/>
                </a:cubicBezTo>
                <a:cubicBezTo>
                  <a:pt x="404" y="611"/>
                  <a:pt x="372" y="579"/>
                  <a:pt x="332" y="579"/>
                </a:cubicBezTo>
                <a:close/>
                <a:moveTo>
                  <a:pt x="332" y="435"/>
                </a:moveTo>
                <a:cubicBezTo>
                  <a:pt x="332" y="396"/>
                  <a:pt x="300" y="364"/>
                  <a:pt x="260" y="364"/>
                </a:cubicBezTo>
                <a:cubicBezTo>
                  <a:pt x="221" y="364"/>
                  <a:pt x="189" y="396"/>
                  <a:pt x="189" y="435"/>
                </a:cubicBezTo>
                <a:cubicBezTo>
                  <a:pt x="189" y="475"/>
                  <a:pt x="221" y="507"/>
                  <a:pt x="260" y="507"/>
                </a:cubicBezTo>
                <a:cubicBezTo>
                  <a:pt x="300" y="507"/>
                  <a:pt x="332" y="475"/>
                  <a:pt x="332" y="435"/>
                </a:cubicBezTo>
                <a:close/>
                <a:moveTo>
                  <a:pt x="404" y="185"/>
                </a:moveTo>
                <a:cubicBezTo>
                  <a:pt x="364" y="185"/>
                  <a:pt x="332" y="217"/>
                  <a:pt x="332" y="256"/>
                </a:cubicBezTo>
                <a:cubicBezTo>
                  <a:pt x="332" y="296"/>
                  <a:pt x="364" y="328"/>
                  <a:pt x="404" y="328"/>
                </a:cubicBezTo>
                <a:cubicBezTo>
                  <a:pt x="443" y="328"/>
                  <a:pt x="475" y="296"/>
                  <a:pt x="475" y="256"/>
                </a:cubicBezTo>
                <a:cubicBezTo>
                  <a:pt x="475" y="217"/>
                  <a:pt x="443" y="185"/>
                  <a:pt x="404" y="185"/>
                </a:cubicBezTo>
                <a:close/>
                <a:moveTo>
                  <a:pt x="757" y="635"/>
                </a:moveTo>
                <a:cubicBezTo>
                  <a:pt x="740" y="663"/>
                  <a:pt x="721" y="688"/>
                  <a:pt x="698" y="711"/>
                </a:cubicBezTo>
                <a:cubicBezTo>
                  <a:pt x="625" y="786"/>
                  <a:pt x="527" y="829"/>
                  <a:pt x="429" y="829"/>
                </a:cubicBezTo>
                <a:cubicBezTo>
                  <a:pt x="343" y="829"/>
                  <a:pt x="265" y="797"/>
                  <a:pt x="207" y="738"/>
                </a:cubicBezTo>
                <a:cubicBezTo>
                  <a:pt x="78" y="605"/>
                  <a:pt x="89" y="378"/>
                  <a:pt x="233" y="231"/>
                </a:cubicBezTo>
                <a:cubicBezTo>
                  <a:pt x="308" y="154"/>
                  <a:pt x="406" y="113"/>
                  <a:pt x="502" y="113"/>
                </a:cubicBezTo>
                <a:cubicBezTo>
                  <a:pt x="557" y="113"/>
                  <a:pt x="610" y="126"/>
                  <a:pt x="658" y="154"/>
                </a:cubicBezTo>
                <a:cubicBezTo>
                  <a:pt x="668" y="159"/>
                  <a:pt x="674" y="167"/>
                  <a:pt x="675" y="177"/>
                </a:cubicBezTo>
                <a:cubicBezTo>
                  <a:pt x="677" y="188"/>
                  <a:pt x="673" y="199"/>
                  <a:pt x="665" y="208"/>
                </a:cubicBezTo>
                <a:cubicBezTo>
                  <a:pt x="624" y="253"/>
                  <a:pt x="602" y="309"/>
                  <a:pt x="602" y="366"/>
                </a:cubicBezTo>
                <a:cubicBezTo>
                  <a:pt x="602" y="456"/>
                  <a:pt x="656" y="540"/>
                  <a:pt x="744" y="584"/>
                </a:cubicBezTo>
                <a:cubicBezTo>
                  <a:pt x="754" y="590"/>
                  <a:pt x="759" y="600"/>
                  <a:pt x="760" y="605"/>
                </a:cubicBezTo>
                <a:cubicBezTo>
                  <a:pt x="763" y="615"/>
                  <a:pt x="762" y="626"/>
                  <a:pt x="757" y="635"/>
                </a:cubicBezTo>
                <a:close/>
                <a:moveTo>
                  <a:pt x="829" y="585"/>
                </a:moveTo>
                <a:cubicBezTo>
                  <a:pt x="821" y="557"/>
                  <a:pt x="801" y="533"/>
                  <a:pt x="776" y="520"/>
                </a:cubicBezTo>
                <a:cubicBezTo>
                  <a:pt x="713" y="488"/>
                  <a:pt x="673" y="429"/>
                  <a:pt x="673" y="366"/>
                </a:cubicBezTo>
                <a:cubicBezTo>
                  <a:pt x="673" y="326"/>
                  <a:pt x="689" y="288"/>
                  <a:pt x="718" y="257"/>
                </a:cubicBezTo>
                <a:cubicBezTo>
                  <a:pt x="741" y="231"/>
                  <a:pt x="751" y="198"/>
                  <a:pt x="746" y="166"/>
                </a:cubicBezTo>
                <a:cubicBezTo>
                  <a:pt x="741" y="135"/>
                  <a:pt x="722" y="108"/>
                  <a:pt x="694" y="92"/>
                </a:cubicBezTo>
                <a:cubicBezTo>
                  <a:pt x="533" y="0"/>
                  <a:pt x="323" y="37"/>
                  <a:pt x="181" y="181"/>
                </a:cubicBezTo>
                <a:cubicBezTo>
                  <a:pt x="11" y="356"/>
                  <a:pt x="0" y="628"/>
                  <a:pt x="156" y="788"/>
                </a:cubicBezTo>
                <a:cubicBezTo>
                  <a:pt x="227" y="861"/>
                  <a:pt x="324" y="901"/>
                  <a:pt x="429" y="901"/>
                </a:cubicBezTo>
                <a:cubicBezTo>
                  <a:pt x="546" y="901"/>
                  <a:pt x="663" y="850"/>
                  <a:pt x="749" y="761"/>
                </a:cubicBezTo>
                <a:cubicBezTo>
                  <a:pt x="776" y="734"/>
                  <a:pt x="799" y="704"/>
                  <a:pt x="818" y="672"/>
                </a:cubicBezTo>
                <a:cubicBezTo>
                  <a:pt x="833" y="646"/>
                  <a:pt x="837" y="615"/>
                  <a:pt x="829" y="585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67" name="Freeform 45"/>
          <p:cNvSpPr>
            <a:spLocks noEditPoints="1"/>
          </p:cNvSpPr>
          <p:nvPr/>
        </p:nvSpPr>
        <p:spPr bwMode="auto">
          <a:xfrm>
            <a:off x="630619" y="1794187"/>
            <a:ext cx="588580" cy="567288"/>
          </a:xfrm>
          <a:custGeom>
            <a:avLst/>
            <a:gdLst>
              <a:gd name="T0" fmla="*/ 573 w 859"/>
              <a:gd name="T1" fmla="*/ 573 h 824"/>
              <a:gd name="T2" fmla="*/ 573 w 859"/>
              <a:gd name="T3" fmla="*/ 645 h 824"/>
              <a:gd name="T4" fmla="*/ 859 w 859"/>
              <a:gd name="T5" fmla="*/ 645 h 824"/>
              <a:gd name="T6" fmla="*/ 859 w 859"/>
              <a:gd name="T7" fmla="*/ 573 h 824"/>
              <a:gd name="T8" fmla="*/ 573 w 859"/>
              <a:gd name="T9" fmla="*/ 573 h 824"/>
              <a:gd name="T10" fmla="*/ 787 w 859"/>
              <a:gd name="T11" fmla="*/ 537 h 824"/>
              <a:gd name="T12" fmla="*/ 787 w 859"/>
              <a:gd name="T13" fmla="*/ 466 h 824"/>
              <a:gd name="T14" fmla="*/ 573 w 859"/>
              <a:gd name="T15" fmla="*/ 466 h 824"/>
              <a:gd name="T16" fmla="*/ 573 w 859"/>
              <a:gd name="T17" fmla="*/ 537 h 824"/>
              <a:gd name="T18" fmla="*/ 787 w 859"/>
              <a:gd name="T19" fmla="*/ 537 h 824"/>
              <a:gd name="T20" fmla="*/ 250 w 859"/>
              <a:gd name="T21" fmla="*/ 430 h 824"/>
              <a:gd name="T22" fmla="*/ 250 w 859"/>
              <a:gd name="T23" fmla="*/ 698 h 824"/>
              <a:gd name="T24" fmla="*/ 394 w 859"/>
              <a:gd name="T25" fmla="*/ 627 h 824"/>
              <a:gd name="T26" fmla="*/ 537 w 859"/>
              <a:gd name="T27" fmla="*/ 698 h 824"/>
              <a:gd name="T28" fmla="*/ 537 w 859"/>
              <a:gd name="T29" fmla="*/ 430 h 824"/>
              <a:gd name="T30" fmla="*/ 465 w 859"/>
              <a:gd name="T31" fmla="*/ 430 h 824"/>
              <a:gd name="T32" fmla="*/ 465 w 859"/>
              <a:gd name="T33" fmla="*/ 582 h 824"/>
              <a:gd name="T34" fmla="*/ 394 w 859"/>
              <a:gd name="T35" fmla="*/ 547 h 824"/>
              <a:gd name="T36" fmla="*/ 322 w 859"/>
              <a:gd name="T37" fmla="*/ 582 h 824"/>
              <a:gd name="T38" fmla="*/ 322 w 859"/>
              <a:gd name="T39" fmla="*/ 430 h 824"/>
              <a:gd name="T40" fmla="*/ 250 w 859"/>
              <a:gd name="T41" fmla="*/ 430 h 824"/>
              <a:gd name="T42" fmla="*/ 788 w 859"/>
              <a:gd name="T43" fmla="*/ 125 h 824"/>
              <a:gd name="T44" fmla="*/ 662 w 859"/>
              <a:gd name="T45" fmla="*/ 0 h 824"/>
              <a:gd name="T46" fmla="*/ 143 w 859"/>
              <a:gd name="T47" fmla="*/ 0 h 824"/>
              <a:gd name="T48" fmla="*/ 143 w 859"/>
              <a:gd name="T49" fmla="*/ 72 h 824"/>
              <a:gd name="T50" fmla="*/ 662 w 859"/>
              <a:gd name="T51" fmla="*/ 72 h 824"/>
              <a:gd name="T52" fmla="*/ 716 w 859"/>
              <a:gd name="T53" fmla="*/ 125 h 824"/>
              <a:gd name="T54" fmla="*/ 662 w 859"/>
              <a:gd name="T55" fmla="*/ 179 h 824"/>
              <a:gd name="T56" fmla="*/ 143 w 859"/>
              <a:gd name="T57" fmla="*/ 179 h 824"/>
              <a:gd name="T58" fmla="*/ 143 w 859"/>
              <a:gd name="T59" fmla="*/ 251 h 824"/>
              <a:gd name="T60" fmla="*/ 662 w 859"/>
              <a:gd name="T61" fmla="*/ 251 h 824"/>
              <a:gd name="T62" fmla="*/ 788 w 859"/>
              <a:gd name="T63" fmla="*/ 125 h 824"/>
              <a:gd name="T64" fmla="*/ 197 w 859"/>
              <a:gd name="T65" fmla="*/ 537 h 824"/>
              <a:gd name="T66" fmla="*/ 214 w 859"/>
              <a:gd name="T67" fmla="*/ 537 h 824"/>
              <a:gd name="T68" fmla="*/ 214 w 859"/>
              <a:gd name="T69" fmla="*/ 466 h 824"/>
              <a:gd name="T70" fmla="*/ 197 w 859"/>
              <a:gd name="T71" fmla="*/ 466 h 824"/>
              <a:gd name="T72" fmla="*/ 143 w 859"/>
              <a:gd name="T73" fmla="*/ 412 h 824"/>
              <a:gd name="T74" fmla="*/ 197 w 859"/>
              <a:gd name="T75" fmla="*/ 358 h 824"/>
              <a:gd name="T76" fmla="*/ 787 w 859"/>
              <a:gd name="T77" fmla="*/ 358 h 824"/>
              <a:gd name="T78" fmla="*/ 787 w 859"/>
              <a:gd name="T79" fmla="*/ 286 h 824"/>
              <a:gd name="T80" fmla="*/ 197 w 859"/>
              <a:gd name="T81" fmla="*/ 286 h 824"/>
              <a:gd name="T82" fmla="*/ 71 w 859"/>
              <a:gd name="T83" fmla="*/ 412 h 824"/>
              <a:gd name="T84" fmla="*/ 197 w 859"/>
              <a:gd name="T85" fmla="*/ 537 h 824"/>
              <a:gd name="T86" fmla="*/ 71 w 859"/>
              <a:gd name="T87" fmla="*/ 698 h 824"/>
              <a:gd name="T88" fmla="*/ 125 w 859"/>
              <a:gd name="T89" fmla="*/ 645 h 824"/>
              <a:gd name="T90" fmla="*/ 214 w 859"/>
              <a:gd name="T91" fmla="*/ 645 h 824"/>
              <a:gd name="T92" fmla="*/ 214 w 859"/>
              <a:gd name="T93" fmla="*/ 573 h 824"/>
              <a:gd name="T94" fmla="*/ 125 w 859"/>
              <a:gd name="T95" fmla="*/ 573 h 824"/>
              <a:gd name="T96" fmla="*/ 0 w 859"/>
              <a:gd name="T97" fmla="*/ 698 h 824"/>
              <a:gd name="T98" fmla="*/ 125 w 859"/>
              <a:gd name="T99" fmla="*/ 824 h 824"/>
              <a:gd name="T100" fmla="*/ 859 w 859"/>
              <a:gd name="T101" fmla="*/ 824 h 824"/>
              <a:gd name="T102" fmla="*/ 859 w 859"/>
              <a:gd name="T103" fmla="*/ 752 h 824"/>
              <a:gd name="T104" fmla="*/ 125 w 859"/>
              <a:gd name="T105" fmla="*/ 752 h 824"/>
              <a:gd name="T106" fmla="*/ 71 w 859"/>
              <a:gd name="T107" fmla="*/ 698 h 8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859" h="824">
                <a:moveTo>
                  <a:pt x="573" y="573"/>
                </a:moveTo>
                <a:lnTo>
                  <a:pt x="573" y="645"/>
                </a:lnTo>
                <a:lnTo>
                  <a:pt x="859" y="645"/>
                </a:lnTo>
                <a:lnTo>
                  <a:pt x="859" y="573"/>
                </a:lnTo>
                <a:lnTo>
                  <a:pt x="573" y="573"/>
                </a:lnTo>
                <a:close/>
                <a:moveTo>
                  <a:pt x="787" y="537"/>
                </a:moveTo>
                <a:lnTo>
                  <a:pt x="787" y="466"/>
                </a:lnTo>
                <a:lnTo>
                  <a:pt x="573" y="466"/>
                </a:lnTo>
                <a:lnTo>
                  <a:pt x="573" y="537"/>
                </a:lnTo>
                <a:lnTo>
                  <a:pt x="787" y="537"/>
                </a:lnTo>
                <a:close/>
                <a:moveTo>
                  <a:pt x="250" y="430"/>
                </a:moveTo>
                <a:lnTo>
                  <a:pt x="250" y="698"/>
                </a:lnTo>
                <a:lnTo>
                  <a:pt x="394" y="627"/>
                </a:lnTo>
                <a:lnTo>
                  <a:pt x="537" y="698"/>
                </a:lnTo>
                <a:lnTo>
                  <a:pt x="537" y="430"/>
                </a:lnTo>
                <a:lnTo>
                  <a:pt x="465" y="430"/>
                </a:lnTo>
                <a:lnTo>
                  <a:pt x="465" y="582"/>
                </a:lnTo>
                <a:lnTo>
                  <a:pt x="394" y="547"/>
                </a:lnTo>
                <a:lnTo>
                  <a:pt x="322" y="582"/>
                </a:lnTo>
                <a:lnTo>
                  <a:pt x="322" y="430"/>
                </a:lnTo>
                <a:lnTo>
                  <a:pt x="250" y="430"/>
                </a:lnTo>
                <a:close/>
                <a:moveTo>
                  <a:pt x="788" y="125"/>
                </a:moveTo>
                <a:cubicBezTo>
                  <a:pt x="788" y="56"/>
                  <a:pt x="731" y="0"/>
                  <a:pt x="662" y="0"/>
                </a:cubicBezTo>
                <a:lnTo>
                  <a:pt x="143" y="0"/>
                </a:lnTo>
                <a:lnTo>
                  <a:pt x="143" y="72"/>
                </a:lnTo>
                <a:lnTo>
                  <a:pt x="662" y="72"/>
                </a:lnTo>
                <a:cubicBezTo>
                  <a:pt x="692" y="72"/>
                  <a:pt x="716" y="96"/>
                  <a:pt x="716" y="125"/>
                </a:cubicBezTo>
                <a:cubicBezTo>
                  <a:pt x="716" y="155"/>
                  <a:pt x="692" y="179"/>
                  <a:pt x="662" y="179"/>
                </a:cubicBezTo>
                <a:lnTo>
                  <a:pt x="143" y="179"/>
                </a:lnTo>
                <a:lnTo>
                  <a:pt x="143" y="251"/>
                </a:lnTo>
                <a:lnTo>
                  <a:pt x="662" y="251"/>
                </a:lnTo>
                <a:cubicBezTo>
                  <a:pt x="731" y="251"/>
                  <a:pt x="788" y="194"/>
                  <a:pt x="788" y="125"/>
                </a:cubicBezTo>
                <a:close/>
                <a:moveTo>
                  <a:pt x="197" y="537"/>
                </a:moveTo>
                <a:lnTo>
                  <a:pt x="214" y="537"/>
                </a:lnTo>
                <a:lnTo>
                  <a:pt x="214" y="466"/>
                </a:lnTo>
                <a:lnTo>
                  <a:pt x="197" y="466"/>
                </a:lnTo>
                <a:cubicBezTo>
                  <a:pt x="167" y="466"/>
                  <a:pt x="143" y="441"/>
                  <a:pt x="143" y="412"/>
                </a:cubicBezTo>
                <a:cubicBezTo>
                  <a:pt x="143" y="382"/>
                  <a:pt x="167" y="358"/>
                  <a:pt x="197" y="358"/>
                </a:cubicBezTo>
                <a:lnTo>
                  <a:pt x="787" y="358"/>
                </a:lnTo>
                <a:lnTo>
                  <a:pt x="787" y="286"/>
                </a:lnTo>
                <a:lnTo>
                  <a:pt x="197" y="286"/>
                </a:lnTo>
                <a:cubicBezTo>
                  <a:pt x="128" y="286"/>
                  <a:pt x="71" y="343"/>
                  <a:pt x="71" y="412"/>
                </a:cubicBezTo>
                <a:cubicBezTo>
                  <a:pt x="71" y="481"/>
                  <a:pt x="128" y="537"/>
                  <a:pt x="197" y="537"/>
                </a:cubicBezTo>
                <a:close/>
                <a:moveTo>
                  <a:pt x="71" y="698"/>
                </a:moveTo>
                <a:cubicBezTo>
                  <a:pt x="71" y="669"/>
                  <a:pt x="95" y="645"/>
                  <a:pt x="125" y="645"/>
                </a:cubicBezTo>
                <a:lnTo>
                  <a:pt x="214" y="645"/>
                </a:lnTo>
                <a:lnTo>
                  <a:pt x="214" y="573"/>
                </a:lnTo>
                <a:lnTo>
                  <a:pt x="125" y="573"/>
                </a:lnTo>
                <a:cubicBezTo>
                  <a:pt x="56" y="573"/>
                  <a:pt x="0" y="629"/>
                  <a:pt x="0" y="698"/>
                </a:cubicBezTo>
                <a:cubicBezTo>
                  <a:pt x="0" y="767"/>
                  <a:pt x="56" y="824"/>
                  <a:pt x="125" y="824"/>
                </a:cubicBezTo>
                <a:lnTo>
                  <a:pt x="859" y="824"/>
                </a:lnTo>
                <a:lnTo>
                  <a:pt x="859" y="752"/>
                </a:lnTo>
                <a:lnTo>
                  <a:pt x="125" y="752"/>
                </a:lnTo>
                <a:cubicBezTo>
                  <a:pt x="95" y="752"/>
                  <a:pt x="71" y="728"/>
                  <a:pt x="71" y="698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70" name="Freeform 48"/>
          <p:cNvSpPr>
            <a:spLocks noEditPoints="1"/>
          </p:cNvSpPr>
          <p:nvPr/>
        </p:nvSpPr>
        <p:spPr bwMode="auto">
          <a:xfrm>
            <a:off x="5065986" y="538051"/>
            <a:ext cx="582575" cy="564285"/>
          </a:xfrm>
          <a:custGeom>
            <a:avLst/>
            <a:gdLst>
              <a:gd name="T0" fmla="*/ 388 w 848"/>
              <a:gd name="T1" fmla="*/ 486 h 821"/>
              <a:gd name="T2" fmla="*/ 291 w 848"/>
              <a:gd name="T3" fmla="*/ 583 h 821"/>
              <a:gd name="T4" fmla="*/ 342 w 848"/>
              <a:gd name="T5" fmla="*/ 634 h 821"/>
              <a:gd name="T6" fmla="*/ 460 w 848"/>
              <a:gd name="T7" fmla="*/ 516 h 821"/>
              <a:gd name="T8" fmla="*/ 460 w 848"/>
              <a:gd name="T9" fmla="*/ 267 h 821"/>
              <a:gd name="T10" fmla="*/ 388 w 848"/>
              <a:gd name="T11" fmla="*/ 267 h 821"/>
              <a:gd name="T12" fmla="*/ 388 w 848"/>
              <a:gd name="T13" fmla="*/ 486 h 821"/>
              <a:gd name="T14" fmla="*/ 172 w 848"/>
              <a:gd name="T15" fmla="*/ 118 h 821"/>
              <a:gd name="T16" fmla="*/ 259 w 848"/>
              <a:gd name="T17" fmla="*/ 69 h 821"/>
              <a:gd name="T18" fmla="*/ 231 w 848"/>
              <a:gd name="T19" fmla="*/ 3 h 821"/>
              <a:gd name="T20" fmla="*/ 130 w 848"/>
              <a:gd name="T21" fmla="*/ 60 h 821"/>
              <a:gd name="T22" fmla="*/ 0 w 848"/>
              <a:gd name="T23" fmla="*/ 195 h 821"/>
              <a:gd name="T24" fmla="*/ 60 w 848"/>
              <a:gd name="T25" fmla="*/ 234 h 821"/>
              <a:gd name="T26" fmla="*/ 172 w 848"/>
              <a:gd name="T27" fmla="*/ 118 h 821"/>
              <a:gd name="T28" fmla="*/ 719 w 848"/>
              <a:gd name="T29" fmla="*/ 57 h 821"/>
              <a:gd name="T30" fmla="*/ 617 w 848"/>
              <a:gd name="T31" fmla="*/ 0 h 821"/>
              <a:gd name="T32" fmla="*/ 590 w 848"/>
              <a:gd name="T33" fmla="*/ 66 h 821"/>
              <a:gd name="T34" fmla="*/ 677 w 848"/>
              <a:gd name="T35" fmla="*/ 115 h 821"/>
              <a:gd name="T36" fmla="*/ 788 w 848"/>
              <a:gd name="T37" fmla="*/ 234 h 821"/>
              <a:gd name="T38" fmla="*/ 848 w 848"/>
              <a:gd name="T39" fmla="*/ 196 h 821"/>
              <a:gd name="T40" fmla="*/ 719 w 848"/>
              <a:gd name="T41" fmla="*/ 57 h 821"/>
              <a:gd name="T42" fmla="*/ 424 w 848"/>
              <a:gd name="T43" fmla="*/ 749 h 821"/>
              <a:gd name="T44" fmla="*/ 138 w 848"/>
              <a:gd name="T45" fmla="*/ 463 h 821"/>
              <a:gd name="T46" fmla="*/ 424 w 848"/>
              <a:gd name="T47" fmla="*/ 176 h 821"/>
              <a:gd name="T48" fmla="*/ 711 w 848"/>
              <a:gd name="T49" fmla="*/ 463 h 821"/>
              <a:gd name="T50" fmla="*/ 424 w 848"/>
              <a:gd name="T51" fmla="*/ 749 h 821"/>
              <a:gd name="T52" fmla="*/ 424 w 848"/>
              <a:gd name="T53" fmla="*/ 105 h 821"/>
              <a:gd name="T54" fmla="*/ 66 w 848"/>
              <a:gd name="T55" fmla="*/ 463 h 821"/>
              <a:gd name="T56" fmla="*/ 424 w 848"/>
              <a:gd name="T57" fmla="*/ 821 h 821"/>
              <a:gd name="T58" fmla="*/ 782 w 848"/>
              <a:gd name="T59" fmla="*/ 463 h 821"/>
              <a:gd name="T60" fmla="*/ 424 w 848"/>
              <a:gd name="T61" fmla="*/ 105 h 8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848" h="821">
                <a:moveTo>
                  <a:pt x="388" y="486"/>
                </a:moveTo>
                <a:lnTo>
                  <a:pt x="291" y="583"/>
                </a:lnTo>
                <a:lnTo>
                  <a:pt x="342" y="634"/>
                </a:lnTo>
                <a:lnTo>
                  <a:pt x="460" y="516"/>
                </a:lnTo>
                <a:lnTo>
                  <a:pt x="460" y="267"/>
                </a:lnTo>
                <a:lnTo>
                  <a:pt x="388" y="267"/>
                </a:lnTo>
                <a:lnTo>
                  <a:pt x="388" y="486"/>
                </a:lnTo>
                <a:close/>
                <a:moveTo>
                  <a:pt x="172" y="118"/>
                </a:moveTo>
                <a:cubicBezTo>
                  <a:pt x="199" y="98"/>
                  <a:pt x="228" y="82"/>
                  <a:pt x="259" y="69"/>
                </a:cubicBezTo>
                <a:lnTo>
                  <a:pt x="231" y="3"/>
                </a:lnTo>
                <a:cubicBezTo>
                  <a:pt x="195" y="18"/>
                  <a:pt x="161" y="37"/>
                  <a:pt x="130" y="60"/>
                </a:cubicBezTo>
                <a:cubicBezTo>
                  <a:pt x="76" y="98"/>
                  <a:pt x="33" y="144"/>
                  <a:pt x="0" y="195"/>
                </a:cubicBezTo>
                <a:lnTo>
                  <a:pt x="60" y="234"/>
                </a:lnTo>
                <a:cubicBezTo>
                  <a:pt x="89" y="190"/>
                  <a:pt x="126" y="151"/>
                  <a:pt x="172" y="118"/>
                </a:cubicBezTo>
                <a:close/>
                <a:moveTo>
                  <a:pt x="719" y="57"/>
                </a:moveTo>
                <a:cubicBezTo>
                  <a:pt x="687" y="34"/>
                  <a:pt x="653" y="15"/>
                  <a:pt x="617" y="0"/>
                </a:cubicBezTo>
                <a:lnTo>
                  <a:pt x="590" y="66"/>
                </a:lnTo>
                <a:cubicBezTo>
                  <a:pt x="620" y="79"/>
                  <a:pt x="650" y="95"/>
                  <a:pt x="677" y="115"/>
                </a:cubicBezTo>
                <a:cubicBezTo>
                  <a:pt x="721" y="147"/>
                  <a:pt x="758" y="187"/>
                  <a:pt x="788" y="234"/>
                </a:cubicBezTo>
                <a:lnTo>
                  <a:pt x="848" y="196"/>
                </a:lnTo>
                <a:cubicBezTo>
                  <a:pt x="814" y="141"/>
                  <a:pt x="770" y="95"/>
                  <a:pt x="719" y="57"/>
                </a:cubicBezTo>
                <a:close/>
                <a:moveTo>
                  <a:pt x="424" y="749"/>
                </a:moveTo>
                <a:cubicBezTo>
                  <a:pt x="266" y="749"/>
                  <a:pt x="138" y="621"/>
                  <a:pt x="138" y="463"/>
                </a:cubicBezTo>
                <a:cubicBezTo>
                  <a:pt x="138" y="305"/>
                  <a:pt x="266" y="176"/>
                  <a:pt x="424" y="176"/>
                </a:cubicBezTo>
                <a:cubicBezTo>
                  <a:pt x="582" y="176"/>
                  <a:pt x="711" y="305"/>
                  <a:pt x="711" y="463"/>
                </a:cubicBezTo>
                <a:cubicBezTo>
                  <a:pt x="711" y="621"/>
                  <a:pt x="582" y="749"/>
                  <a:pt x="424" y="749"/>
                </a:cubicBezTo>
                <a:close/>
                <a:moveTo>
                  <a:pt x="424" y="105"/>
                </a:moveTo>
                <a:cubicBezTo>
                  <a:pt x="227" y="105"/>
                  <a:pt x="66" y="265"/>
                  <a:pt x="66" y="463"/>
                </a:cubicBezTo>
                <a:cubicBezTo>
                  <a:pt x="66" y="660"/>
                  <a:pt x="227" y="821"/>
                  <a:pt x="424" y="821"/>
                </a:cubicBezTo>
                <a:cubicBezTo>
                  <a:pt x="622" y="821"/>
                  <a:pt x="782" y="660"/>
                  <a:pt x="782" y="463"/>
                </a:cubicBezTo>
                <a:cubicBezTo>
                  <a:pt x="782" y="265"/>
                  <a:pt x="622" y="105"/>
                  <a:pt x="424" y="105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74" name="Freeform 52"/>
          <p:cNvSpPr>
            <a:spLocks noEditPoints="1"/>
          </p:cNvSpPr>
          <p:nvPr/>
        </p:nvSpPr>
        <p:spPr bwMode="auto">
          <a:xfrm>
            <a:off x="6540438" y="1780680"/>
            <a:ext cx="576567" cy="594301"/>
          </a:xfrm>
          <a:custGeom>
            <a:avLst/>
            <a:gdLst>
              <a:gd name="T0" fmla="*/ 179 w 839"/>
              <a:gd name="T1" fmla="*/ 143 h 860"/>
              <a:gd name="T2" fmla="*/ 609 w 839"/>
              <a:gd name="T3" fmla="*/ 143 h 860"/>
              <a:gd name="T4" fmla="*/ 609 w 839"/>
              <a:gd name="T5" fmla="*/ 269 h 860"/>
              <a:gd name="T6" fmla="*/ 474 w 839"/>
              <a:gd name="T7" fmla="*/ 383 h 860"/>
              <a:gd name="T8" fmla="*/ 526 w 839"/>
              <a:gd name="T9" fmla="*/ 440 h 860"/>
              <a:gd name="T10" fmla="*/ 839 w 839"/>
              <a:gd name="T11" fmla="*/ 208 h 860"/>
              <a:gd name="T12" fmla="*/ 781 w 839"/>
              <a:gd name="T13" fmla="*/ 151 h 860"/>
              <a:gd name="T14" fmla="*/ 680 w 839"/>
              <a:gd name="T15" fmla="*/ 215 h 860"/>
              <a:gd name="T16" fmla="*/ 680 w 839"/>
              <a:gd name="T17" fmla="*/ 72 h 860"/>
              <a:gd name="T18" fmla="*/ 430 w 839"/>
              <a:gd name="T19" fmla="*/ 72 h 860"/>
              <a:gd name="T20" fmla="*/ 430 w 839"/>
              <a:gd name="T21" fmla="*/ 0 h 860"/>
              <a:gd name="T22" fmla="*/ 358 w 839"/>
              <a:gd name="T23" fmla="*/ 0 h 860"/>
              <a:gd name="T24" fmla="*/ 358 w 839"/>
              <a:gd name="T25" fmla="*/ 72 h 860"/>
              <a:gd name="T26" fmla="*/ 107 w 839"/>
              <a:gd name="T27" fmla="*/ 72 h 860"/>
              <a:gd name="T28" fmla="*/ 107 w 839"/>
              <a:gd name="T29" fmla="*/ 537 h 860"/>
              <a:gd name="T30" fmla="*/ 179 w 839"/>
              <a:gd name="T31" fmla="*/ 537 h 860"/>
              <a:gd name="T32" fmla="*/ 179 w 839"/>
              <a:gd name="T33" fmla="*/ 143 h 860"/>
              <a:gd name="T34" fmla="*/ 680 w 839"/>
              <a:gd name="T35" fmla="*/ 537 h 860"/>
              <a:gd name="T36" fmla="*/ 680 w 839"/>
              <a:gd name="T37" fmla="*/ 393 h 860"/>
              <a:gd name="T38" fmla="*/ 609 w 839"/>
              <a:gd name="T39" fmla="*/ 447 h 860"/>
              <a:gd name="T40" fmla="*/ 609 w 839"/>
              <a:gd name="T41" fmla="*/ 537 h 860"/>
              <a:gd name="T42" fmla="*/ 680 w 839"/>
              <a:gd name="T43" fmla="*/ 537 h 860"/>
              <a:gd name="T44" fmla="*/ 371 w 839"/>
              <a:gd name="T45" fmla="*/ 473 h 860"/>
              <a:gd name="T46" fmla="*/ 414 w 839"/>
              <a:gd name="T47" fmla="*/ 530 h 860"/>
              <a:gd name="T48" fmla="*/ 506 w 839"/>
              <a:gd name="T49" fmla="*/ 461 h 860"/>
              <a:gd name="T50" fmla="*/ 463 w 839"/>
              <a:gd name="T51" fmla="*/ 404 h 860"/>
              <a:gd name="T52" fmla="*/ 371 w 839"/>
              <a:gd name="T53" fmla="*/ 473 h 860"/>
              <a:gd name="T54" fmla="*/ 0 w 839"/>
              <a:gd name="T55" fmla="*/ 681 h 860"/>
              <a:gd name="T56" fmla="*/ 233 w 839"/>
              <a:gd name="T57" fmla="*/ 681 h 860"/>
              <a:gd name="T58" fmla="*/ 166 w 839"/>
              <a:gd name="T59" fmla="*/ 860 h 860"/>
              <a:gd name="T60" fmla="*/ 243 w 839"/>
              <a:gd name="T61" fmla="*/ 860 h 860"/>
              <a:gd name="T62" fmla="*/ 310 w 839"/>
              <a:gd name="T63" fmla="*/ 681 h 860"/>
              <a:gd name="T64" fmla="*/ 358 w 839"/>
              <a:gd name="T65" fmla="*/ 681 h 860"/>
              <a:gd name="T66" fmla="*/ 358 w 839"/>
              <a:gd name="T67" fmla="*/ 860 h 860"/>
              <a:gd name="T68" fmla="*/ 430 w 839"/>
              <a:gd name="T69" fmla="*/ 860 h 860"/>
              <a:gd name="T70" fmla="*/ 430 w 839"/>
              <a:gd name="T71" fmla="*/ 681 h 860"/>
              <a:gd name="T72" fmla="*/ 547 w 839"/>
              <a:gd name="T73" fmla="*/ 681 h 860"/>
              <a:gd name="T74" fmla="*/ 614 w 839"/>
              <a:gd name="T75" fmla="*/ 860 h 860"/>
              <a:gd name="T76" fmla="*/ 690 w 839"/>
              <a:gd name="T77" fmla="*/ 860 h 860"/>
              <a:gd name="T78" fmla="*/ 623 w 839"/>
              <a:gd name="T79" fmla="*/ 681 h 860"/>
              <a:gd name="T80" fmla="*/ 788 w 839"/>
              <a:gd name="T81" fmla="*/ 681 h 860"/>
              <a:gd name="T82" fmla="*/ 788 w 839"/>
              <a:gd name="T83" fmla="*/ 609 h 860"/>
              <a:gd name="T84" fmla="*/ 0 w 839"/>
              <a:gd name="T85" fmla="*/ 609 h 860"/>
              <a:gd name="T86" fmla="*/ 0 w 839"/>
              <a:gd name="T87" fmla="*/ 681 h 8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839" h="860">
                <a:moveTo>
                  <a:pt x="179" y="143"/>
                </a:moveTo>
                <a:lnTo>
                  <a:pt x="609" y="143"/>
                </a:lnTo>
                <a:lnTo>
                  <a:pt x="609" y="269"/>
                </a:lnTo>
                <a:lnTo>
                  <a:pt x="474" y="383"/>
                </a:lnTo>
                <a:lnTo>
                  <a:pt x="526" y="440"/>
                </a:lnTo>
                <a:lnTo>
                  <a:pt x="839" y="208"/>
                </a:lnTo>
                <a:lnTo>
                  <a:pt x="781" y="151"/>
                </a:lnTo>
                <a:lnTo>
                  <a:pt x="680" y="215"/>
                </a:lnTo>
                <a:lnTo>
                  <a:pt x="680" y="72"/>
                </a:lnTo>
                <a:lnTo>
                  <a:pt x="430" y="72"/>
                </a:lnTo>
                <a:lnTo>
                  <a:pt x="430" y="0"/>
                </a:lnTo>
                <a:lnTo>
                  <a:pt x="358" y="0"/>
                </a:lnTo>
                <a:lnTo>
                  <a:pt x="358" y="72"/>
                </a:lnTo>
                <a:lnTo>
                  <a:pt x="107" y="72"/>
                </a:lnTo>
                <a:lnTo>
                  <a:pt x="107" y="537"/>
                </a:lnTo>
                <a:lnTo>
                  <a:pt x="179" y="537"/>
                </a:lnTo>
                <a:lnTo>
                  <a:pt x="179" y="143"/>
                </a:lnTo>
                <a:close/>
                <a:moveTo>
                  <a:pt x="680" y="537"/>
                </a:moveTo>
                <a:lnTo>
                  <a:pt x="680" y="393"/>
                </a:lnTo>
                <a:lnTo>
                  <a:pt x="609" y="447"/>
                </a:lnTo>
                <a:lnTo>
                  <a:pt x="609" y="537"/>
                </a:lnTo>
                <a:lnTo>
                  <a:pt x="680" y="537"/>
                </a:lnTo>
                <a:close/>
                <a:moveTo>
                  <a:pt x="371" y="473"/>
                </a:moveTo>
                <a:lnTo>
                  <a:pt x="414" y="530"/>
                </a:lnTo>
                <a:lnTo>
                  <a:pt x="506" y="461"/>
                </a:lnTo>
                <a:lnTo>
                  <a:pt x="463" y="404"/>
                </a:lnTo>
                <a:lnTo>
                  <a:pt x="371" y="473"/>
                </a:lnTo>
                <a:close/>
                <a:moveTo>
                  <a:pt x="0" y="681"/>
                </a:moveTo>
                <a:lnTo>
                  <a:pt x="233" y="681"/>
                </a:lnTo>
                <a:lnTo>
                  <a:pt x="166" y="860"/>
                </a:lnTo>
                <a:lnTo>
                  <a:pt x="243" y="860"/>
                </a:lnTo>
                <a:lnTo>
                  <a:pt x="310" y="681"/>
                </a:lnTo>
                <a:lnTo>
                  <a:pt x="358" y="681"/>
                </a:lnTo>
                <a:lnTo>
                  <a:pt x="358" y="860"/>
                </a:lnTo>
                <a:lnTo>
                  <a:pt x="430" y="860"/>
                </a:lnTo>
                <a:lnTo>
                  <a:pt x="430" y="681"/>
                </a:lnTo>
                <a:lnTo>
                  <a:pt x="547" y="681"/>
                </a:lnTo>
                <a:lnTo>
                  <a:pt x="614" y="860"/>
                </a:lnTo>
                <a:lnTo>
                  <a:pt x="690" y="860"/>
                </a:lnTo>
                <a:lnTo>
                  <a:pt x="623" y="681"/>
                </a:lnTo>
                <a:lnTo>
                  <a:pt x="788" y="681"/>
                </a:lnTo>
                <a:lnTo>
                  <a:pt x="788" y="609"/>
                </a:lnTo>
                <a:lnTo>
                  <a:pt x="0" y="609"/>
                </a:lnTo>
                <a:lnTo>
                  <a:pt x="0" y="68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76" name="Freeform 54"/>
          <p:cNvSpPr>
            <a:spLocks noEditPoints="1"/>
          </p:cNvSpPr>
          <p:nvPr/>
        </p:nvSpPr>
        <p:spPr bwMode="auto">
          <a:xfrm>
            <a:off x="2108074" y="3005710"/>
            <a:ext cx="588580" cy="591300"/>
          </a:xfrm>
          <a:custGeom>
            <a:avLst/>
            <a:gdLst>
              <a:gd name="T0" fmla="*/ 358 w 860"/>
              <a:gd name="T1" fmla="*/ 322 h 859"/>
              <a:gd name="T2" fmla="*/ 358 w 860"/>
              <a:gd name="T3" fmla="*/ 250 h 859"/>
              <a:gd name="T4" fmla="*/ 287 w 860"/>
              <a:gd name="T5" fmla="*/ 250 h 859"/>
              <a:gd name="T6" fmla="*/ 287 w 860"/>
              <a:gd name="T7" fmla="*/ 322 h 859"/>
              <a:gd name="T8" fmla="*/ 358 w 860"/>
              <a:gd name="T9" fmla="*/ 322 h 859"/>
              <a:gd name="T10" fmla="*/ 215 w 860"/>
              <a:gd name="T11" fmla="*/ 394 h 859"/>
              <a:gd name="T12" fmla="*/ 144 w 860"/>
              <a:gd name="T13" fmla="*/ 394 h 859"/>
              <a:gd name="T14" fmla="*/ 144 w 860"/>
              <a:gd name="T15" fmla="*/ 465 h 859"/>
              <a:gd name="T16" fmla="*/ 215 w 860"/>
              <a:gd name="T17" fmla="*/ 465 h 859"/>
              <a:gd name="T18" fmla="*/ 215 w 860"/>
              <a:gd name="T19" fmla="*/ 394 h 859"/>
              <a:gd name="T20" fmla="*/ 251 w 860"/>
              <a:gd name="T21" fmla="*/ 143 h 859"/>
              <a:gd name="T22" fmla="*/ 394 w 860"/>
              <a:gd name="T23" fmla="*/ 143 h 859"/>
              <a:gd name="T24" fmla="*/ 394 w 860"/>
              <a:gd name="T25" fmla="*/ 71 h 859"/>
              <a:gd name="T26" fmla="*/ 251 w 860"/>
              <a:gd name="T27" fmla="*/ 71 h 859"/>
              <a:gd name="T28" fmla="*/ 251 w 860"/>
              <a:gd name="T29" fmla="*/ 0 h 859"/>
              <a:gd name="T30" fmla="*/ 179 w 860"/>
              <a:gd name="T31" fmla="*/ 0 h 859"/>
              <a:gd name="T32" fmla="*/ 179 w 860"/>
              <a:gd name="T33" fmla="*/ 179 h 859"/>
              <a:gd name="T34" fmla="*/ 251 w 860"/>
              <a:gd name="T35" fmla="*/ 179 h 859"/>
              <a:gd name="T36" fmla="*/ 251 w 860"/>
              <a:gd name="T37" fmla="*/ 143 h 859"/>
              <a:gd name="T38" fmla="*/ 215 w 860"/>
              <a:gd name="T39" fmla="*/ 250 h 859"/>
              <a:gd name="T40" fmla="*/ 144 w 860"/>
              <a:gd name="T41" fmla="*/ 250 h 859"/>
              <a:gd name="T42" fmla="*/ 144 w 860"/>
              <a:gd name="T43" fmla="*/ 322 h 859"/>
              <a:gd name="T44" fmla="*/ 215 w 860"/>
              <a:gd name="T45" fmla="*/ 322 h 859"/>
              <a:gd name="T46" fmla="*/ 215 w 860"/>
              <a:gd name="T47" fmla="*/ 250 h 859"/>
              <a:gd name="T48" fmla="*/ 609 w 860"/>
              <a:gd name="T49" fmla="*/ 429 h 859"/>
              <a:gd name="T50" fmla="*/ 537 w 860"/>
              <a:gd name="T51" fmla="*/ 429 h 859"/>
              <a:gd name="T52" fmla="*/ 537 w 860"/>
              <a:gd name="T53" fmla="*/ 588 h 859"/>
              <a:gd name="T54" fmla="*/ 620 w 860"/>
              <a:gd name="T55" fmla="*/ 670 h 859"/>
              <a:gd name="T56" fmla="*/ 670 w 860"/>
              <a:gd name="T57" fmla="*/ 619 h 859"/>
              <a:gd name="T58" fmla="*/ 609 w 860"/>
              <a:gd name="T59" fmla="*/ 558 h 859"/>
              <a:gd name="T60" fmla="*/ 609 w 860"/>
              <a:gd name="T61" fmla="*/ 429 h 859"/>
              <a:gd name="T62" fmla="*/ 573 w 860"/>
              <a:gd name="T63" fmla="*/ 788 h 859"/>
              <a:gd name="T64" fmla="*/ 358 w 860"/>
              <a:gd name="T65" fmla="*/ 573 h 859"/>
              <a:gd name="T66" fmla="*/ 573 w 860"/>
              <a:gd name="T67" fmla="*/ 358 h 859"/>
              <a:gd name="T68" fmla="*/ 788 w 860"/>
              <a:gd name="T69" fmla="*/ 573 h 859"/>
              <a:gd name="T70" fmla="*/ 573 w 860"/>
              <a:gd name="T71" fmla="*/ 788 h 859"/>
              <a:gd name="T72" fmla="*/ 712 w 860"/>
              <a:gd name="T73" fmla="*/ 322 h 859"/>
              <a:gd name="T74" fmla="*/ 716 w 860"/>
              <a:gd name="T75" fmla="*/ 322 h 859"/>
              <a:gd name="T76" fmla="*/ 716 w 860"/>
              <a:gd name="T77" fmla="*/ 71 h 859"/>
              <a:gd name="T78" fmla="*/ 537 w 860"/>
              <a:gd name="T79" fmla="*/ 71 h 859"/>
              <a:gd name="T80" fmla="*/ 537 w 860"/>
              <a:gd name="T81" fmla="*/ 0 h 859"/>
              <a:gd name="T82" fmla="*/ 466 w 860"/>
              <a:gd name="T83" fmla="*/ 0 h 859"/>
              <a:gd name="T84" fmla="*/ 466 w 860"/>
              <a:gd name="T85" fmla="*/ 179 h 859"/>
              <a:gd name="T86" fmla="*/ 537 w 860"/>
              <a:gd name="T87" fmla="*/ 179 h 859"/>
              <a:gd name="T88" fmla="*/ 537 w 860"/>
              <a:gd name="T89" fmla="*/ 143 h 859"/>
              <a:gd name="T90" fmla="*/ 645 w 860"/>
              <a:gd name="T91" fmla="*/ 143 h 859"/>
              <a:gd name="T92" fmla="*/ 645 w 860"/>
              <a:gd name="T93" fmla="*/ 296 h 859"/>
              <a:gd name="T94" fmla="*/ 573 w 860"/>
              <a:gd name="T95" fmla="*/ 286 h 859"/>
              <a:gd name="T96" fmla="*/ 289 w 860"/>
              <a:gd name="T97" fmla="*/ 537 h 859"/>
              <a:gd name="T98" fmla="*/ 72 w 860"/>
              <a:gd name="T99" fmla="*/ 537 h 859"/>
              <a:gd name="T100" fmla="*/ 72 w 860"/>
              <a:gd name="T101" fmla="*/ 143 h 859"/>
              <a:gd name="T102" fmla="*/ 108 w 860"/>
              <a:gd name="T103" fmla="*/ 143 h 859"/>
              <a:gd name="T104" fmla="*/ 108 w 860"/>
              <a:gd name="T105" fmla="*/ 71 h 859"/>
              <a:gd name="T106" fmla="*/ 0 w 860"/>
              <a:gd name="T107" fmla="*/ 71 h 859"/>
              <a:gd name="T108" fmla="*/ 0 w 860"/>
              <a:gd name="T109" fmla="*/ 609 h 859"/>
              <a:gd name="T110" fmla="*/ 289 w 860"/>
              <a:gd name="T111" fmla="*/ 609 h 859"/>
              <a:gd name="T112" fmla="*/ 573 w 860"/>
              <a:gd name="T113" fmla="*/ 859 h 859"/>
              <a:gd name="T114" fmla="*/ 860 w 860"/>
              <a:gd name="T115" fmla="*/ 573 h 859"/>
              <a:gd name="T116" fmla="*/ 712 w 860"/>
              <a:gd name="T117" fmla="*/ 322 h 8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860" h="859">
                <a:moveTo>
                  <a:pt x="358" y="322"/>
                </a:moveTo>
                <a:lnTo>
                  <a:pt x="358" y="250"/>
                </a:lnTo>
                <a:lnTo>
                  <a:pt x="287" y="250"/>
                </a:lnTo>
                <a:lnTo>
                  <a:pt x="287" y="322"/>
                </a:lnTo>
                <a:lnTo>
                  <a:pt x="358" y="322"/>
                </a:lnTo>
                <a:close/>
                <a:moveTo>
                  <a:pt x="215" y="394"/>
                </a:moveTo>
                <a:lnTo>
                  <a:pt x="144" y="394"/>
                </a:lnTo>
                <a:lnTo>
                  <a:pt x="144" y="465"/>
                </a:lnTo>
                <a:lnTo>
                  <a:pt x="215" y="465"/>
                </a:lnTo>
                <a:lnTo>
                  <a:pt x="215" y="394"/>
                </a:lnTo>
                <a:close/>
                <a:moveTo>
                  <a:pt x="251" y="143"/>
                </a:moveTo>
                <a:lnTo>
                  <a:pt x="394" y="143"/>
                </a:lnTo>
                <a:lnTo>
                  <a:pt x="394" y="71"/>
                </a:lnTo>
                <a:lnTo>
                  <a:pt x="251" y="71"/>
                </a:lnTo>
                <a:lnTo>
                  <a:pt x="251" y="0"/>
                </a:lnTo>
                <a:lnTo>
                  <a:pt x="179" y="0"/>
                </a:lnTo>
                <a:lnTo>
                  <a:pt x="179" y="179"/>
                </a:lnTo>
                <a:lnTo>
                  <a:pt x="251" y="179"/>
                </a:lnTo>
                <a:lnTo>
                  <a:pt x="251" y="143"/>
                </a:lnTo>
                <a:close/>
                <a:moveTo>
                  <a:pt x="215" y="250"/>
                </a:moveTo>
                <a:lnTo>
                  <a:pt x="144" y="250"/>
                </a:lnTo>
                <a:lnTo>
                  <a:pt x="144" y="322"/>
                </a:lnTo>
                <a:lnTo>
                  <a:pt x="215" y="322"/>
                </a:lnTo>
                <a:lnTo>
                  <a:pt x="215" y="250"/>
                </a:lnTo>
                <a:close/>
                <a:moveTo>
                  <a:pt x="609" y="429"/>
                </a:moveTo>
                <a:lnTo>
                  <a:pt x="537" y="429"/>
                </a:lnTo>
                <a:lnTo>
                  <a:pt x="537" y="588"/>
                </a:lnTo>
                <a:lnTo>
                  <a:pt x="620" y="670"/>
                </a:lnTo>
                <a:lnTo>
                  <a:pt x="670" y="619"/>
                </a:lnTo>
                <a:lnTo>
                  <a:pt x="609" y="558"/>
                </a:lnTo>
                <a:lnTo>
                  <a:pt x="609" y="429"/>
                </a:lnTo>
                <a:close/>
                <a:moveTo>
                  <a:pt x="573" y="788"/>
                </a:moveTo>
                <a:cubicBezTo>
                  <a:pt x="455" y="788"/>
                  <a:pt x="358" y="691"/>
                  <a:pt x="358" y="573"/>
                </a:cubicBezTo>
                <a:cubicBezTo>
                  <a:pt x="358" y="454"/>
                  <a:pt x="455" y="358"/>
                  <a:pt x="573" y="358"/>
                </a:cubicBezTo>
                <a:cubicBezTo>
                  <a:pt x="692" y="358"/>
                  <a:pt x="788" y="454"/>
                  <a:pt x="788" y="573"/>
                </a:cubicBezTo>
                <a:cubicBezTo>
                  <a:pt x="788" y="691"/>
                  <a:pt x="692" y="788"/>
                  <a:pt x="573" y="788"/>
                </a:cubicBezTo>
                <a:close/>
                <a:moveTo>
                  <a:pt x="712" y="322"/>
                </a:moveTo>
                <a:lnTo>
                  <a:pt x="716" y="322"/>
                </a:lnTo>
                <a:lnTo>
                  <a:pt x="716" y="71"/>
                </a:lnTo>
                <a:lnTo>
                  <a:pt x="537" y="71"/>
                </a:lnTo>
                <a:lnTo>
                  <a:pt x="537" y="0"/>
                </a:lnTo>
                <a:lnTo>
                  <a:pt x="466" y="0"/>
                </a:lnTo>
                <a:lnTo>
                  <a:pt x="466" y="179"/>
                </a:lnTo>
                <a:lnTo>
                  <a:pt x="537" y="179"/>
                </a:lnTo>
                <a:lnTo>
                  <a:pt x="537" y="143"/>
                </a:lnTo>
                <a:lnTo>
                  <a:pt x="645" y="143"/>
                </a:lnTo>
                <a:lnTo>
                  <a:pt x="645" y="296"/>
                </a:lnTo>
                <a:cubicBezTo>
                  <a:pt x="609" y="290"/>
                  <a:pt x="598" y="286"/>
                  <a:pt x="573" y="286"/>
                </a:cubicBezTo>
                <a:cubicBezTo>
                  <a:pt x="427" y="286"/>
                  <a:pt x="307" y="394"/>
                  <a:pt x="289" y="537"/>
                </a:cubicBezTo>
                <a:lnTo>
                  <a:pt x="72" y="537"/>
                </a:lnTo>
                <a:lnTo>
                  <a:pt x="72" y="143"/>
                </a:lnTo>
                <a:lnTo>
                  <a:pt x="108" y="143"/>
                </a:lnTo>
                <a:lnTo>
                  <a:pt x="108" y="71"/>
                </a:lnTo>
                <a:lnTo>
                  <a:pt x="0" y="71"/>
                </a:lnTo>
                <a:lnTo>
                  <a:pt x="0" y="609"/>
                </a:lnTo>
                <a:lnTo>
                  <a:pt x="289" y="609"/>
                </a:lnTo>
                <a:cubicBezTo>
                  <a:pt x="307" y="752"/>
                  <a:pt x="427" y="859"/>
                  <a:pt x="573" y="859"/>
                </a:cubicBezTo>
                <a:cubicBezTo>
                  <a:pt x="731" y="859"/>
                  <a:pt x="860" y="731"/>
                  <a:pt x="860" y="573"/>
                </a:cubicBezTo>
                <a:cubicBezTo>
                  <a:pt x="860" y="465"/>
                  <a:pt x="800" y="358"/>
                  <a:pt x="712" y="322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grpSp>
        <p:nvGrpSpPr>
          <p:cNvPr id="95" name="Группа 94"/>
          <p:cNvGrpSpPr/>
          <p:nvPr/>
        </p:nvGrpSpPr>
        <p:grpSpPr>
          <a:xfrm>
            <a:off x="8041917" y="469017"/>
            <a:ext cx="2017985" cy="702356"/>
            <a:chOff x="6031437" y="443121"/>
            <a:chExt cx="1513489" cy="526767"/>
          </a:xfrm>
        </p:grpSpPr>
        <p:sp>
          <p:nvSpPr>
            <p:cNvPr id="78" name="Freeform 56"/>
            <p:cNvSpPr>
              <a:spLocks/>
            </p:cNvSpPr>
            <p:nvPr/>
          </p:nvSpPr>
          <p:spPr bwMode="auto">
            <a:xfrm>
              <a:off x="6038192" y="692998"/>
              <a:ext cx="576569" cy="31516"/>
            </a:xfrm>
            <a:custGeom>
              <a:avLst/>
              <a:gdLst>
                <a:gd name="T0" fmla="*/ 1111 w 1116"/>
                <a:gd name="T1" fmla="*/ 0 h 60"/>
                <a:gd name="T2" fmla="*/ 0 w 1116"/>
                <a:gd name="T3" fmla="*/ 0 h 60"/>
                <a:gd name="T4" fmla="*/ 0 w 1116"/>
                <a:gd name="T5" fmla="*/ 60 h 60"/>
                <a:gd name="T6" fmla="*/ 1116 w 1116"/>
                <a:gd name="T7" fmla="*/ 60 h 60"/>
                <a:gd name="T8" fmla="*/ 1111 w 1116"/>
                <a:gd name="T9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16" h="60">
                  <a:moveTo>
                    <a:pt x="1111" y="0"/>
                  </a:moveTo>
                  <a:lnTo>
                    <a:pt x="0" y="0"/>
                  </a:lnTo>
                  <a:lnTo>
                    <a:pt x="0" y="60"/>
                  </a:lnTo>
                  <a:lnTo>
                    <a:pt x="1116" y="60"/>
                  </a:lnTo>
                  <a:lnTo>
                    <a:pt x="111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79" name="Freeform 57"/>
            <p:cNvSpPr>
              <a:spLocks/>
            </p:cNvSpPr>
            <p:nvPr/>
          </p:nvSpPr>
          <p:spPr bwMode="auto">
            <a:xfrm>
              <a:off x="6963853" y="692998"/>
              <a:ext cx="574315" cy="31516"/>
            </a:xfrm>
            <a:custGeom>
              <a:avLst/>
              <a:gdLst>
                <a:gd name="T0" fmla="*/ 1116 w 1116"/>
                <a:gd name="T1" fmla="*/ 0 h 60"/>
                <a:gd name="T2" fmla="*/ 5 w 1116"/>
                <a:gd name="T3" fmla="*/ 0 h 60"/>
                <a:gd name="T4" fmla="*/ 0 w 1116"/>
                <a:gd name="T5" fmla="*/ 60 h 60"/>
                <a:gd name="T6" fmla="*/ 1116 w 1116"/>
                <a:gd name="T7" fmla="*/ 60 h 60"/>
                <a:gd name="T8" fmla="*/ 1116 w 1116"/>
                <a:gd name="T9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16" h="60">
                  <a:moveTo>
                    <a:pt x="1116" y="0"/>
                  </a:moveTo>
                  <a:lnTo>
                    <a:pt x="5" y="0"/>
                  </a:lnTo>
                  <a:lnTo>
                    <a:pt x="0" y="60"/>
                  </a:lnTo>
                  <a:lnTo>
                    <a:pt x="1116" y="60"/>
                  </a:lnTo>
                  <a:lnTo>
                    <a:pt x="111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80" name="Freeform 58"/>
            <p:cNvSpPr>
              <a:spLocks/>
            </p:cNvSpPr>
            <p:nvPr/>
          </p:nvSpPr>
          <p:spPr bwMode="auto">
            <a:xfrm>
              <a:off x="6031437" y="812309"/>
              <a:ext cx="132880" cy="123812"/>
            </a:xfrm>
            <a:custGeom>
              <a:avLst/>
              <a:gdLst>
                <a:gd name="T0" fmla="*/ 0 w 258"/>
                <a:gd name="T1" fmla="*/ 10 h 239"/>
                <a:gd name="T2" fmla="*/ 33 w 258"/>
                <a:gd name="T3" fmla="*/ 19 h 239"/>
                <a:gd name="T4" fmla="*/ 33 w 258"/>
                <a:gd name="T5" fmla="*/ 216 h 239"/>
                <a:gd name="T6" fmla="*/ 0 w 258"/>
                <a:gd name="T7" fmla="*/ 225 h 239"/>
                <a:gd name="T8" fmla="*/ 0 w 258"/>
                <a:gd name="T9" fmla="*/ 239 h 239"/>
                <a:gd name="T10" fmla="*/ 112 w 258"/>
                <a:gd name="T11" fmla="*/ 239 h 239"/>
                <a:gd name="T12" fmla="*/ 112 w 258"/>
                <a:gd name="T13" fmla="*/ 225 h 239"/>
                <a:gd name="T14" fmla="*/ 80 w 258"/>
                <a:gd name="T15" fmla="*/ 216 h 239"/>
                <a:gd name="T16" fmla="*/ 80 w 258"/>
                <a:gd name="T17" fmla="*/ 24 h 239"/>
                <a:gd name="T18" fmla="*/ 173 w 258"/>
                <a:gd name="T19" fmla="*/ 24 h 239"/>
                <a:gd name="T20" fmla="*/ 173 w 258"/>
                <a:gd name="T21" fmla="*/ 216 h 239"/>
                <a:gd name="T22" fmla="*/ 145 w 258"/>
                <a:gd name="T23" fmla="*/ 225 h 239"/>
                <a:gd name="T24" fmla="*/ 145 w 258"/>
                <a:gd name="T25" fmla="*/ 239 h 239"/>
                <a:gd name="T26" fmla="*/ 258 w 258"/>
                <a:gd name="T27" fmla="*/ 239 h 239"/>
                <a:gd name="T28" fmla="*/ 258 w 258"/>
                <a:gd name="T29" fmla="*/ 225 h 239"/>
                <a:gd name="T30" fmla="*/ 225 w 258"/>
                <a:gd name="T31" fmla="*/ 216 h 239"/>
                <a:gd name="T32" fmla="*/ 225 w 258"/>
                <a:gd name="T33" fmla="*/ 19 h 239"/>
                <a:gd name="T34" fmla="*/ 258 w 258"/>
                <a:gd name="T35" fmla="*/ 10 h 239"/>
                <a:gd name="T36" fmla="*/ 258 w 258"/>
                <a:gd name="T37" fmla="*/ 0 h 239"/>
                <a:gd name="T38" fmla="*/ 0 w 258"/>
                <a:gd name="T39" fmla="*/ 0 h 239"/>
                <a:gd name="T40" fmla="*/ 0 w 258"/>
                <a:gd name="T41" fmla="*/ 10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58" h="239">
                  <a:moveTo>
                    <a:pt x="0" y="10"/>
                  </a:moveTo>
                  <a:lnTo>
                    <a:pt x="33" y="19"/>
                  </a:lnTo>
                  <a:lnTo>
                    <a:pt x="33" y="216"/>
                  </a:lnTo>
                  <a:lnTo>
                    <a:pt x="0" y="225"/>
                  </a:lnTo>
                  <a:lnTo>
                    <a:pt x="0" y="239"/>
                  </a:lnTo>
                  <a:lnTo>
                    <a:pt x="112" y="239"/>
                  </a:lnTo>
                  <a:lnTo>
                    <a:pt x="112" y="225"/>
                  </a:lnTo>
                  <a:lnTo>
                    <a:pt x="80" y="216"/>
                  </a:lnTo>
                  <a:lnTo>
                    <a:pt x="80" y="24"/>
                  </a:lnTo>
                  <a:lnTo>
                    <a:pt x="173" y="24"/>
                  </a:lnTo>
                  <a:lnTo>
                    <a:pt x="173" y="216"/>
                  </a:lnTo>
                  <a:lnTo>
                    <a:pt x="145" y="225"/>
                  </a:lnTo>
                  <a:lnTo>
                    <a:pt x="145" y="239"/>
                  </a:lnTo>
                  <a:lnTo>
                    <a:pt x="258" y="239"/>
                  </a:lnTo>
                  <a:lnTo>
                    <a:pt x="258" y="225"/>
                  </a:lnTo>
                  <a:lnTo>
                    <a:pt x="225" y="216"/>
                  </a:lnTo>
                  <a:lnTo>
                    <a:pt x="225" y="19"/>
                  </a:lnTo>
                  <a:lnTo>
                    <a:pt x="258" y="10"/>
                  </a:lnTo>
                  <a:lnTo>
                    <a:pt x="258" y="0"/>
                  </a:lnTo>
                  <a:lnTo>
                    <a:pt x="0" y="0"/>
                  </a:lnTo>
                  <a:lnTo>
                    <a:pt x="0" y="1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81" name="Freeform 59"/>
            <p:cNvSpPr>
              <a:spLocks noEditPoints="1"/>
            </p:cNvSpPr>
            <p:nvPr/>
          </p:nvSpPr>
          <p:spPr bwMode="auto">
            <a:xfrm>
              <a:off x="6189091" y="812309"/>
              <a:ext cx="90089" cy="123812"/>
            </a:xfrm>
            <a:custGeom>
              <a:avLst/>
              <a:gdLst>
                <a:gd name="T0" fmla="*/ 108 w 173"/>
                <a:gd name="T1" fmla="*/ 0 h 239"/>
                <a:gd name="T2" fmla="*/ 98 w 173"/>
                <a:gd name="T3" fmla="*/ 0 h 239"/>
                <a:gd name="T4" fmla="*/ 0 w 173"/>
                <a:gd name="T5" fmla="*/ 0 h 239"/>
                <a:gd name="T6" fmla="*/ 0 w 173"/>
                <a:gd name="T7" fmla="*/ 10 h 239"/>
                <a:gd name="T8" fmla="*/ 28 w 173"/>
                <a:gd name="T9" fmla="*/ 19 h 239"/>
                <a:gd name="T10" fmla="*/ 28 w 173"/>
                <a:gd name="T11" fmla="*/ 216 h 239"/>
                <a:gd name="T12" fmla="*/ 0 w 173"/>
                <a:gd name="T13" fmla="*/ 225 h 239"/>
                <a:gd name="T14" fmla="*/ 0 w 173"/>
                <a:gd name="T15" fmla="*/ 239 h 239"/>
                <a:gd name="T16" fmla="*/ 98 w 173"/>
                <a:gd name="T17" fmla="*/ 239 h 239"/>
                <a:gd name="T18" fmla="*/ 112 w 173"/>
                <a:gd name="T19" fmla="*/ 239 h 239"/>
                <a:gd name="T20" fmla="*/ 112 w 173"/>
                <a:gd name="T21" fmla="*/ 225 h 239"/>
                <a:gd name="T22" fmla="*/ 98 w 173"/>
                <a:gd name="T23" fmla="*/ 221 h 239"/>
                <a:gd name="T24" fmla="*/ 70 w 173"/>
                <a:gd name="T25" fmla="*/ 216 h 239"/>
                <a:gd name="T26" fmla="*/ 70 w 173"/>
                <a:gd name="T27" fmla="*/ 136 h 239"/>
                <a:gd name="T28" fmla="*/ 89 w 173"/>
                <a:gd name="T29" fmla="*/ 136 h 239"/>
                <a:gd name="T30" fmla="*/ 98 w 173"/>
                <a:gd name="T31" fmla="*/ 136 h 239"/>
                <a:gd name="T32" fmla="*/ 131 w 173"/>
                <a:gd name="T33" fmla="*/ 132 h 239"/>
                <a:gd name="T34" fmla="*/ 154 w 173"/>
                <a:gd name="T35" fmla="*/ 117 h 239"/>
                <a:gd name="T36" fmla="*/ 169 w 173"/>
                <a:gd name="T37" fmla="*/ 94 h 239"/>
                <a:gd name="T38" fmla="*/ 173 w 173"/>
                <a:gd name="T39" fmla="*/ 61 h 239"/>
                <a:gd name="T40" fmla="*/ 164 w 173"/>
                <a:gd name="T41" fmla="*/ 33 h 239"/>
                <a:gd name="T42" fmla="*/ 154 w 173"/>
                <a:gd name="T43" fmla="*/ 14 h 239"/>
                <a:gd name="T44" fmla="*/ 131 w 173"/>
                <a:gd name="T45" fmla="*/ 0 h 239"/>
                <a:gd name="T46" fmla="*/ 108 w 173"/>
                <a:gd name="T47" fmla="*/ 0 h 239"/>
                <a:gd name="T48" fmla="*/ 98 w 173"/>
                <a:gd name="T49" fmla="*/ 122 h 239"/>
                <a:gd name="T50" fmla="*/ 98 w 173"/>
                <a:gd name="T51" fmla="*/ 122 h 239"/>
                <a:gd name="T52" fmla="*/ 84 w 173"/>
                <a:gd name="T53" fmla="*/ 122 h 239"/>
                <a:gd name="T54" fmla="*/ 70 w 173"/>
                <a:gd name="T55" fmla="*/ 122 h 239"/>
                <a:gd name="T56" fmla="*/ 70 w 173"/>
                <a:gd name="T57" fmla="*/ 14 h 239"/>
                <a:gd name="T58" fmla="*/ 84 w 173"/>
                <a:gd name="T59" fmla="*/ 14 h 239"/>
                <a:gd name="T60" fmla="*/ 89 w 173"/>
                <a:gd name="T61" fmla="*/ 14 h 239"/>
                <a:gd name="T62" fmla="*/ 98 w 173"/>
                <a:gd name="T63" fmla="*/ 19 h 239"/>
                <a:gd name="T64" fmla="*/ 108 w 173"/>
                <a:gd name="T65" fmla="*/ 24 h 239"/>
                <a:gd name="T66" fmla="*/ 117 w 173"/>
                <a:gd name="T67" fmla="*/ 33 h 239"/>
                <a:gd name="T68" fmla="*/ 122 w 173"/>
                <a:gd name="T69" fmla="*/ 47 h 239"/>
                <a:gd name="T70" fmla="*/ 126 w 173"/>
                <a:gd name="T71" fmla="*/ 71 h 239"/>
                <a:gd name="T72" fmla="*/ 122 w 173"/>
                <a:gd name="T73" fmla="*/ 103 h 239"/>
                <a:gd name="T74" fmla="*/ 112 w 173"/>
                <a:gd name="T75" fmla="*/ 113 h 239"/>
                <a:gd name="T76" fmla="*/ 98 w 173"/>
                <a:gd name="T77" fmla="*/ 122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73" h="239">
                  <a:moveTo>
                    <a:pt x="108" y="0"/>
                  </a:moveTo>
                  <a:lnTo>
                    <a:pt x="98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28" y="19"/>
                  </a:lnTo>
                  <a:lnTo>
                    <a:pt x="28" y="216"/>
                  </a:lnTo>
                  <a:lnTo>
                    <a:pt x="0" y="225"/>
                  </a:lnTo>
                  <a:lnTo>
                    <a:pt x="0" y="239"/>
                  </a:lnTo>
                  <a:lnTo>
                    <a:pt x="98" y="239"/>
                  </a:lnTo>
                  <a:lnTo>
                    <a:pt x="112" y="239"/>
                  </a:lnTo>
                  <a:lnTo>
                    <a:pt x="112" y="225"/>
                  </a:lnTo>
                  <a:lnTo>
                    <a:pt x="98" y="221"/>
                  </a:lnTo>
                  <a:lnTo>
                    <a:pt x="70" y="216"/>
                  </a:lnTo>
                  <a:lnTo>
                    <a:pt x="70" y="136"/>
                  </a:lnTo>
                  <a:lnTo>
                    <a:pt x="89" y="136"/>
                  </a:lnTo>
                  <a:lnTo>
                    <a:pt x="98" y="136"/>
                  </a:lnTo>
                  <a:lnTo>
                    <a:pt x="131" y="132"/>
                  </a:lnTo>
                  <a:lnTo>
                    <a:pt x="154" y="117"/>
                  </a:lnTo>
                  <a:lnTo>
                    <a:pt x="169" y="94"/>
                  </a:lnTo>
                  <a:lnTo>
                    <a:pt x="173" y="61"/>
                  </a:lnTo>
                  <a:lnTo>
                    <a:pt x="164" y="33"/>
                  </a:lnTo>
                  <a:lnTo>
                    <a:pt x="154" y="14"/>
                  </a:lnTo>
                  <a:lnTo>
                    <a:pt x="131" y="0"/>
                  </a:lnTo>
                  <a:lnTo>
                    <a:pt x="108" y="0"/>
                  </a:lnTo>
                  <a:close/>
                  <a:moveTo>
                    <a:pt x="98" y="122"/>
                  </a:moveTo>
                  <a:lnTo>
                    <a:pt x="98" y="122"/>
                  </a:lnTo>
                  <a:lnTo>
                    <a:pt x="84" y="122"/>
                  </a:lnTo>
                  <a:lnTo>
                    <a:pt x="70" y="122"/>
                  </a:lnTo>
                  <a:lnTo>
                    <a:pt x="70" y="14"/>
                  </a:lnTo>
                  <a:lnTo>
                    <a:pt x="84" y="14"/>
                  </a:lnTo>
                  <a:lnTo>
                    <a:pt x="89" y="14"/>
                  </a:lnTo>
                  <a:lnTo>
                    <a:pt x="98" y="19"/>
                  </a:lnTo>
                  <a:lnTo>
                    <a:pt x="108" y="24"/>
                  </a:lnTo>
                  <a:lnTo>
                    <a:pt x="117" y="33"/>
                  </a:lnTo>
                  <a:lnTo>
                    <a:pt x="122" y="47"/>
                  </a:lnTo>
                  <a:lnTo>
                    <a:pt x="126" y="71"/>
                  </a:lnTo>
                  <a:lnTo>
                    <a:pt x="122" y="103"/>
                  </a:lnTo>
                  <a:lnTo>
                    <a:pt x="112" y="113"/>
                  </a:lnTo>
                  <a:lnTo>
                    <a:pt x="98" y="12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82" name="Freeform 60"/>
            <p:cNvSpPr>
              <a:spLocks noEditPoints="1"/>
            </p:cNvSpPr>
            <p:nvPr/>
          </p:nvSpPr>
          <p:spPr bwMode="auto">
            <a:xfrm>
              <a:off x="6301702" y="810057"/>
              <a:ext cx="121619" cy="126063"/>
            </a:xfrm>
            <a:custGeom>
              <a:avLst/>
              <a:gdLst>
                <a:gd name="T0" fmla="*/ 117 w 235"/>
                <a:gd name="T1" fmla="*/ 0 h 243"/>
                <a:gd name="T2" fmla="*/ 113 w 235"/>
                <a:gd name="T3" fmla="*/ 0 h 243"/>
                <a:gd name="T4" fmla="*/ 66 w 235"/>
                <a:gd name="T5" fmla="*/ 4 h 243"/>
                <a:gd name="T6" fmla="*/ 28 w 235"/>
                <a:gd name="T7" fmla="*/ 28 h 243"/>
                <a:gd name="T8" fmla="*/ 5 w 235"/>
                <a:gd name="T9" fmla="*/ 65 h 243"/>
                <a:gd name="T10" fmla="*/ 0 w 235"/>
                <a:gd name="T11" fmla="*/ 117 h 243"/>
                <a:gd name="T12" fmla="*/ 5 w 235"/>
                <a:gd name="T13" fmla="*/ 173 h 243"/>
                <a:gd name="T14" fmla="*/ 28 w 235"/>
                <a:gd name="T15" fmla="*/ 211 h 243"/>
                <a:gd name="T16" fmla="*/ 66 w 235"/>
                <a:gd name="T17" fmla="*/ 234 h 243"/>
                <a:gd name="T18" fmla="*/ 113 w 235"/>
                <a:gd name="T19" fmla="*/ 243 h 243"/>
                <a:gd name="T20" fmla="*/ 117 w 235"/>
                <a:gd name="T21" fmla="*/ 243 h 243"/>
                <a:gd name="T22" fmla="*/ 164 w 235"/>
                <a:gd name="T23" fmla="*/ 234 h 243"/>
                <a:gd name="T24" fmla="*/ 202 w 235"/>
                <a:gd name="T25" fmla="*/ 211 h 243"/>
                <a:gd name="T26" fmla="*/ 225 w 235"/>
                <a:gd name="T27" fmla="*/ 173 h 243"/>
                <a:gd name="T28" fmla="*/ 235 w 235"/>
                <a:gd name="T29" fmla="*/ 117 h 243"/>
                <a:gd name="T30" fmla="*/ 225 w 235"/>
                <a:gd name="T31" fmla="*/ 65 h 243"/>
                <a:gd name="T32" fmla="*/ 202 w 235"/>
                <a:gd name="T33" fmla="*/ 28 h 243"/>
                <a:gd name="T34" fmla="*/ 164 w 235"/>
                <a:gd name="T35" fmla="*/ 4 h 243"/>
                <a:gd name="T36" fmla="*/ 117 w 235"/>
                <a:gd name="T37" fmla="*/ 0 h 243"/>
                <a:gd name="T38" fmla="*/ 117 w 235"/>
                <a:gd name="T39" fmla="*/ 229 h 243"/>
                <a:gd name="T40" fmla="*/ 117 w 235"/>
                <a:gd name="T41" fmla="*/ 229 h 243"/>
                <a:gd name="T42" fmla="*/ 113 w 235"/>
                <a:gd name="T43" fmla="*/ 229 h 243"/>
                <a:gd name="T44" fmla="*/ 89 w 235"/>
                <a:gd name="T45" fmla="*/ 220 h 243"/>
                <a:gd name="T46" fmla="*/ 70 w 235"/>
                <a:gd name="T47" fmla="*/ 201 h 243"/>
                <a:gd name="T48" fmla="*/ 56 w 235"/>
                <a:gd name="T49" fmla="*/ 164 h 243"/>
                <a:gd name="T50" fmla="*/ 52 w 235"/>
                <a:gd name="T51" fmla="*/ 140 h 243"/>
                <a:gd name="T52" fmla="*/ 52 w 235"/>
                <a:gd name="T53" fmla="*/ 112 h 243"/>
                <a:gd name="T54" fmla="*/ 56 w 235"/>
                <a:gd name="T55" fmla="*/ 65 h 243"/>
                <a:gd name="T56" fmla="*/ 70 w 235"/>
                <a:gd name="T57" fmla="*/ 37 h 243"/>
                <a:gd name="T58" fmla="*/ 89 w 235"/>
                <a:gd name="T59" fmla="*/ 18 h 243"/>
                <a:gd name="T60" fmla="*/ 113 w 235"/>
                <a:gd name="T61" fmla="*/ 9 h 243"/>
                <a:gd name="T62" fmla="*/ 141 w 235"/>
                <a:gd name="T63" fmla="*/ 18 h 243"/>
                <a:gd name="T64" fmla="*/ 160 w 235"/>
                <a:gd name="T65" fmla="*/ 42 h 243"/>
                <a:gd name="T66" fmla="*/ 174 w 235"/>
                <a:gd name="T67" fmla="*/ 75 h 243"/>
                <a:gd name="T68" fmla="*/ 178 w 235"/>
                <a:gd name="T69" fmla="*/ 126 h 243"/>
                <a:gd name="T70" fmla="*/ 174 w 235"/>
                <a:gd name="T71" fmla="*/ 164 h 243"/>
                <a:gd name="T72" fmla="*/ 164 w 235"/>
                <a:gd name="T73" fmla="*/ 197 h 243"/>
                <a:gd name="T74" fmla="*/ 145 w 235"/>
                <a:gd name="T75" fmla="*/ 220 h 243"/>
                <a:gd name="T76" fmla="*/ 131 w 235"/>
                <a:gd name="T77" fmla="*/ 225 h 243"/>
                <a:gd name="T78" fmla="*/ 117 w 235"/>
                <a:gd name="T79" fmla="*/ 229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35" h="243">
                  <a:moveTo>
                    <a:pt x="117" y="0"/>
                  </a:moveTo>
                  <a:lnTo>
                    <a:pt x="113" y="0"/>
                  </a:lnTo>
                  <a:lnTo>
                    <a:pt x="66" y="4"/>
                  </a:lnTo>
                  <a:lnTo>
                    <a:pt x="28" y="28"/>
                  </a:lnTo>
                  <a:lnTo>
                    <a:pt x="5" y="65"/>
                  </a:lnTo>
                  <a:lnTo>
                    <a:pt x="0" y="117"/>
                  </a:lnTo>
                  <a:lnTo>
                    <a:pt x="5" y="173"/>
                  </a:lnTo>
                  <a:lnTo>
                    <a:pt x="28" y="211"/>
                  </a:lnTo>
                  <a:lnTo>
                    <a:pt x="66" y="234"/>
                  </a:lnTo>
                  <a:lnTo>
                    <a:pt x="113" y="243"/>
                  </a:lnTo>
                  <a:lnTo>
                    <a:pt x="117" y="243"/>
                  </a:lnTo>
                  <a:lnTo>
                    <a:pt x="164" y="234"/>
                  </a:lnTo>
                  <a:lnTo>
                    <a:pt x="202" y="211"/>
                  </a:lnTo>
                  <a:lnTo>
                    <a:pt x="225" y="173"/>
                  </a:lnTo>
                  <a:lnTo>
                    <a:pt x="235" y="117"/>
                  </a:lnTo>
                  <a:lnTo>
                    <a:pt x="225" y="65"/>
                  </a:lnTo>
                  <a:lnTo>
                    <a:pt x="202" y="28"/>
                  </a:lnTo>
                  <a:lnTo>
                    <a:pt x="164" y="4"/>
                  </a:lnTo>
                  <a:lnTo>
                    <a:pt x="117" y="0"/>
                  </a:lnTo>
                  <a:close/>
                  <a:moveTo>
                    <a:pt x="117" y="229"/>
                  </a:moveTo>
                  <a:lnTo>
                    <a:pt x="117" y="229"/>
                  </a:lnTo>
                  <a:lnTo>
                    <a:pt x="113" y="229"/>
                  </a:lnTo>
                  <a:lnTo>
                    <a:pt x="89" y="220"/>
                  </a:lnTo>
                  <a:lnTo>
                    <a:pt x="70" y="201"/>
                  </a:lnTo>
                  <a:lnTo>
                    <a:pt x="56" y="164"/>
                  </a:lnTo>
                  <a:lnTo>
                    <a:pt x="52" y="140"/>
                  </a:lnTo>
                  <a:lnTo>
                    <a:pt x="52" y="112"/>
                  </a:lnTo>
                  <a:lnTo>
                    <a:pt x="56" y="65"/>
                  </a:lnTo>
                  <a:lnTo>
                    <a:pt x="70" y="37"/>
                  </a:lnTo>
                  <a:lnTo>
                    <a:pt x="89" y="18"/>
                  </a:lnTo>
                  <a:lnTo>
                    <a:pt x="113" y="9"/>
                  </a:lnTo>
                  <a:lnTo>
                    <a:pt x="141" y="18"/>
                  </a:lnTo>
                  <a:lnTo>
                    <a:pt x="160" y="42"/>
                  </a:lnTo>
                  <a:lnTo>
                    <a:pt x="174" y="75"/>
                  </a:lnTo>
                  <a:lnTo>
                    <a:pt x="178" y="126"/>
                  </a:lnTo>
                  <a:lnTo>
                    <a:pt x="174" y="164"/>
                  </a:lnTo>
                  <a:lnTo>
                    <a:pt x="164" y="197"/>
                  </a:lnTo>
                  <a:lnTo>
                    <a:pt x="145" y="220"/>
                  </a:lnTo>
                  <a:lnTo>
                    <a:pt x="131" y="225"/>
                  </a:lnTo>
                  <a:lnTo>
                    <a:pt x="117" y="22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83" name="Freeform 61"/>
            <p:cNvSpPr>
              <a:spLocks/>
            </p:cNvSpPr>
            <p:nvPr/>
          </p:nvSpPr>
          <p:spPr bwMode="auto">
            <a:xfrm>
              <a:off x="6452601" y="810057"/>
              <a:ext cx="110358" cy="126063"/>
            </a:xfrm>
            <a:custGeom>
              <a:avLst/>
              <a:gdLst>
                <a:gd name="T0" fmla="*/ 136 w 215"/>
                <a:gd name="T1" fmla="*/ 225 h 243"/>
                <a:gd name="T2" fmla="*/ 117 w 215"/>
                <a:gd name="T3" fmla="*/ 225 h 243"/>
                <a:gd name="T4" fmla="*/ 103 w 215"/>
                <a:gd name="T5" fmla="*/ 215 h 243"/>
                <a:gd name="T6" fmla="*/ 75 w 215"/>
                <a:gd name="T7" fmla="*/ 192 h 243"/>
                <a:gd name="T8" fmla="*/ 56 w 215"/>
                <a:gd name="T9" fmla="*/ 154 h 243"/>
                <a:gd name="T10" fmla="*/ 51 w 215"/>
                <a:gd name="T11" fmla="*/ 117 h 243"/>
                <a:gd name="T12" fmla="*/ 56 w 215"/>
                <a:gd name="T13" fmla="*/ 75 h 243"/>
                <a:gd name="T14" fmla="*/ 70 w 215"/>
                <a:gd name="T15" fmla="*/ 42 h 243"/>
                <a:gd name="T16" fmla="*/ 94 w 215"/>
                <a:gd name="T17" fmla="*/ 23 h 243"/>
                <a:gd name="T18" fmla="*/ 126 w 215"/>
                <a:gd name="T19" fmla="*/ 14 h 243"/>
                <a:gd name="T20" fmla="*/ 150 w 215"/>
                <a:gd name="T21" fmla="*/ 18 h 243"/>
                <a:gd name="T22" fmla="*/ 173 w 215"/>
                <a:gd name="T23" fmla="*/ 32 h 243"/>
                <a:gd name="T24" fmla="*/ 187 w 215"/>
                <a:gd name="T25" fmla="*/ 51 h 243"/>
                <a:gd name="T26" fmla="*/ 192 w 215"/>
                <a:gd name="T27" fmla="*/ 75 h 243"/>
                <a:gd name="T28" fmla="*/ 206 w 215"/>
                <a:gd name="T29" fmla="*/ 75 h 243"/>
                <a:gd name="T30" fmla="*/ 206 w 215"/>
                <a:gd name="T31" fmla="*/ 9 h 243"/>
                <a:gd name="T32" fmla="*/ 192 w 215"/>
                <a:gd name="T33" fmla="*/ 9 h 243"/>
                <a:gd name="T34" fmla="*/ 155 w 215"/>
                <a:gd name="T35" fmla="*/ 0 h 243"/>
                <a:gd name="T36" fmla="*/ 122 w 215"/>
                <a:gd name="T37" fmla="*/ 0 h 243"/>
                <a:gd name="T38" fmla="*/ 75 w 215"/>
                <a:gd name="T39" fmla="*/ 4 h 243"/>
                <a:gd name="T40" fmla="*/ 33 w 215"/>
                <a:gd name="T41" fmla="*/ 28 h 243"/>
                <a:gd name="T42" fmla="*/ 9 w 215"/>
                <a:gd name="T43" fmla="*/ 61 h 243"/>
                <a:gd name="T44" fmla="*/ 0 w 215"/>
                <a:gd name="T45" fmla="*/ 84 h 243"/>
                <a:gd name="T46" fmla="*/ 0 w 215"/>
                <a:gd name="T47" fmla="*/ 112 h 243"/>
                <a:gd name="T48" fmla="*/ 0 w 215"/>
                <a:gd name="T49" fmla="*/ 140 h 243"/>
                <a:gd name="T50" fmla="*/ 4 w 215"/>
                <a:gd name="T51" fmla="*/ 168 h 243"/>
                <a:gd name="T52" fmla="*/ 33 w 215"/>
                <a:gd name="T53" fmla="*/ 206 h 243"/>
                <a:gd name="T54" fmla="*/ 70 w 215"/>
                <a:gd name="T55" fmla="*/ 234 h 243"/>
                <a:gd name="T56" fmla="*/ 122 w 215"/>
                <a:gd name="T57" fmla="*/ 243 h 243"/>
                <a:gd name="T58" fmla="*/ 155 w 215"/>
                <a:gd name="T59" fmla="*/ 239 h 243"/>
                <a:gd name="T60" fmla="*/ 178 w 215"/>
                <a:gd name="T61" fmla="*/ 234 h 243"/>
                <a:gd name="T62" fmla="*/ 197 w 215"/>
                <a:gd name="T63" fmla="*/ 225 h 243"/>
                <a:gd name="T64" fmla="*/ 215 w 215"/>
                <a:gd name="T65" fmla="*/ 220 h 243"/>
                <a:gd name="T66" fmla="*/ 215 w 215"/>
                <a:gd name="T67" fmla="*/ 182 h 243"/>
                <a:gd name="T68" fmla="*/ 206 w 215"/>
                <a:gd name="T69" fmla="*/ 182 h 243"/>
                <a:gd name="T70" fmla="*/ 197 w 215"/>
                <a:gd name="T71" fmla="*/ 201 h 243"/>
                <a:gd name="T72" fmla="*/ 178 w 215"/>
                <a:gd name="T73" fmla="*/ 215 h 243"/>
                <a:gd name="T74" fmla="*/ 159 w 215"/>
                <a:gd name="T75" fmla="*/ 225 h 243"/>
                <a:gd name="T76" fmla="*/ 136 w 215"/>
                <a:gd name="T77" fmla="*/ 225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15" h="243">
                  <a:moveTo>
                    <a:pt x="136" y="225"/>
                  </a:moveTo>
                  <a:lnTo>
                    <a:pt x="117" y="225"/>
                  </a:lnTo>
                  <a:lnTo>
                    <a:pt x="103" y="215"/>
                  </a:lnTo>
                  <a:lnTo>
                    <a:pt x="75" y="192"/>
                  </a:lnTo>
                  <a:lnTo>
                    <a:pt x="56" y="154"/>
                  </a:lnTo>
                  <a:lnTo>
                    <a:pt x="51" y="117"/>
                  </a:lnTo>
                  <a:lnTo>
                    <a:pt x="56" y="75"/>
                  </a:lnTo>
                  <a:lnTo>
                    <a:pt x="70" y="42"/>
                  </a:lnTo>
                  <a:lnTo>
                    <a:pt x="94" y="23"/>
                  </a:lnTo>
                  <a:lnTo>
                    <a:pt x="126" y="14"/>
                  </a:lnTo>
                  <a:lnTo>
                    <a:pt x="150" y="18"/>
                  </a:lnTo>
                  <a:lnTo>
                    <a:pt x="173" y="32"/>
                  </a:lnTo>
                  <a:lnTo>
                    <a:pt x="187" y="51"/>
                  </a:lnTo>
                  <a:lnTo>
                    <a:pt x="192" y="75"/>
                  </a:lnTo>
                  <a:lnTo>
                    <a:pt x="206" y="75"/>
                  </a:lnTo>
                  <a:lnTo>
                    <a:pt x="206" y="9"/>
                  </a:lnTo>
                  <a:lnTo>
                    <a:pt x="192" y="9"/>
                  </a:lnTo>
                  <a:lnTo>
                    <a:pt x="155" y="0"/>
                  </a:lnTo>
                  <a:lnTo>
                    <a:pt x="122" y="0"/>
                  </a:lnTo>
                  <a:lnTo>
                    <a:pt x="75" y="4"/>
                  </a:lnTo>
                  <a:lnTo>
                    <a:pt x="33" y="28"/>
                  </a:lnTo>
                  <a:lnTo>
                    <a:pt x="9" y="61"/>
                  </a:lnTo>
                  <a:lnTo>
                    <a:pt x="0" y="84"/>
                  </a:lnTo>
                  <a:lnTo>
                    <a:pt x="0" y="112"/>
                  </a:lnTo>
                  <a:lnTo>
                    <a:pt x="0" y="140"/>
                  </a:lnTo>
                  <a:lnTo>
                    <a:pt x="4" y="168"/>
                  </a:lnTo>
                  <a:lnTo>
                    <a:pt x="33" y="206"/>
                  </a:lnTo>
                  <a:lnTo>
                    <a:pt x="70" y="234"/>
                  </a:lnTo>
                  <a:lnTo>
                    <a:pt x="122" y="243"/>
                  </a:lnTo>
                  <a:lnTo>
                    <a:pt x="155" y="239"/>
                  </a:lnTo>
                  <a:lnTo>
                    <a:pt x="178" y="234"/>
                  </a:lnTo>
                  <a:lnTo>
                    <a:pt x="197" y="225"/>
                  </a:lnTo>
                  <a:lnTo>
                    <a:pt x="215" y="220"/>
                  </a:lnTo>
                  <a:lnTo>
                    <a:pt x="215" y="182"/>
                  </a:lnTo>
                  <a:lnTo>
                    <a:pt x="206" y="182"/>
                  </a:lnTo>
                  <a:lnTo>
                    <a:pt x="197" y="201"/>
                  </a:lnTo>
                  <a:lnTo>
                    <a:pt x="178" y="215"/>
                  </a:lnTo>
                  <a:lnTo>
                    <a:pt x="159" y="225"/>
                  </a:lnTo>
                  <a:lnTo>
                    <a:pt x="136" y="22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84" name="Freeform 62"/>
            <p:cNvSpPr>
              <a:spLocks noEditPoints="1"/>
            </p:cNvSpPr>
            <p:nvPr/>
          </p:nvSpPr>
          <p:spPr bwMode="auto">
            <a:xfrm>
              <a:off x="6587734" y="812309"/>
              <a:ext cx="96846" cy="123812"/>
            </a:xfrm>
            <a:custGeom>
              <a:avLst/>
              <a:gdLst>
                <a:gd name="T0" fmla="*/ 127 w 188"/>
                <a:gd name="T1" fmla="*/ 113 h 239"/>
                <a:gd name="T2" fmla="*/ 127 w 188"/>
                <a:gd name="T3" fmla="*/ 108 h 239"/>
                <a:gd name="T4" fmla="*/ 146 w 188"/>
                <a:gd name="T5" fmla="*/ 103 h 239"/>
                <a:gd name="T6" fmla="*/ 164 w 188"/>
                <a:gd name="T7" fmla="*/ 89 h 239"/>
                <a:gd name="T8" fmla="*/ 174 w 188"/>
                <a:gd name="T9" fmla="*/ 75 h 239"/>
                <a:gd name="T10" fmla="*/ 179 w 188"/>
                <a:gd name="T11" fmla="*/ 52 h 239"/>
                <a:gd name="T12" fmla="*/ 169 w 188"/>
                <a:gd name="T13" fmla="*/ 28 h 239"/>
                <a:gd name="T14" fmla="*/ 155 w 188"/>
                <a:gd name="T15" fmla="*/ 10 h 239"/>
                <a:gd name="T16" fmla="*/ 132 w 188"/>
                <a:gd name="T17" fmla="*/ 0 h 239"/>
                <a:gd name="T18" fmla="*/ 104 w 188"/>
                <a:gd name="T19" fmla="*/ 0 h 239"/>
                <a:gd name="T20" fmla="*/ 0 w 188"/>
                <a:gd name="T21" fmla="*/ 0 h 239"/>
                <a:gd name="T22" fmla="*/ 0 w 188"/>
                <a:gd name="T23" fmla="*/ 10 h 239"/>
                <a:gd name="T24" fmla="*/ 29 w 188"/>
                <a:gd name="T25" fmla="*/ 19 h 239"/>
                <a:gd name="T26" fmla="*/ 29 w 188"/>
                <a:gd name="T27" fmla="*/ 216 h 239"/>
                <a:gd name="T28" fmla="*/ 0 w 188"/>
                <a:gd name="T29" fmla="*/ 225 h 239"/>
                <a:gd name="T30" fmla="*/ 0 w 188"/>
                <a:gd name="T31" fmla="*/ 239 h 239"/>
                <a:gd name="T32" fmla="*/ 104 w 188"/>
                <a:gd name="T33" fmla="*/ 239 h 239"/>
                <a:gd name="T34" fmla="*/ 108 w 188"/>
                <a:gd name="T35" fmla="*/ 239 h 239"/>
                <a:gd name="T36" fmla="*/ 136 w 188"/>
                <a:gd name="T37" fmla="*/ 235 h 239"/>
                <a:gd name="T38" fmla="*/ 164 w 188"/>
                <a:gd name="T39" fmla="*/ 221 h 239"/>
                <a:gd name="T40" fmla="*/ 179 w 188"/>
                <a:gd name="T41" fmla="*/ 202 h 239"/>
                <a:gd name="T42" fmla="*/ 188 w 188"/>
                <a:gd name="T43" fmla="*/ 174 h 239"/>
                <a:gd name="T44" fmla="*/ 183 w 188"/>
                <a:gd name="T45" fmla="*/ 146 h 239"/>
                <a:gd name="T46" fmla="*/ 169 w 188"/>
                <a:gd name="T47" fmla="*/ 132 h 239"/>
                <a:gd name="T48" fmla="*/ 150 w 188"/>
                <a:gd name="T49" fmla="*/ 117 h 239"/>
                <a:gd name="T50" fmla="*/ 127 w 188"/>
                <a:gd name="T51" fmla="*/ 113 h 239"/>
                <a:gd name="T52" fmla="*/ 75 w 188"/>
                <a:gd name="T53" fmla="*/ 14 h 239"/>
                <a:gd name="T54" fmla="*/ 75 w 188"/>
                <a:gd name="T55" fmla="*/ 14 h 239"/>
                <a:gd name="T56" fmla="*/ 89 w 188"/>
                <a:gd name="T57" fmla="*/ 14 h 239"/>
                <a:gd name="T58" fmla="*/ 104 w 188"/>
                <a:gd name="T59" fmla="*/ 19 h 239"/>
                <a:gd name="T60" fmla="*/ 122 w 188"/>
                <a:gd name="T61" fmla="*/ 33 h 239"/>
                <a:gd name="T62" fmla="*/ 127 w 188"/>
                <a:gd name="T63" fmla="*/ 42 h 239"/>
                <a:gd name="T64" fmla="*/ 127 w 188"/>
                <a:gd name="T65" fmla="*/ 61 h 239"/>
                <a:gd name="T66" fmla="*/ 122 w 188"/>
                <a:gd name="T67" fmla="*/ 89 h 239"/>
                <a:gd name="T68" fmla="*/ 113 w 188"/>
                <a:gd name="T69" fmla="*/ 99 h 239"/>
                <a:gd name="T70" fmla="*/ 104 w 188"/>
                <a:gd name="T71" fmla="*/ 103 h 239"/>
                <a:gd name="T72" fmla="*/ 94 w 188"/>
                <a:gd name="T73" fmla="*/ 108 h 239"/>
                <a:gd name="T74" fmla="*/ 75 w 188"/>
                <a:gd name="T75" fmla="*/ 108 h 239"/>
                <a:gd name="T76" fmla="*/ 75 w 188"/>
                <a:gd name="T77" fmla="*/ 14 h 239"/>
                <a:gd name="T78" fmla="*/ 104 w 188"/>
                <a:gd name="T79" fmla="*/ 221 h 239"/>
                <a:gd name="T80" fmla="*/ 104 w 188"/>
                <a:gd name="T81" fmla="*/ 221 h 239"/>
                <a:gd name="T82" fmla="*/ 85 w 188"/>
                <a:gd name="T83" fmla="*/ 216 h 239"/>
                <a:gd name="T84" fmla="*/ 75 w 188"/>
                <a:gd name="T85" fmla="*/ 207 h 239"/>
                <a:gd name="T86" fmla="*/ 75 w 188"/>
                <a:gd name="T87" fmla="*/ 117 h 239"/>
                <a:gd name="T88" fmla="*/ 94 w 188"/>
                <a:gd name="T89" fmla="*/ 117 h 239"/>
                <a:gd name="T90" fmla="*/ 104 w 188"/>
                <a:gd name="T91" fmla="*/ 117 h 239"/>
                <a:gd name="T92" fmla="*/ 118 w 188"/>
                <a:gd name="T93" fmla="*/ 127 h 239"/>
                <a:gd name="T94" fmla="*/ 132 w 188"/>
                <a:gd name="T95" fmla="*/ 136 h 239"/>
                <a:gd name="T96" fmla="*/ 136 w 188"/>
                <a:gd name="T97" fmla="*/ 155 h 239"/>
                <a:gd name="T98" fmla="*/ 136 w 188"/>
                <a:gd name="T99" fmla="*/ 174 h 239"/>
                <a:gd name="T100" fmla="*/ 136 w 188"/>
                <a:gd name="T101" fmla="*/ 193 h 239"/>
                <a:gd name="T102" fmla="*/ 132 w 188"/>
                <a:gd name="T103" fmla="*/ 207 h 239"/>
                <a:gd name="T104" fmla="*/ 118 w 188"/>
                <a:gd name="T105" fmla="*/ 216 h 239"/>
                <a:gd name="T106" fmla="*/ 104 w 188"/>
                <a:gd name="T107" fmla="*/ 221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88" h="239">
                  <a:moveTo>
                    <a:pt x="127" y="113"/>
                  </a:moveTo>
                  <a:lnTo>
                    <a:pt x="127" y="108"/>
                  </a:lnTo>
                  <a:lnTo>
                    <a:pt x="146" y="103"/>
                  </a:lnTo>
                  <a:lnTo>
                    <a:pt x="164" y="89"/>
                  </a:lnTo>
                  <a:lnTo>
                    <a:pt x="174" y="75"/>
                  </a:lnTo>
                  <a:lnTo>
                    <a:pt x="179" y="52"/>
                  </a:lnTo>
                  <a:lnTo>
                    <a:pt x="169" y="28"/>
                  </a:lnTo>
                  <a:lnTo>
                    <a:pt x="155" y="10"/>
                  </a:lnTo>
                  <a:lnTo>
                    <a:pt x="132" y="0"/>
                  </a:lnTo>
                  <a:lnTo>
                    <a:pt x="104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29" y="19"/>
                  </a:lnTo>
                  <a:lnTo>
                    <a:pt x="29" y="216"/>
                  </a:lnTo>
                  <a:lnTo>
                    <a:pt x="0" y="225"/>
                  </a:lnTo>
                  <a:lnTo>
                    <a:pt x="0" y="239"/>
                  </a:lnTo>
                  <a:lnTo>
                    <a:pt x="104" y="239"/>
                  </a:lnTo>
                  <a:lnTo>
                    <a:pt x="108" y="239"/>
                  </a:lnTo>
                  <a:lnTo>
                    <a:pt x="136" y="235"/>
                  </a:lnTo>
                  <a:lnTo>
                    <a:pt x="164" y="221"/>
                  </a:lnTo>
                  <a:lnTo>
                    <a:pt x="179" y="202"/>
                  </a:lnTo>
                  <a:lnTo>
                    <a:pt x="188" y="174"/>
                  </a:lnTo>
                  <a:lnTo>
                    <a:pt x="183" y="146"/>
                  </a:lnTo>
                  <a:lnTo>
                    <a:pt x="169" y="132"/>
                  </a:lnTo>
                  <a:lnTo>
                    <a:pt x="150" y="117"/>
                  </a:lnTo>
                  <a:lnTo>
                    <a:pt x="127" y="113"/>
                  </a:lnTo>
                  <a:close/>
                  <a:moveTo>
                    <a:pt x="75" y="14"/>
                  </a:moveTo>
                  <a:lnTo>
                    <a:pt x="75" y="14"/>
                  </a:lnTo>
                  <a:lnTo>
                    <a:pt x="89" y="14"/>
                  </a:lnTo>
                  <a:lnTo>
                    <a:pt x="104" y="19"/>
                  </a:lnTo>
                  <a:lnTo>
                    <a:pt x="122" y="33"/>
                  </a:lnTo>
                  <a:lnTo>
                    <a:pt x="127" y="42"/>
                  </a:lnTo>
                  <a:lnTo>
                    <a:pt x="127" y="61"/>
                  </a:lnTo>
                  <a:lnTo>
                    <a:pt x="122" y="89"/>
                  </a:lnTo>
                  <a:lnTo>
                    <a:pt x="113" y="99"/>
                  </a:lnTo>
                  <a:lnTo>
                    <a:pt x="104" y="103"/>
                  </a:lnTo>
                  <a:lnTo>
                    <a:pt x="94" y="108"/>
                  </a:lnTo>
                  <a:lnTo>
                    <a:pt x="75" y="108"/>
                  </a:lnTo>
                  <a:lnTo>
                    <a:pt x="75" y="14"/>
                  </a:lnTo>
                  <a:close/>
                  <a:moveTo>
                    <a:pt x="104" y="221"/>
                  </a:moveTo>
                  <a:lnTo>
                    <a:pt x="104" y="221"/>
                  </a:lnTo>
                  <a:lnTo>
                    <a:pt x="85" y="216"/>
                  </a:lnTo>
                  <a:lnTo>
                    <a:pt x="75" y="207"/>
                  </a:lnTo>
                  <a:lnTo>
                    <a:pt x="75" y="117"/>
                  </a:lnTo>
                  <a:lnTo>
                    <a:pt x="94" y="117"/>
                  </a:lnTo>
                  <a:lnTo>
                    <a:pt x="104" y="117"/>
                  </a:lnTo>
                  <a:lnTo>
                    <a:pt x="118" y="127"/>
                  </a:lnTo>
                  <a:lnTo>
                    <a:pt x="132" y="136"/>
                  </a:lnTo>
                  <a:lnTo>
                    <a:pt x="136" y="155"/>
                  </a:lnTo>
                  <a:lnTo>
                    <a:pt x="136" y="174"/>
                  </a:lnTo>
                  <a:lnTo>
                    <a:pt x="136" y="193"/>
                  </a:lnTo>
                  <a:lnTo>
                    <a:pt x="132" y="207"/>
                  </a:lnTo>
                  <a:lnTo>
                    <a:pt x="118" y="216"/>
                  </a:lnTo>
                  <a:lnTo>
                    <a:pt x="104" y="22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85" name="Freeform 63"/>
            <p:cNvSpPr>
              <a:spLocks/>
            </p:cNvSpPr>
            <p:nvPr/>
          </p:nvSpPr>
          <p:spPr bwMode="auto">
            <a:xfrm>
              <a:off x="6711607" y="812309"/>
              <a:ext cx="90089" cy="123812"/>
            </a:xfrm>
            <a:custGeom>
              <a:avLst/>
              <a:gdLst>
                <a:gd name="T0" fmla="*/ 145 w 173"/>
                <a:gd name="T1" fmla="*/ 216 h 239"/>
                <a:gd name="T2" fmla="*/ 70 w 173"/>
                <a:gd name="T3" fmla="*/ 216 h 239"/>
                <a:gd name="T4" fmla="*/ 70 w 173"/>
                <a:gd name="T5" fmla="*/ 117 h 239"/>
                <a:gd name="T6" fmla="*/ 112 w 173"/>
                <a:gd name="T7" fmla="*/ 117 h 239"/>
                <a:gd name="T8" fmla="*/ 121 w 173"/>
                <a:gd name="T9" fmla="*/ 150 h 239"/>
                <a:gd name="T10" fmla="*/ 136 w 173"/>
                <a:gd name="T11" fmla="*/ 150 h 239"/>
                <a:gd name="T12" fmla="*/ 131 w 173"/>
                <a:gd name="T13" fmla="*/ 108 h 239"/>
                <a:gd name="T14" fmla="*/ 136 w 173"/>
                <a:gd name="T15" fmla="*/ 71 h 239"/>
                <a:gd name="T16" fmla="*/ 121 w 173"/>
                <a:gd name="T17" fmla="*/ 71 h 239"/>
                <a:gd name="T18" fmla="*/ 112 w 173"/>
                <a:gd name="T19" fmla="*/ 103 h 239"/>
                <a:gd name="T20" fmla="*/ 70 w 173"/>
                <a:gd name="T21" fmla="*/ 103 h 239"/>
                <a:gd name="T22" fmla="*/ 70 w 173"/>
                <a:gd name="T23" fmla="*/ 24 h 239"/>
                <a:gd name="T24" fmla="*/ 140 w 173"/>
                <a:gd name="T25" fmla="*/ 24 h 239"/>
                <a:gd name="T26" fmla="*/ 150 w 173"/>
                <a:gd name="T27" fmla="*/ 61 h 239"/>
                <a:gd name="T28" fmla="*/ 164 w 173"/>
                <a:gd name="T29" fmla="*/ 61 h 239"/>
                <a:gd name="T30" fmla="*/ 159 w 173"/>
                <a:gd name="T31" fmla="*/ 0 h 239"/>
                <a:gd name="T32" fmla="*/ 145 w 173"/>
                <a:gd name="T33" fmla="*/ 0 h 239"/>
                <a:gd name="T34" fmla="*/ 0 w 173"/>
                <a:gd name="T35" fmla="*/ 0 h 239"/>
                <a:gd name="T36" fmla="*/ 0 w 173"/>
                <a:gd name="T37" fmla="*/ 10 h 239"/>
                <a:gd name="T38" fmla="*/ 23 w 173"/>
                <a:gd name="T39" fmla="*/ 19 h 239"/>
                <a:gd name="T40" fmla="*/ 23 w 173"/>
                <a:gd name="T41" fmla="*/ 216 h 239"/>
                <a:gd name="T42" fmla="*/ 0 w 173"/>
                <a:gd name="T43" fmla="*/ 225 h 239"/>
                <a:gd name="T44" fmla="*/ 0 w 173"/>
                <a:gd name="T45" fmla="*/ 239 h 239"/>
                <a:gd name="T46" fmla="*/ 164 w 173"/>
                <a:gd name="T47" fmla="*/ 239 h 239"/>
                <a:gd name="T48" fmla="*/ 173 w 173"/>
                <a:gd name="T49" fmla="*/ 169 h 239"/>
                <a:gd name="T50" fmla="*/ 159 w 173"/>
                <a:gd name="T51" fmla="*/ 169 h 239"/>
                <a:gd name="T52" fmla="*/ 145 w 173"/>
                <a:gd name="T53" fmla="*/ 216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73" h="239">
                  <a:moveTo>
                    <a:pt x="145" y="216"/>
                  </a:moveTo>
                  <a:lnTo>
                    <a:pt x="70" y="216"/>
                  </a:lnTo>
                  <a:lnTo>
                    <a:pt x="70" y="117"/>
                  </a:lnTo>
                  <a:lnTo>
                    <a:pt x="112" y="117"/>
                  </a:lnTo>
                  <a:lnTo>
                    <a:pt x="121" y="150"/>
                  </a:lnTo>
                  <a:lnTo>
                    <a:pt x="136" y="150"/>
                  </a:lnTo>
                  <a:lnTo>
                    <a:pt x="131" y="108"/>
                  </a:lnTo>
                  <a:lnTo>
                    <a:pt x="136" y="71"/>
                  </a:lnTo>
                  <a:lnTo>
                    <a:pt x="121" y="71"/>
                  </a:lnTo>
                  <a:lnTo>
                    <a:pt x="112" y="103"/>
                  </a:lnTo>
                  <a:lnTo>
                    <a:pt x="70" y="103"/>
                  </a:lnTo>
                  <a:lnTo>
                    <a:pt x="70" y="24"/>
                  </a:lnTo>
                  <a:lnTo>
                    <a:pt x="140" y="24"/>
                  </a:lnTo>
                  <a:lnTo>
                    <a:pt x="150" y="61"/>
                  </a:lnTo>
                  <a:lnTo>
                    <a:pt x="164" y="61"/>
                  </a:lnTo>
                  <a:lnTo>
                    <a:pt x="159" y="0"/>
                  </a:lnTo>
                  <a:lnTo>
                    <a:pt x="145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23" y="19"/>
                  </a:lnTo>
                  <a:lnTo>
                    <a:pt x="23" y="216"/>
                  </a:lnTo>
                  <a:lnTo>
                    <a:pt x="0" y="225"/>
                  </a:lnTo>
                  <a:lnTo>
                    <a:pt x="0" y="239"/>
                  </a:lnTo>
                  <a:lnTo>
                    <a:pt x="164" y="239"/>
                  </a:lnTo>
                  <a:lnTo>
                    <a:pt x="173" y="169"/>
                  </a:lnTo>
                  <a:lnTo>
                    <a:pt x="159" y="169"/>
                  </a:lnTo>
                  <a:lnTo>
                    <a:pt x="145" y="21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86" name="Freeform 64"/>
            <p:cNvSpPr>
              <a:spLocks/>
            </p:cNvSpPr>
            <p:nvPr/>
          </p:nvSpPr>
          <p:spPr bwMode="auto">
            <a:xfrm>
              <a:off x="6828722" y="812309"/>
              <a:ext cx="186933" cy="157579"/>
            </a:xfrm>
            <a:custGeom>
              <a:avLst/>
              <a:gdLst>
                <a:gd name="T0" fmla="*/ 328 w 365"/>
                <a:gd name="T1" fmla="*/ 19 h 305"/>
                <a:gd name="T2" fmla="*/ 361 w 365"/>
                <a:gd name="T3" fmla="*/ 10 h 305"/>
                <a:gd name="T4" fmla="*/ 361 w 365"/>
                <a:gd name="T5" fmla="*/ 0 h 305"/>
                <a:gd name="T6" fmla="*/ 248 w 365"/>
                <a:gd name="T7" fmla="*/ 0 h 305"/>
                <a:gd name="T8" fmla="*/ 248 w 365"/>
                <a:gd name="T9" fmla="*/ 10 h 305"/>
                <a:gd name="T10" fmla="*/ 276 w 365"/>
                <a:gd name="T11" fmla="*/ 19 h 305"/>
                <a:gd name="T12" fmla="*/ 276 w 365"/>
                <a:gd name="T13" fmla="*/ 216 h 305"/>
                <a:gd name="T14" fmla="*/ 201 w 365"/>
                <a:gd name="T15" fmla="*/ 216 h 305"/>
                <a:gd name="T16" fmla="*/ 201 w 365"/>
                <a:gd name="T17" fmla="*/ 19 h 305"/>
                <a:gd name="T18" fmla="*/ 234 w 365"/>
                <a:gd name="T19" fmla="*/ 10 h 305"/>
                <a:gd name="T20" fmla="*/ 234 w 365"/>
                <a:gd name="T21" fmla="*/ 0 h 305"/>
                <a:gd name="T22" fmla="*/ 121 w 365"/>
                <a:gd name="T23" fmla="*/ 0 h 305"/>
                <a:gd name="T24" fmla="*/ 121 w 365"/>
                <a:gd name="T25" fmla="*/ 10 h 305"/>
                <a:gd name="T26" fmla="*/ 154 w 365"/>
                <a:gd name="T27" fmla="*/ 19 h 305"/>
                <a:gd name="T28" fmla="*/ 154 w 365"/>
                <a:gd name="T29" fmla="*/ 216 h 305"/>
                <a:gd name="T30" fmla="*/ 75 w 365"/>
                <a:gd name="T31" fmla="*/ 216 h 305"/>
                <a:gd name="T32" fmla="*/ 75 w 365"/>
                <a:gd name="T33" fmla="*/ 19 h 305"/>
                <a:gd name="T34" fmla="*/ 107 w 365"/>
                <a:gd name="T35" fmla="*/ 10 h 305"/>
                <a:gd name="T36" fmla="*/ 107 w 365"/>
                <a:gd name="T37" fmla="*/ 0 h 305"/>
                <a:gd name="T38" fmla="*/ 0 w 365"/>
                <a:gd name="T39" fmla="*/ 0 h 305"/>
                <a:gd name="T40" fmla="*/ 0 w 365"/>
                <a:gd name="T41" fmla="*/ 10 h 305"/>
                <a:gd name="T42" fmla="*/ 28 w 365"/>
                <a:gd name="T43" fmla="*/ 19 h 305"/>
                <a:gd name="T44" fmla="*/ 28 w 365"/>
                <a:gd name="T45" fmla="*/ 216 h 305"/>
                <a:gd name="T46" fmla="*/ 0 w 365"/>
                <a:gd name="T47" fmla="*/ 221 h 305"/>
                <a:gd name="T48" fmla="*/ 0 w 365"/>
                <a:gd name="T49" fmla="*/ 235 h 305"/>
                <a:gd name="T50" fmla="*/ 337 w 365"/>
                <a:gd name="T51" fmla="*/ 235 h 305"/>
                <a:gd name="T52" fmla="*/ 337 w 365"/>
                <a:gd name="T53" fmla="*/ 305 h 305"/>
                <a:gd name="T54" fmla="*/ 347 w 365"/>
                <a:gd name="T55" fmla="*/ 305 h 305"/>
                <a:gd name="T56" fmla="*/ 365 w 365"/>
                <a:gd name="T57" fmla="*/ 216 h 305"/>
                <a:gd name="T58" fmla="*/ 328 w 365"/>
                <a:gd name="T59" fmla="*/ 216 h 305"/>
                <a:gd name="T60" fmla="*/ 328 w 365"/>
                <a:gd name="T61" fmla="*/ 19 h 3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365" h="305">
                  <a:moveTo>
                    <a:pt x="328" y="19"/>
                  </a:moveTo>
                  <a:lnTo>
                    <a:pt x="361" y="10"/>
                  </a:lnTo>
                  <a:lnTo>
                    <a:pt x="361" y="0"/>
                  </a:lnTo>
                  <a:lnTo>
                    <a:pt x="248" y="0"/>
                  </a:lnTo>
                  <a:lnTo>
                    <a:pt x="248" y="10"/>
                  </a:lnTo>
                  <a:lnTo>
                    <a:pt x="276" y="19"/>
                  </a:lnTo>
                  <a:lnTo>
                    <a:pt x="276" y="216"/>
                  </a:lnTo>
                  <a:lnTo>
                    <a:pt x="201" y="216"/>
                  </a:lnTo>
                  <a:lnTo>
                    <a:pt x="201" y="19"/>
                  </a:lnTo>
                  <a:lnTo>
                    <a:pt x="234" y="10"/>
                  </a:lnTo>
                  <a:lnTo>
                    <a:pt x="234" y="0"/>
                  </a:lnTo>
                  <a:lnTo>
                    <a:pt x="121" y="0"/>
                  </a:lnTo>
                  <a:lnTo>
                    <a:pt x="121" y="10"/>
                  </a:lnTo>
                  <a:lnTo>
                    <a:pt x="154" y="19"/>
                  </a:lnTo>
                  <a:lnTo>
                    <a:pt x="154" y="216"/>
                  </a:lnTo>
                  <a:lnTo>
                    <a:pt x="75" y="216"/>
                  </a:lnTo>
                  <a:lnTo>
                    <a:pt x="75" y="19"/>
                  </a:lnTo>
                  <a:lnTo>
                    <a:pt x="107" y="10"/>
                  </a:lnTo>
                  <a:lnTo>
                    <a:pt x="107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28" y="19"/>
                  </a:lnTo>
                  <a:lnTo>
                    <a:pt x="28" y="216"/>
                  </a:lnTo>
                  <a:lnTo>
                    <a:pt x="0" y="221"/>
                  </a:lnTo>
                  <a:lnTo>
                    <a:pt x="0" y="235"/>
                  </a:lnTo>
                  <a:lnTo>
                    <a:pt x="337" y="235"/>
                  </a:lnTo>
                  <a:lnTo>
                    <a:pt x="337" y="305"/>
                  </a:lnTo>
                  <a:lnTo>
                    <a:pt x="347" y="305"/>
                  </a:lnTo>
                  <a:lnTo>
                    <a:pt x="365" y="216"/>
                  </a:lnTo>
                  <a:lnTo>
                    <a:pt x="328" y="216"/>
                  </a:lnTo>
                  <a:lnTo>
                    <a:pt x="328" y="1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87" name="Freeform 65"/>
            <p:cNvSpPr>
              <a:spLocks/>
            </p:cNvSpPr>
            <p:nvPr/>
          </p:nvSpPr>
          <p:spPr bwMode="auto">
            <a:xfrm>
              <a:off x="7033673" y="812309"/>
              <a:ext cx="90089" cy="123812"/>
            </a:xfrm>
            <a:custGeom>
              <a:avLst/>
              <a:gdLst>
                <a:gd name="T0" fmla="*/ 178 w 178"/>
                <a:gd name="T1" fmla="*/ 169 h 239"/>
                <a:gd name="T2" fmla="*/ 164 w 178"/>
                <a:gd name="T3" fmla="*/ 169 h 239"/>
                <a:gd name="T4" fmla="*/ 145 w 178"/>
                <a:gd name="T5" fmla="*/ 216 h 239"/>
                <a:gd name="T6" fmla="*/ 75 w 178"/>
                <a:gd name="T7" fmla="*/ 216 h 239"/>
                <a:gd name="T8" fmla="*/ 75 w 178"/>
                <a:gd name="T9" fmla="*/ 117 h 239"/>
                <a:gd name="T10" fmla="*/ 117 w 178"/>
                <a:gd name="T11" fmla="*/ 117 h 239"/>
                <a:gd name="T12" fmla="*/ 127 w 178"/>
                <a:gd name="T13" fmla="*/ 150 h 239"/>
                <a:gd name="T14" fmla="*/ 136 w 178"/>
                <a:gd name="T15" fmla="*/ 150 h 239"/>
                <a:gd name="T16" fmla="*/ 136 w 178"/>
                <a:gd name="T17" fmla="*/ 132 h 239"/>
                <a:gd name="T18" fmla="*/ 136 w 178"/>
                <a:gd name="T19" fmla="*/ 108 h 239"/>
                <a:gd name="T20" fmla="*/ 136 w 178"/>
                <a:gd name="T21" fmla="*/ 89 h 239"/>
                <a:gd name="T22" fmla="*/ 136 w 178"/>
                <a:gd name="T23" fmla="*/ 71 h 239"/>
                <a:gd name="T24" fmla="*/ 127 w 178"/>
                <a:gd name="T25" fmla="*/ 71 h 239"/>
                <a:gd name="T26" fmla="*/ 117 w 178"/>
                <a:gd name="T27" fmla="*/ 103 h 239"/>
                <a:gd name="T28" fmla="*/ 75 w 178"/>
                <a:gd name="T29" fmla="*/ 103 h 239"/>
                <a:gd name="T30" fmla="*/ 75 w 178"/>
                <a:gd name="T31" fmla="*/ 24 h 239"/>
                <a:gd name="T32" fmla="*/ 145 w 178"/>
                <a:gd name="T33" fmla="*/ 24 h 239"/>
                <a:gd name="T34" fmla="*/ 155 w 178"/>
                <a:gd name="T35" fmla="*/ 61 h 239"/>
                <a:gd name="T36" fmla="*/ 164 w 178"/>
                <a:gd name="T37" fmla="*/ 61 h 239"/>
                <a:gd name="T38" fmla="*/ 164 w 178"/>
                <a:gd name="T39" fmla="*/ 0 h 239"/>
                <a:gd name="T40" fmla="*/ 0 w 178"/>
                <a:gd name="T41" fmla="*/ 0 h 239"/>
                <a:gd name="T42" fmla="*/ 0 w 178"/>
                <a:gd name="T43" fmla="*/ 10 h 239"/>
                <a:gd name="T44" fmla="*/ 28 w 178"/>
                <a:gd name="T45" fmla="*/ 19 h 239"/>
                <a:gd name="T46" fmla="*/ 28 w 178"/>
                <a:gd name="T47" fmla="*/ 216 h 239"/>
                <a:gd name="T48" fmla="*/ 0 w 178"/>
                <a:gd name="T49" fmla="*/ 225 h 239"/>
                <a:gd name="T50" fmla="*/ 0 w 178"/>
                <a:gd name="T51" fmla="*/ 239 h 239"/>
                <a:gd name="T52" fmla="*/ 169 w 178"/>
                <a:gd name="T53" fmla="*/ 239 h 239"/>
                <a:gd name="T54" fmla="*/ 178 w 178"/>
                <a:gd name="T55" fmla="*/ 169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78" h="239">
                  <a:moveTo>
                    <a:pt x="178" y="169"/>
                  </a:moveTo>
                  <a:lnTo>
                    <a:pt x="164" y="169"/>
                  </a:lnTo>
                  <a:lnTo>
                    <a:pt x="145" y="216"/>
                  </a:lnTo>
                  <a:lnTo>
                    <a:pt x="75" y="216"/>
                  </a:lnTo>
                  <a:lnTo>
                    <a:pt x="75" y="117"/>
                  </a:lnTo>
                  <a:lnTo>
                    <a:pt x="117" y="117"/>
                  </a:lnTo>
                  <a:lnTo>
                    <a:pt x="127" y="150"/>
                  </a:lnTo>
                  <a:lnTo>
                    <a:pt x="136" y="150"/>
                  </a:lnTo>
                  <a:lnTo>
                    <a:pt x="136" y="132"/>
                  </a:lnTo>
                  <a:lnTo>
                    <a:pt x="136" y="108"/>
                  </a:lnTo>
                  <a:lnTo>
                    <a:pt x="136" y="89"/>
                  </a:lnTo>
                  <a:lnTo>
                    <a:pt x="136" y="71"/>
                  </a:lnTo>
                  <a:lnTo>
                    <a:pt x="127" y="71"/>
                  </a:lnTo>
                  <a:lnTo>
                    <a:pt x="117" y="103"/>
                  </a:lnTo>
                  <a:lnTo>
                    <a:pt x="75" y="103"/>
                  </a:lnTo>
                  <a:lnTo>
                    <a:pt x="75" y="24"/>
                  </a:lnTo>
                  <a:lnTo>
                    <a:pt x="145" y="24"/>
                  </a:lnTo>
                  <a:lnTo>
                    <a:pt x="155" y="61"/>
                  </a:lnTo>
                  <a:lnTo>
                    <a:pt x="164" y="61"/>
                  </a:lnTo>
                  <a:lnTo>
                    <a:pt x="164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28" y="19"/>
                  </a:lnTo>
                  <a:lnTo>
                    <a:pt x="28" y="216"/>
                  </a:lnTo>
                  <a:lnTo>
                    <a:pt x="0" y="225"/>
                  </a:lnTo>
                  <a:lnTo>
                    <a:pt x="0" y="239"/>
                  </a:lnTo>
                  <a:lnTo>
                    <a:pt x="169" y="239"/>
                  </a:lnTo>
                  <a:lnTo>
                    <a:pt x="178" y="16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88" name="Freeform 66"/>
            <p:cNvSpPr>
              <a:spLocks/>
            </p:cNvSpPr>
            <p:nvPr/>
          </p:nvSpPr>
          <p:spPr bwMode="auto">
            <a:xfrm>
              <a:off x="7148536" y="812309"/>
              <a:ext cx="130630" cy="123812"/>
            </a:xfrm>
            <a:custGeom>
              <a:avLst/>
              <a:gdLst>
                <a:gd name="T0" fmla="*/ 141 w 253"/>
                <a:gd name="T1" fmla="*/ 10 h 239"/>
                <a:gd name="T2" fmla="*/ 174 w 253"/>
                <a:gd name="T3" fmla="*/ 19 h 239"/>
                <a:gd name="T4" fmla="*/ 174 w 253"/>
                <a:gd name="T5" fmla="*/ 103 h 239"/>
                <a:gd name="T6" fmla="*/ 75 w 253"/>
                <a:gd name="T7" fmla="*/ 103 h 239"/>
                <a:gd name="T8" fmla="*/ 75 w 253"/>
                <a:gd name="T9" fmla="*/ 19 h 239"/>
                <a:gd name="T10" fmla="*/ 113 w 253"/>
                <a:gd name="T11" fmla="*/ 10 h 239"/>
                <a:gd name="T12" fmla="*/ 113 w 253"/>
                <a:gd name="T13" fmla="*/ 0 h 239"/>
                <a:gd name="T14" fmla="*/ 0 w 253"/>
                <a:gd name="T15" fmla="*/ 0 h 239"/>
                <a:gd name="T16" fmla="*/ 0 w 253"/>
                <a:gd name="T17" fmla="*/ 10 h 239"/>
                <a:gd name="T18" fmla="*/ 28 w 253"/>
                <a:gd name="T19" fmla="*/ 19 h 239"/>
                <a:gd name="T20" fmla="*/ 28 w 253"/>
                <a:gd name="T21" fmla="*/ 216 h 239"/>
                <a:gd name="T22" fmla="*/ 0 w 253"/>
                <a:gd name="T23" fmla="*/ 225 h 239"/>
                <a:gd name="T24" fmla="*/ 0 w 253"/>
                <a:gd name="T25" fmla="*/ 239 h 239"/>
                <a:gd name="T26" fmla="*/ 113 w 253"/>
                <a:gd name="T27" fmla="*/ 239 h 239"/>
                <a:gd name="T28" fmla="*/ 113 w 253"/>
                <a:gd name="T29" fmla="*/ 225 h 239"/>
                <a:gd name="T30" fmla="*/ 75 w 253"/>
                <a:gd name="T31" fmla="*/ 216 h 239"/>
                <a:gd name="T32" fmla="*/ 75 w 253"/>
                <a:gd name="T33" fmla="*/ 122 h 239"/>
                <a:gd name="T34" fmla="*/ 174 w 253"/>
                <a:gd name="T35" fmla="*/ 122 h 239"/>
                <a:gd name="T36" fmla="*/ 174 w 253"/>
                <a:gd name="T37" fmla="*/ 216 h 239"/>
                <a:gd name="T38" fmla="*/ 141 w 253"/>
                <a:gd name="T39" fmla="*/ 225 h 239"/>
                <a:gd name="T40" fmla="*/ 141 w 253"/>
                <a:gd name="T41" fmla="*/ 239 h 239"/>
                <a:gd name="T42" fmla="*/ 253 w 253"/>
                <a:gd name="T43" fmla="*/ 239 h 239"/>
                <a:gd name="T44" fmla="*/ 253 w 253"/>
                <a:gd name="T45" fmla="*/ 225 h 239"/>
                <a:gd name="T46" fmla="*/ 221 w 253"/>
                <a:gd name="T47" fmla="*/ 216 h 239"/>
                <a:gd name="T48" fmla="*/ 221 w 253"/>
                <a:gd name="T49" fmla="*/ 19 h 239"/>
                <a:gd name="T50" fmla="*/ 253 w 253"/>
                <a:gd name="T51" fmla="*/ 10 h 239"/>
                <a:gd name="T52" fmla="*/ 253 w 253"/>
                <a:gd name="T53" fmla="*/ 0 h 239"/>
                <a:gd name="T54" fmla="*/ 141 w 253"/>
                <a:gd name="T55" fmla="*/ 0 h 239"/>
                <a:gd name="T56" fmla="*/ 141 w 253"/>
                <a:gd name="T57" fmla="*/ 10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53" h="239">
                  <a:moveTo>
                    <a:pt x="141" y="10"/>
                  </a:moveTo>
                  <a:lnTo>
                    <a:pt x="174" y="19"/>
                  </a:lnTo>
                  <a:lnTo>
                    <a:pt x="174" y="103"/>
                  </a:lnTo>
                  <a:lnTo>
                    <a:pt x="75" y="103"/>
                  </a:lnTo>
                  <a:lnTo>
                    <a:pt x="75" y="19"/>
                  </a:lnTo>
                  <a:lnTo>
                    <a:pt x="113" y="10"/>
                  </a:lnTo>
                  <a:lnTo>
                    <a:pt x="113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28" y="19"/>
                  </a:lnTo>
                  <a:lnTo>
                    <a:pt x="28" y="216"/>
                  </a:lnTo>
                  <a:lnTo>
                    <a:pt x="0" y="225"/>
                  </a:lnTo>
                  <a:lnTo>
                    <a:pt x="0" y="239"/>
                  </a:lnTo>
                  <a:lnTo>
                    <a:pt x="113" y="239"/>
                  </a:lnTo>
                  <a:lnTo>
                    <a:pt x="113" y="225"/>
                  </a:lnTo>
                  <a:lnTo>
                    <a:pt x="75" y="216"/>
                  </a:lnTo>
                  <a:lnTo>
                    <a:pt x="75" y="122"/>
                  </a:lnTo>
                  <a:lnTo>
                    <a:pt x="174" y="122"/>
                  </a:lnTo>
                  <a:lnTo>
                    <a:pt x="174" y="216"/>
                  </a:lnTo>
                  <a:lnTo>
                    <a:pt x="141" y="225"/>
                  </a:lnTo>
                  <a:lnTo>
                    <a:pt x="141" y="239"/>
                  </a:lnTo>
                  <a:lnTo>
                    <a:pt x="253" y="239"/>
                  </a:lnTo>
                  <a:lnTo>
                    <a:pt x="253" y="225"/>
                  </a:lnTo>
                  <a:lnTo>
                    <a:pt x="221" y="216"/>
                  </a:lnTo>
                  <a:lnTo>
                    <a:pt x="221" y="19"/>
                  </a:lnTo>
                  <a:lnTo>
                    <a:pt x="253" y="10"/>
                  </a:lnTo>
                  <a:lnTo>
                    <a:pt x="253" y="0"/>
                  </a:lnTo>
                  <a:lnTo>
                    <a:pt x="141" y="0"/>
                  </a:lnTo>
                  <a:lnTo>
                    <a:pt x="141" y="1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89" name="Freeform 67"/>
            <p:cNvSpPr>
              <a:spLocks/>
            </p:cNvSpPr>
            <p:nvPr/>
          </p:nvSpPr>
          <p:spPr bwMode="auto">
            <a:xfrm>
              <a:off x="7301687" y="812309"/>
              <a:ext cx="130630" cy="123812"/>
            </a:xfrm>
            <a:custGeom>
              <a:avLst/>
              <a:gdLst>
                <a:gd name="T0" fmla="*/ 140 w 253"/>
                <a:gd name="T1" fmla="*/ 10 h 239"/>
                <a:gd name="T2" fmla="*/ 173 w 253"/>
                <a:gd name="T3" fmla="*/ 19 h 239"/>
                <a:gd name="T4" fmla="*/ 173 w 253"/>
                <a:gd name="T5" fmla="*/ 24 h 239"/>
                <a:gd name="T6" fmla="*/ 75 w 253"/>
                <a:gd name="T7" fmla="*/ 183 h 239"/>
                <a:gd name="T8" fmla="*/ 75 w 253"/>
                <a:gd name="T9" fmla="*/ 19 h 239"/>
                <a:gd name="T10" fmla="*/ 112 w 253"/>
                <a:gd name="T11" fmla="*/ 10 h 239"/>
                <a:gd name="T12" fmla="*/ 112 w 253"/>
                <a:gd name="T13" fmla="*/ 0 h 239"/>
                <a:gd name="T14" fmla="*/ 0 w 253"/>
                <a:gd name="T15" fmla="*/ 0 h 239"/>
                <a:gd name="T16" fmla="*/ 0 w 253"/>
                <a:gd name="T17" fmla="*/ 10 h 239"/>
                <a:gd name="T18" fmla="*/ 28 w 253"/>
                <a:gd name="T19" fmla="*/ 19 h 239"/>
                <a:gd name="T20" fmla="*/ 28 w 253"/>
                <a:gd name="T21" fmla="*/ 216 h 239"/>
                <a:gd name="T22" fmla="*/ 0 w 253"/>
                <a:gd name="T23" fmla="*/ 225 h 239"/>
                <a:gd name="T24" fmla="*/ 0 w 253"/>
                <a:gd name="T25" fmla="*/ 239 h 239"/>
                <a:gd name="T26" fmla="*/ 112 w 253"/>
                <a:gd name="T27" fmla="*/ 239 h 239"/>
                <a:gd name="T28" fmla="*/ 112 w 253"/>
                <a:gd name="T29" fmla="*/ 225 h 239"/>
                <a:gd name="T30" fmla="*/ 75 w 253"/>
                <a:gd name="T31" fmla="*/ 216 h 239"/>
                <a:gd name="T32" fmla="*/ 75 w 253"/>
                <a:gd name="T33" fmla="*/ 216 h 239"/>
                <a:gd name="T34" fmla="*/ 173 w 253"/>
                <a:gd name="T35" fmla="*/ 52 h 239"/>
                <a:gd name="T36" fmla="*/ 173 w 253"/>
                <a:gd name="T37" fmla="*/ 216 h 239"/>
                <a:gd name="T38" fmla="*/ 140 w 253"/>
                <a:gd name="T39" fmla="*/ 225 h 239"/>
                <a:gd name="T40" fmla="*/ 140 w 253"/>
                <a:gd name="T41" fmla="*/ 239 h 239"/>
                <a:gd name="T42" fmla="*/ 253 w 253"/>
                <a:gd name="T43" fmla="*/ 239 h 239"/>
                <a:gd name="T44" fmla="*/ 253 w 253"/>
                <a:gd name="T45" fmla="*/ 225 h 239"/>
                <a:gd name="T46" fmla="*/ 220 w 253"/>
                <a:gd name="T47" fmla="*/ 216 h 239"/>
                <a:gd name="T48" fmla="*/ 220 w 253"/>
                <a:gd name="T49" fmla="*/ 19 h 239"/>
                <a:gd name="T50" fmla="*/ 253 w 253"/>
                <a:gd name="T51" fmla="*/ 10 h 239"/>
                <a:gd name="T52" fmla="*/ 253 w 253"/>
                <a:gd name="T53" fmla="*/ 0 h 239"/>
                <a:gd name="T54" fmla="*/ 140 w 253"/>
                <a:gd name="T55" fmla="*/ 0 h 239"/>
                <a:gd name="T56" fmla="*/ 140 w 253"/>
                <a:gd name="T57" fmla="*/ 10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53" h="239">
                  <a:moveTo>
                    <a:pt x="140" y="10"/>
                  </a:moveTo>
                  <a:lnTo>
                    <a:pt x="173" y="19"/>
                  </a:lnTo>
                  <a:lnTo>
                    <a:pt x="173" y="24"/>
                  </a:lnTo>
                  <a:lnTo>
                    <a:pt x="75" y="183"/>
                  </a:lnTo>
                  <a:lnTo>
                    <a:pt x="75" y="19"/>
                  </a:lnTo>
                  <a:lnTo>
                    <a:pt x="112" y="10"/>
                  </a:lnTo>
                  <a:lnTo>
                    <a:pt x="112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28" y="19"/>
                  </a:lnTo>
                  <a:lnTo>
                    <a:pt x="28" y="216"/>
                  </a:lnTo>
                  <a:lnTo>
                    <a:pt x="0" y="225"/>
                  </a:lnTo>
                  <a:lnTo>
                    <a:pt x="0" y="239"/>
                  </a:lnTo>
                  <a:lnTo>
                    <a:pt x="112" y="239"/>
                  </a:lnTo>
                  <a:lnTo>
                    <a:pt x="112" y="225"/>
                  </a:lnTo>
                  <a:lnTo>
                    <a:pt x="75" y="216"/>
                  </a:lnTo>
                  <a:lnTo>
                    <a:pt x="75" y="216"/>
                  </a:lnTo>
                  <a:lnTo>
                    <a:pt x="173" y="52"/>
                  </a:lnTo>
                  <a:lnTo>
                    <a:pt x="173" y="216"/>
                  </a:lnTo>
                  <a:lnTo>
                    <a:pt x="140" y="225"/>
                  </a:lnTo>
                  <a:lnTo>
                    <a:pt x="140" y="239"/>
                  </a:lnTo>
                  <a:lnTo>
                    <a:pt x="253" y="239"/>
                  </a:lnTo>
                  <a:lnTo>
                    <a:pt x="253" y="225"/>
                  </a:lnTo>
                  <a:lnTo>
                    <a:pt x="220" y="216"/>
                  </a:lnTo>
                  <a:lnTo>
                    <a:pt x="220" y="19"/>
                  </a:lnTo>
                  <a:lnTo>
                    <a:pt x="253" y="10"/>
                  </a:lnTo>
                  <a:lnTo>
                    <a:pt x="253" y="0"/>
                  </a:lnTo>
                  <a:lnTo>
                    <a:pt x="140" y="0"/>
                  </a:lnTo>
                  <a:lnTo>
                    <a:pt x="140" y="1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90" name="Freeform 68"/>
            <p:cNvSpPr>
              <a:spLocks/>
            </p:cNvSpPr>
            <p:nvPr/>
          </p:nvSpPr>
          <p:spPr bwMode="auto">
            <a:xfrm>
              <a:off x="7450333" y="812309"/>
              <a:ext cx="94593" cy="123812"/>
            </a:xfrm>
            <a:custGeom>
              <a:avLst/>
              <a:gdLst>
                <a:gd name="T0" fmla="*/ 169 w 183"/>
                <a:gd name="T1" fmla="*/ 169 h 239"/>
                <a:gd name="T2" fmla="*/ 150 w 183"/>
                <a:gd name="T3" fmla="*/ 216 h 239"/>
                <a:gd name="T4" fmla="*/ 80 w 183"/>
                <a:gd name="T5" fmla="*/ 216 h 239"/>
                <a:gd name="T6" fmla="*/ 80 w 183"/>
                <a:gd name="T7" fmla="*/ 117 h 239"/>
                <a:gd name="T8" fmla="*/ 122 w 183"/>
                <a:gd name="T9" fmla="*/ 117 h 239"/>
                <a:gd name="T10" fmla="*/ 132 w 183"/>
                <a:gd name="T11" fmla="*/ 150 h 239"/>
                <a:gd name="T12" fmla="*/ 141 w 183"/>
                <a:gd name="T13" fmla="*/ 150 h 239"/>
                <a:gd name="T14" fmla="*/ 141 w 183"/>
                <a:gd name="T15" fmla="*/ 108 h 239"/>
                <a:gd name="T16" fmla="*/ 141 w 183"/>
                <a:gd name="T17" fmla="*/ 71 h 239"/>
                <a:gd name="T18" fmla="*/ 132 w 183"/>
                <a:gd name="T19" fmla="*/ 71 h 239"/>
                <a:gd name="T20" fmla="*/ 122 w 183"/>
                <a:gd name="T21" fmla="*/ 103 h 239"/>
                <a:gd name="T22" fmla="*/ 80 w 183"/>
                <a:gd name="T23" fmla="*/ 103 h 239"/>
                <a:gd name="T24" fmla="*/ 80 w 183"/>
                <a:gd name="T25" fmla="*/ 24 h 239"/>
                <a:gd name="T26" fmla="*/ 146 w 183"/>
                <a:gd name="T27" fmla="*/ 24 h 239"/>
                <a:gd name="T28" fmla="*/ 160 w 183"/>
                <a:gd name="T29" fmla="*/ 61 h 239"/>
                <a:gd name="T30" fmla="*/ 169 w 183"/>
                <a:gd name="T31" fmla="*/ 61 h 239"/>
                <a:gd name="T32" fmla="*/ 169 w 183"/>
                <a:gd name="T33" fmla="*/ 0 h 239"/>
                <a:gd name="T34" fmla="*/ 0 w 183"/>
                <a:gd name="T35" fmla="*/ 0 h 239"/>
                <a:gd name="T36" fmla="*/ 0 w 183"/>
                <a:gd name="T37" fmla="*/ 10 h 239"/>
                <a:gd name="T38" fmla="*/ 33 w 183"/>
                <a:gd name="T39" fmla="*/ 19 h 239"/>
                <a:gd name="T40" fmla="*/ 33 w 183"/>
                <a:gd name="T41" fmla="*/ 216 h 239"/>
                <a:gd name="T42" fmla="*/ 0 w 183"/>
                <a:gd name="T43" fmla="*/ 225 h 239"/>
                <a:gd name="T44" fmla="*/ 0 w 183"/>
                <a:gd name="T45" fmla="*/ 239 h 239"/>
                <a:gd name="T46" fmla="*/ 174 w 183"/>
                <a:gd name="T47" fmla="*/ 239 h 239"/>
                <a:gd name="T48" fmla="*/ 183 w 183"/>
                <a:gd name="T49" fmla="*/ 169 h 239"/>
                <a:gd name="T50" fmla="*/ 169 w 183"/>
                <a:gd name="T51" fmla="*/ 169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83" h="239">
                  <a:moveTo>
                    <a:pt x="169" y="169"/>
                  </a:moveTo>
                  <a:lnTo>
                    <a:pt x="150" y="216"/>
                  </a:lnTo>
                  <a:lnTo>
                    <a:pt x="80" y="216"/>
                  </a:lnTo>
                  <a:lnTo>
                    <a:pt x="80" y="117"/>
                  </a:lnTo>
                  <a:lnTo>
                    <a:pt x="122" y="117"/>
                  </a:lnTo>
                  <a:lnTo>
                    <a:pt x="132" y="150"/>
                  </a:lnTo>
                  <a:lnTo>
                    <a:pt x="141" y="150"/>
                  </a:lnTo>
                  <a:lnTo>
                    <a:pt x="141" y="108"/>
                  </a:lnTo>
                  <a:lnTo>
                    <a:pt x="141" y="71"/>
                  </a:lnTo>
                  <a:lnTo>
                    <a:pt x="132" y="71"/>
                  </a:lnTo>
                  <a:lnTo>
                    <a:pt x="122" y="103"/>
                  </a:lnTo>
                  <a:lnTo>
                    <a:pt x="80" y="103"/>
                  </a:lnTo>
                  <a:lnTo>
                    <a:pt x="80" y="24"/>
                  </a:lnTo>
                  <a:lnTo>
                    <a:pt x="146" y="24"/>
                  </a:lnTo>
                  <a:lnTo>
                    <a:pt x="160" y="61"/>
                  </a:lnTo>
                  <a:lnTo>
                    <a:pt x="169" y="61"/>
                  </a:lnTo>
                  <a:lnTo>
                    <a:pt x="169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33" y="19"/>
                  </a:lnTo>
                  <a:lnTo>
                    <a:pt x="33" y="216"/>
                  </a:lnTo>
                  <a:lnTo>
                    <a:pt x="0" y="225"/>
                  </a:lnTo>
                  <a:lnTo>
                    <a:pt x="0" y="239"/>
                  </a:lnTo>
                  <a:lnTo>
                    <a:pt x="174" y="239"/>
                  </a:lnTo>
                  <a:lnTo>
                    <a:pt x="183" y="169"/>
                  </a:lnTo>
                  <a:lnTo>
                    <a:pt x="169" y="16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91" name="Freeform 69"/>
            <p:cNvSpPr>
              <a:spLocks noEditPoints="1"/>
            </p:cNvSpPr>
            <p:nvPr/>
          </p:nvSpPr>
          <p:spPr bwMode="auto">
            <a:xfrm>
              <a:off x="6671066" y="443121"/>
              <a:ext cx="238735" cy="308406"/>
            </a:xfrm>
            <a:custGeom>
              <a:avLst/>
              <a:gdLst>
                <a:gd name="T0" fmla="*/ 230 w 464"/>
                <a:gd name="T1" fmla="*/ 595 h 595"/>
                <a:gd name="T2" fmla="*/ 431 w 464"/>
                <a:gd name="T3" fmla="*/ 511 h 595"/>
                <a:gd name="T4" fmla="*/ 464 w 464"/>
                <a:gd name="T5" fmla="*/ 65 h 595"/>
                <a:gd name="T6" fmla="*/ 230 w 464"/>
                <a:gd name="T7" fmla="*/ 0 h 595"/>
                <a:gd name="T8" fmla="*/ 117 w 464"/>
                <a:gd name="T9" fmla="*/ 32 h 595"/>
                <a:gd name="T10" fmla="*/ 0 w 464"/>
                <a:gd name="T11" fmla="*/ 65 h 595"/>
                <a:gd name="T12" fmla="*/ 28 w 464"/>
                <a:gd name="T13" fmla="*/ 511 h 595"/>
                <a:gd name="T14" fmla="*/ 117 w 464"/>
                <a:gd name="T15" fmla="*/ 548 h 595"/>
                <a:gd name="T16" fmla="*/ 230 w 464"/>
                <a:gd name="T17" fmla="*/ 595 h 595"/>
                <a:gd name="T18" fmla="*/ 117 w 464"/>
                <a:gd name="T19" fmla="*/ 61 h 595"/>
                <a:gd name="T20" fmla="*/ 117 w 464"/>
                <a:gd name="T21" fmla="*/ 61 h 595"/>
                <a:gd name="T22" fmla="*/ 164 w 464"/>
                <a:gd name="T23" fmla="*/ 46 h 595"/>
                <a:gd name="T24" fmla="*/ 117 w 464"/>
                <a:gd name="T25" fmla="*/ 126 h 595"/>
                <a:gd name="T26" fmla="*/ 75 w 464"/>
                <a:gd name="T27" fmla="*/ 201 h 595"/>
                <a:gd name="T28" fmla="*/ 75 w 464"/>
                <a:gd name="T29" fmla="*/ 145 h 595"/>
                <a:gd name="T30" fmla="*/ 70 w 464"/>
                <a:gd name="T31" fmla="*/ 75 h 595"/>
                <a:gd name="T32" fmla="*/ 117 w 464"/>
                <a:gd name="T33" fmla="*/ 61 h 595"/>
                <a:gd name="T34" fmla="*/ 56 w 464"/>
                <a:gd name="T35" fmla="*/ 492 h 595"/>
                <a:gd name="T36" fmla="*/ 56 w 464"/>
                <a:gd name="T37" fmla="*/ 492 h 595"/>
                <a:gd name="T38" fmla="*/ 37 w 464"/>
                <a:gd name="T39" fmla="*/ 295 h 595"/>
                <a:gd name="T40" fmla="*/ 80 w 464"/>
                <a:gd name="T41" fmla="*/ 300 h 595"/>
                <a:gd name="T42" fmla="*/ 117 w 464"/>
                <a:gd name="T43" fmla="*/ 243 h 595"/>
                <a:gd name="T44" fmla="*/ 164 w 464"/>
                <a:gd name="T45" fmla="*/ 159 h 595"/>
                <a:gd name="T46" fmla="*/ 164 w 464"/>
                <a:gd name="T47" fmla="*/ 211 h 595"/>
                <a:gd name="T48" fmla="*/ 164 w 464"/>
                <a:gd name="T49" fmla="*/ 304 h 595"/>
                <a:gd name="T50" fmla="*/ 230 w 464"/>
                <a:gd name="T51" fmla="*/ 309 h 595"/>
                <a:gd name="T52" fmla="*/ 230 w 464"/>
                <a:gd name="T53" fmla="*/ 28 h 595"/>
                <a:gd name="T54" fmla="*/ 436 w 464"/>
                <a:gd name="T55" fmla="*/ 84 h 595"/>
                <a:gd name="T56" fmla="*/ 422 w 464"/>
                <a:gd name="T57" fmla="*/ 295 h 595"/>
                <a:gd name="T58" fmla="*/ 361 w 464"/>
                <a:gd name="T59" fmla="*/ 300 h 595"/>
                <a:gd name="T60" fmla="*/ 370 w 464"/>
                <a:gd name="T61" fmla="*/ 121 h 595"/>
                <a:gd name="T62" fmla="*/ 300 w 464"/>
                <a:gd name="T63" fmla="*/ 107 h 595"/>
                <a:gd name="T64" fmla="*/ 295 w 464"/>
                <a:gd name="T65" fmla="*/ 304 h 595"/>
                <a:gd name="T66" fmla="*/ 230 w 464"/>
                <a:gd name="T67" fmla="*/ 309 h 595"/>
                <a:gd name="T68" fmla="*/ 230 w 464"/>
                <a:gd name="T69" fmla="*/ 562 h 595"/>
                <a:gd name="T70" fmla="*/ 117 w 464"/>
                <a:gd name="T71" fmla="*/ 520 h 595"/>
                <a:gd name="T72" fmla="*/ 56 w 464"/>
                <a:gd name="T73" fmla="*/ 492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64" h="595">
                  <a:moveTo>
                    <a:pt x="230" y="595"/>
                  </a:moveTo>
                  <a:lnTo>
                    <a:pt x="431" y="511"/>
                  </a:lnTo>
                  <a:lnTo>
                    <a:pt x="464" y="65"/>
                  </a:lnTo>
                  <a:lnTo>
                    <a:pt x="230" y="0"/>
                  </a:lnTo>
                  <a:lnTo>
                    <a:pt x="117" y="32"/>
                  </a:lnTo>
                  <a:lnTo>
                    <a:pt x="0" y="65"/>
                  </a:lnTo>
                  <a:lnTo>
                    <a:pt x="28" y="511"/>
                  </a:lnTo>
                  <a:lnTo>
                    <a:pt x="117" y="548"/>
                  </a:lnTo>
                  <a:lnTo>
                    <a:pt x="230" y="595"/>
                  </a:lnTo>
                  <a:close/>
                  <a:moveTo>
                    <a:pt x="117" y="61"/>
                  </a:moveTo>
                  <a:lnTo>
                    <a:pt x="117" y="61"/>
                  </a:lnTo>
                  <a:lnTo>
                    <a:pt x="164" y="46"/>
                  </a:lnTo>
                  <a:lnTo>
                    <a:pt x="117" y="126"/>
                  </a:lnTo>
                  <a:lnTo>
                    <a:pt x="75" y="201"/>
                  </a:lnTo>
                  <a:lnTo>
                    <a:pt x="75" y="145"/>
                  </a:lnTo>
                  <a:lnTo>
                    <a:pt x="70" y="75"/>
                  </a:lnTo>
                  <a:lnTo>
                    <a:pt x="117" y="61"/>
                  </a:lnTo>
                  <a:close/>
                  <a:moveTo>
                    <a:pt x="56" y="492"/>
                  </a:moveTo>
                  <a:lnTo>
                    <a:pt x="56" y="492"/>
                  </a:lnTo>
                  <a:lnTo>
                    <a:pt x="37" y="295"/>
                  </a:lnTo>
                  <a:lnTo>
                    <a:pt x="80" y="300"/>
                  </a:lnTo>
                  <a:lnTo>
                    <a:pt x="117" y="243"/>
                  </a:lnTo>
                  <a:lnTo>
                    <a:pt x="164" y="159"/>
                  </a:lnTo>
                  <a:lnTo>
                    <a:pt x="164" y="211"/>
                  </a:lnTo>
                  <a:lnTo>
                    <a:pt x="164" y="304"/>
                  </a:lnTo>
                  <a:lnTo>
                    <a:pt x="230" y="309"/>
                  </a:lnTo>
                  <a:lnTo>
                    <a:pt x="230" y="28"/>
                  </a:lnTo>
                  <a:lnTo>
                    <a:pt x="436" y="84"/>
                  </a:lnTo>
                  <a:lnTo>
                    <a:pt x="422" y="295"/>
                  </a:lnTo>
                  <a:lnTo>
                    <a:pt x="361" y="300"/>
                  </a:lnTo>
                  <a:lnTo>
                    <a:pt x="370" y="121"/>
                  </a:lnTo>
                  <a:lnTo>
                    <a:pt x="300" y="107"/>
                  </a:lnTo>
                  <a:lnTo>
                    <a:pt x="295" y="304"/>
                  </a:lnTo>
                  <a:lnTo>
                    <a:pt x="230" y="309"/>
                  </a:lnTo>
                  <a:lnTo>
                    <a:pt x="230" y="562"/>
                  </a:lnTo>
                  <a:lnTo>
                    <a:pt x="117" y="520"/>
                  </a:lnTo>
                  <a:lnTo>
                    <a:pt x="56" y="49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</p:grpSp>
      <p:graphicFrame>
        <p:nvGraphicFramePr>
          <p:cNvPr id="7" name="Объект 6" hidden="1">
            <a:extLst>
              <a:ext uri="{FF2B5EF4-FFF2-40B4-BE49-F238E27FC236}">
                <a16:creationId xmlns:a16="http://schemas.microsoft.com/office/drawing/2014/main" id="{F28B5AF9-254C-449F-805A-200563AB240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35" name="Слайд think-cell" r:id="rId6" imgW="359" imgH="360" progId="TCLayout.ActiveDocument.1">
                  <p:embed/>
                </p:oleObj>
              </mc:Choice>
              <mc:Fallback>
                <p:oleObj name="Слайд think-cell" r:id="rId6" imgW="359" imgH="360" progId="TCLayout.ActiveDocument.1">
                  <p:embed/>
                  <p:pic>
                    <p:nvPicPr>
                      <p:cNvPr id="7" name="Объект 6" hidden="1">
                        <a:extLst>
                          <a:ext uri="{FF2B5EF4-FFF2-40B4-BE49-F238E27FC236}">
                            <a16:creationId xmlns:a16="http://schemas.microsoft.com/office/drawing/2014/main" id="{F28B5AF9-254C-449F-805A-200563AB24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>
            <a:extLst>
              <a:ext uri="{FF2B5EF4-FFF2-40B4-BE49-F238E27FC236}">
                <a16:creationId xmlns:a16="http://schemas.microsoft.com/office/drawing/2014/main" id="{D7EC1761-6312-4AB4-8DAC-F08C2EC72D3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5467" dirty="0"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  <a:sym typeface="Open Sans Light" panose="020B0306030504020204" pitchFamily="34" charset="0"/>
            </a:endParaRP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285954" y="4175011"/>
            <a:ext cx="10142632" cy="997196"/>
          </a:xfrm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0"/>
              </a:spcBef>
            </a:pPr>
            <a:r>
              <a:rPr lang="ru-RU" sz="3600" b="1" dirty="0">
                <a:solidFill>
                  <a:srgbClr val="2D2B8D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Современный курс физики. Может ли классика быть современной?</a:t>
            </a:r>
            <a:endParaRPr lang="ru-RU" sz="2800" dirty="0">
              <a:solidFill>
                <a:srgbClr val="2D2B8D"/>
              </a:solidFill>
              <a:latin typeface="Cambria" panose="02040503050406030204" pitchFamily="18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8" name="AutoShape 4"/>
          <p:cNvSpPr>
            <a:spLocks noChangeAspect="1" noChangeArrowheads="1" noTextEdit="1"/>
          </p:cNvSpPr>
          <p:nvPr/>
        </p:nvSpPr>
        <p:spPr bwMode="auto">
          <a:xfrm>
            <a:off x="10099577" y="300998"/>
            <a:ext cx="1500931" cy="5180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sz="2400" dirty="0">
              <a:solidFill>
                <a:schemeClr val="bg1"/>
              </a:solidFill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186184" y="6405331"/>
            <a:ext cx="11819633" cy="2871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933" dirty="0">
                <a:solidFill>
                  <a:schemeClr val="bg1">
                    <a:lumMod val="5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Все права защищены. Никакая часть презентации не может быть воспроизведена в какой бы то ни было форме и какими бы то ни было средствами, включая размещение в Интернете и в корпоративных сетях, а также запись в память ЭВМ, </a:t>
            </a:r>
            <a:r>
              <a:rPr lang="ru-RU" sz="933" dirty="0" smtClean="0">
                <a:solidFill>
                  <a:schemeClr val="bg1">
                    <a:lumMod val="5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для </a:t>
            </a:r>
            <a:r>
              <a:rPr lang="ru-RU" sz="933" dirty="0">
                <a:solidFill>
                  <a:schemeClr val="bg1">
                    <a:lumMod val="5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частного или публичного использования, без письменного разрешения владельца авторских прав. © АО «Издательство «Просвещение», 20</a:t>
            </a:r>
            <a:r>
              <a:rPr lang="en-US" sz="933" dirty="0" smtClean="0">
                <a:solidFill>
                  <a:schemeClr val="bg1">
                    <a:lumMod val="5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21</a:t>
            </a:r>
            <a:r>
              <a:rPr lang="ru-RU" sz="933" dirty="0" smtClean="0">
                <a:solidFill>
                  <a:schemeClr val="bg1">
                    <a:lumMod val="5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ru-RU" sz="933" dirty="0">
                <a:solidFill>
                  <a:schemeClr val="bg1">
                    <a:lumMod val="5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г.</a:t>
            </a:r>
          </a:p>
        </p:txBody>
      </p:sp>
      <p:grpSp>
        <p:nvGrpSpPr>
          <p:cNvPr id="17" name="Группа 16"/>
          <p:cNvGrpSpPr/>
          <p:nvPr/>
        </p:nvGrpSpPr>
        <p:grpSpPr>
          <a:xfrm>
            <a:off x="9254339" y="1860330"/>
            <a:ext cx="1023938" cy="336550"/>
            <a:chOff x="8812213" y="4892675"/>
            <a:chExt cx="1023938" cy="336550"/>
          </a:xfrm>
        </p:grpSpPr>
        <p:sp>
          <p:nvSpPr>
            <p:cNvPr id="15" name="Freeform 13"/>
            <p:cNvSpPr>
              <a:spLocks noEditPoints="1"/>
            </p:cNvSpPr>
            <p:nvPr/>
          </p:nvSpPr>
          <p:spPr bwMode="auto">
            <a:xfrm>
              <a:off x="8812213" y="4892675"/>
              <a:ext cx="215900" cy="331788"/>
            </a:xfrm>
            <a:custGeom>
              <a:avLst/>
              <a:gdLst>
                <a:gd name="T0" fmla="*/ 137 w 592"/>
                <a:gd name="T1" fmla="*/ 34 h 904"/>
                <a:gd name="T2" fmla="*/ 126 w 592"/>
                <a:gd name="T3" fmla="*/ 55 h 904"/>
                <a:gd name="T4" fmla="*/ 133 w 592"/>
                <a:gd name="T5" fmla="*/ 81 h 904"/>
                <a:gd name="T6" fmla="*/ 146 w 592"/>
                <a:gd name="T7" fmla="*/ 112 h 904"/>
                <a:gd name="T8" fmla="*/ 138 w 592"/>
                <a:gd name="T9" fmla="*/ 135 h 904"/>
                <a:gd name="T10" fmla="*/ 57 w 592"/>
                <a:gd name="T11" fmla="*/ 176 h 904"/>
                <a:gd name="T12" fmla="*/ 42 w 592"/>
                <a:gd name="T13" fmla="*/ 191 h 904"/>
                <a:gd name="T14" fmla="*/ 23 w 592"/>
                <a:gd name="T15" fmla="*/ 240 h 904"/>
                <a:gd name="T16" fmla="*/ 6 w 592"/>
                <a:gd name="T17" fmla="*/ 292 h 904"/>
                <a:gd name="T18" fmla="*/ 7 w 592"/>
                <a:gd name="T19" fmla="*/ 326 h 904"/>
                <a:gd name="T20" fmla="*/ 21 w 592"/>
                <a:gd name="T21" fmla="*/ 371 h 904"/>
                <a:gd name="T22" fmla="*/ 14 w 592"/>
                <a:gd name="T23" fmla="*/ 421 h 904"/>
                <a:gd name="T24" fmla="*/ 175 w 592"/>
                <a:gd name="T25" fmla="*/ 620 h 904"/>
                <a:gd name="T26" fmla="*/ 208 w 592"/>
                <a:gd name="T27" fmla="*/ 661 h 904"/>
                <a:gd name="T28" fmla="*/ 70 w 592"/>
                <a:gd name="T29" fmla="*/ 666 h 904"/>
                <a:gd name="T30" fmla="*/ 86 w 592"/>
                <a:gd name="T31" fmla="*/ 709 h 904"/>
                <a:gd name="T32" fmla="*/ 14 w 592"/>
                <a:gd name="T33" fmla="*/ 768 h 904"/>
                <a:gd name="T34" fmla="*/ 205 w 592"/>
                <a:gd name="T35" fmla="*/ 745 h 904"/>
                <a:gd name="T36" fmla="*/ 275 w 592"/>
                <a:gd name="T37" fmla="*/ 787 h 904"/>
                <a:gd name="T38" fmla="*/ 275 w 592"/>
                <a:gd name="T39" fmla="*/ 756 h 904"/>
                <a:gd name="T40" fmla="*/ 288 w 592"/>
                <a:gd name="T41" fmla="*/ 764 h 904"/>
                <a:gd name="T42" fmla="*/ 295 w 592"/>
                <a:gd name="T43" fmla="*/ 803 h 904"/>
                <a:gd name="T44" fmla="*/ 287 w 592"/>
                <a:gd name="T45" fmla="*/ 846 h 904"/>
                <a:gd name="T46" fmla="*/ 316 w 592"/>
                <a:gd name="T47" fmla="*/ 867 h 904"/>
                <a:gd name="T48" fmla="*/ 334 w 592"/>
                <a:gd name="T49" fmla="*/ 892 h 904"/>
                <a:gd name="T50" fmla="*/ 389 w 592"/>
                <a:gd name="T51" fmla="*/ 898 h 904"/>
                <a:gd name="T52" fmla="*/ 375 w 592"/>
                <a:gd name="T53" fmla="*/ 852 h 904"/>
                <a:gd name="T54" fmla="*/ 340 w 592"/>
                <a:gd name="T55" fmla="*/ 764 h 904"/>
                <a:gd name="T56" fmla="*/ 352 w 592"/>
                <a:gd name="T57" fmla="*/ 756 h 904"/>
                <a:gd name="T58" fmla="*/ 436 w 592"/>
                <a:gd name="T59" fmla="*/ 745 h 904"/>
                <a:gd name="T60" fmla="*/ 352 w 592"/>
                <a:gd name="T61" fmla="*/ 702 h 904"/>
                <a:gd name="T62" fmla="*/ 400 w 592"/>
                <a:gd name="T63" fmla="*/ 655 h 904"/>
                <a:gd name="T64" fmla="*/ 425 w 592"/>
                <a:gd name="T65" fmla="*/ 657 h 904"/>
                <a:gd name="T66" fmla="*/ 448 w 592"/>
                <a:gd name="T67" fmla="*/ 734 h 904"/>
                <a:gd name="T68" fmla="*/ 459 w 592"/>
                <a:gd name="T69" fmla="*/ 759 h 904"/>
                <a:gd name="T70" fmla="*/ 494 w 592"/>
                <a:gd name="T71" fmla="*/ 759 h 904"/>
                <a:gd name="T72" fmla="*/ 581 w 592"/>
                <a:gd name="T73" fmla="*/ 741 h 904"/>
                <a:gd name="T74" fmla="*/ 591 w 592"/>
                <a:gd name="T75" fmla="*/ 730 h 904"/>
                <a:gd name="T76" fmla="*/ 548 w 592"/>
                <a:gd name="T77" fmla="*/ 707 h 904"/>
                <a:gd name="T78" fmla="*/ 452 w 592"/>
                <a:gd name="T79" fmla="*/ 623 h 904"/>
                <a:gd name="T80" fmla="*/ 466 w 592"/>
                <a:gd name="T81" fmla="*/ 585 h 904"/>
                <a:gd name="T82" fmla="*/ 387 w 592"/>
                <a:gd name="T83" fmla="*/ 415 h 904"/>
                <a:gd name="T84" fmla="*/ 370 w 592"/>
                <a:gd name="T85" fmla="*/ 380 h 904"/>
                <a:gd name="T86" fmla="*/ 377 w 592"/>
                <a:gd name="T87" fmla="*/ 358 h 904"/>
                <a:gd name="T88" fmla="*/ 356 w 592"/>
                <a:gd name="T89" fmla="*/ 310 h 904"/>
                <a:gd name="T90" fmla="*/ 325 w 592"/>
                <a:gd name="T91" fmla="*/ 254 h 904"/>
                <a:gd name="T92" fmla="*/ 291 w 592"/>
                <a:gd name="T93" fmla="*/ 186 h 904"/>
                <a:gd name="T94" fmla="*/ 277 w 592"/>
                <a:gd name="T95" fmla="*/ 176 h 904"/>
                <a:gd name="T96" fmla="*/ 211 w 592"/>
                <a:gd name="T97" fmla="*/ 153 h 904"/>
                <a:gd name="T98" fmla="*/ 218 w 592"/>
                <a:gd name="T99" fmla="*/ 140 h 904"/>
                <a:gd name="T100" fmla="*/ 232 w 592"/>
                <a:gd name="T101" fmla="*/ 109 h 904"/>
                <a:gd name="T102" fmla="*/ 239 w 592"/>
                <a:gd name="T103" fmla="*/ 95 h 904"/>
                <a:gd name="T104" fmla="*/ 235 w 592"/>
                <a:gd name="T105" fmla="*/ 74 h 904"/>
                <a:gd name="T106" fmla="*/ 244 w 592"/>
                <a:gd name="T107" fmla="*/ 46 h 904"/>
                <a:gd name="T108" fmla="*/ 234 w 592"/>
                <a:gd name="T109" fmla="*/ 18 h 904"/>
                <a:gd name="T110" fmla="*/ 218 w 592"/>
                <a:gd name="T111" fmla="*/ 11 h 904"/>
                <a:gd name="T112" fmla="*/ 202 w 592"/>
                <a:gd name="T113" fmla="*/ 0 h 904"/>
                <a:gd name="T114" fmla="*/ 163 w 592"/>
                <a:gd name="T115" fmla="*/ 11 h 904"/>
                <a:gd name="T116" fmla="*/ 258 w 592"/>
                <a:gd name="T117" fmla="*/ 620 h 904"/>
                <a:gd name="T118" fmla="*/ 237 w 592"/>
                <a:gd name="T119" fmla="*/ 678 h 904"/>
                <a:gd name="T120" fmla="*/ 227 w 592"/>
                <a:gd name="T121" fmla="*/ 645 h 904"/>
                <a:gd name="T122" fmla="*/ 231 w 592"/>
                <a:gd name="T123" fmla="*/ 90 h 9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592" h="904">
                  <a:moveTo>
                    <a:pt x="163" y="11"/>
                  </a:moveTo>
                  <a:cubicBezTo>
                    <a:pt x="161" y="13"/>
                    <a:pt x="157" y="13"/>
                    <a:pt x="155" y="15"/>
                  </a:cubicBezTo>
                  <a:cubicBezTo>
                    <a:pt x="149" y="21"/>
                    <a:pt x="142" y="27"/>
                    <a:pt x="137" y="34"/>
                  </a:cubicBezTo>
                  <a:cubicBezTo>
                    <a:pt x="137" y="34"/>
                    <a:pt x="132" y="39"/>
                    <a:pt x="133" y="39"/>
                  </a:cubicBezTo>
                  <a:cubicBezTo>
                    <a:pt x="128" y="39"/>
                    <a:pt x="129" y="47"/>
                    <a:pt x="128" y="50"/>
                  </a:cubicBezTo>
                  <a:cubicBezTo>
                    <a:pt x="127" y="52"/>
                    <a:pt x="126" y="53"/>
                    <a:pt x="126" y="55"/>
                  </a:cubicBezTo>
                  <a:cubicBezTo>
                    <a:pt x="126" y="57"/>
                    <a:pt x="126" y="60"/>
                    <a:pt x="127" y="62"/>
                  </a:cubicBezTo>
                  <a:cubicBezTo>
                    <a:pt x="127" y="65"/>
                    <a:pt x="127" y="69"/>
                    <a:pt x="128" y="72"/>
                  </a:cubicBezTo>
                  <a:cubicBezTo>
                    <a:pt x="130" y="75"/>
                    <a:pt x="132" y="78"/>
                    <a:pt x="133" y="81"/>
                  </a:cubicBezTo>
                  <a:cubicBezTo>
                    <a:pt x="133" y="84"/>
                    <a:pt x="133" y="88"/>
                    <a:pt x="133" y="92"/>
                  </a:cubicBezTo>
                  <a:cubicBezTo>
                    <a:pt x="134" y="94"/>
                    <a:pt x="134" y="96"/>
                    <a:pt x="135" y="97"/>
                  </a:cubicBezTo>
                  <a:cubicBezTo>
                    <a:pt x="138" y="103"/>
                    <a:pt x="148" y="105"/>
                    <a:pt x="146" y="112"/>
                  </a:cubicBezTo>
                  <a:cubicBezTo>
                    <a:pt x="145" y="118"/>
                    <a:pt x="148" y="125"/>
                    <a:pt x="145" y="130"/>
                  </a:cubicBezTo>
                  <a:cubicBezTo>
                    <a:pt x="144" y="131"/>
                    <a:pt x="143" y="132"/>
                    <a:pt x="142" y="133"/>
                  </a:cubicBezTo>
                  <a:cubicBezTo>
                    <a:pt x="140" y="134"/>
                    <a:pt x="139" y="134"/>
                    <a:pt x="138" y="135"/>
                  </a:cubicBezTo>
                  <a:cubicBezTo>
                    <a:pt x="135" y="138"/>
                    <a:pt x="129" y="149"/>
                    <a:pt x="128" y="153"/>
                  </a:cubicBezTo>
                  <a:cubicBezTo>
                    <a:pt x="126" y="157"/>
                    <a:pt x="125" y="161"/>
                    <a:pt x="121" y="162"/>
                  </a:cubicBezTo>
                  <a:cubicBezTo>
                    <a:pt x="101" y="168"/>
                    <a:pt x="78" y="171"/>
                    <a:pt x="57" y="176"/>
                  </a:cubicBezTo>
                  <a:cubicBezTo>
                    <a:pt x="54" y="177"/>
                    <a:pt x="52" y="179"/>
                    <a:pt x="49" y="181"/>
                  </a:cubicBezTo>
                  <a:cubicBezTo>
                    <a:pt x="47" y="183"/>
                    <a:pt x="45" y="185"/>
                    <a:pt x="43" y="188"/>
                  </a:cubicBezTo>
                  <a:cubicBezTo>
                    <a:pt x="43" y="188"/>
                    <a:pt x="42" y="191"/>
                    <a:pt x="42" y="191"/>
                  </a:cubicBezTo>
                  <a:lnTo>
                    <a:pt x="24" y="192"/>
                  </a:lnTo>
                  <a:lnTo>
                    <a:pt x="27" y="224"/>
                  </a:lnTo>
                  <a:cubicBezTo>
                    <a:pt x="24" y="230"/>
                    <a:pt x="24" y="235"/>
                    <a:pt x="23" y="240"/>
                  </a:cubicBezTo>
                  <a:cubicBezTo>
                    <a:pt x="21" y="248"/>
                    <a:pt x="19" y="256"/>
                    <a:pt x="18" y="264"/>
                  </a:cubicBezTo>
                  <a:cubicBezTo>
                    <a:pt x="16" y="272"/>
                    <a:pt x="16" y="280"/>
                    <a:pt x="11" y="287"/>
                  </a:cubicBezTo>
                  <a:cubicBezTo>
                    <a:pt x="10" y="289"/>
                    <a:pt x="7" y="290"/>
                    <a:pt x="6" y="292"/>
                  </a:cubicBezTo>
                  <a:cubicBezTo>
                    <a:pt x="6" y="295"/>
                    <a:pt x="4" y="298"/>
                    <a:pt x="6" y="302"/>
                  </a:cubicBezTo>
                  <a:cubicBezTo>
                    <a:pt x="7" y="305"/>
                    <a:pt x="10" y="307"/>
                    <a:pt x="11" y="310"/>
                  </a:cubicBezTo>
                  <a:cubicBezTo>
                    <a:pt x="11" y="315"/>
                    <a:pt x="8" y="321"/>
                    <a:pt x="7" y="326"/>
                  </a:cubicBezTo>
                  <a:cubicBezTo>
                    <a:pt x="3" y="339"/>
                    <a:pt x="0" y="357"/>
                    <a:pt x="17" y="363"/>
                  </a:cubicBezTo>
                  <a:cubicBezTo>
                    <a:pt x="20" y="364"/>
                    <a:pt x="23" y="366"/>
                    <a:pt x="22" y="369"/>
                  </a:cubicBezTo>
                  <a:cubicBezTo>
                    <a:pt x="22" y="370"/>
                    <a:pt x="21" y="371"/>
                    <a:pt x="21" y="371"/>
                  </a:cubicBezTo>
                  <a:cubicBezTo>
                    <a:pt x="20" y="377"/>
                    <a:pt x="24" y="384"/>
                    <a:pt x="24" y="384"/>
                  </a:cubicBezTo>
                  <a:lnTo>
                    <a:pt x="13" y="388"/>
                  </a:lnTo>
                  <a:lnTo>
                    <a:pt x="14" y="421"/>
                  </a:lnTo>
                  <a:lnTo>
                    <a:pt x="33" y="421"/>
                  </a:lnTo>
                  <a:cubicBezTo>
                    <a:pt x="37" y="428"/>
                    <a:pt x="56" y="616"/>
                    <a:pt x="61" y="622"/>
                  </a:cubicBezTo>
                  <a:cubicBezTo>
                    <a:pt x="99" y="621"/>
                    <a:pt x="175" y="620"/>
                    <a:pt x="175" y="620"/>
                  </a:cubicBezTo>
                  <a:cubicBezTo>
                    <a:pt x="175" y="620"/>
                    <a:pt x="182" y="642"/>
                    <a:pt x="184" y="644"/>
                  </a:cubicBezTo>
                  <a:lnTo>
                    <a:pt x="209" y="645"/>
                  </a:lnTo>
                  <a:lnTo>
                    <a:pt x="208" y="661"/>
                  </a:lnTo>
                  <a:lnTo>
                    <a:pt x="200" y="661"/>
                  </a:lnTo>
                  <a:cubicBezTo>
                    <a:pt x="200" y="661"/>
                    <a:pt x="199" y="678"/>
                    <a:pt x="197" y="680"/>
                  </a:cubicBezTo>
                  <a:cubicBezTo>
                    <a:pt x="197" y="681"/>
                    <a:pt x="70" y="666"/>
                    <a:pt x="70" y="666"/>
                  </a:cubicBezTo>
                  <a:cubicBezTo>
                    <a:pt x="65" y="665"/>
                    <a:pt x="52" y="677"/>
                    <a:pt x="47" y="679"/>
                  </a:cubicBezTo>
                  <a:lnTo>
                    <a:pt x="47" y="699"/>
                  </a:lnTo>
                  <a:lnTo>
                    <a:pt x="86" y="709"/>
                  </a:lnTo>
                  <a:cubicBezTo>
                    <a:pt x="86" y="709"/>
                    <a:pt x="14" y="730"/>
                    <a:pt x="0" y="734"/>
                  </a:cubicBezTo>
                  <a:lnTo>
                    <a:pt x="0" y="761"/>
                  </a:lnTo>
                  <a:lnTo>
                    <a:pt x="14" y="768"/>
                  </a:lnTo>
                  <a:lnTo>
                    <a:pt x="196" y="743"/>
                  </a:lnTo>
                  <a:cubicBezTo>
                    <a:pt x="196" y="743"/>
                    <a:pt x="198" y="742"/>
                    <a:pt x="199" y="742"/>
                  </a:cubicBezTo>
                  <a:cubicBezTo>
                    <a:pt x="202" y="742"/>
                    <a:pt x="205" y="745"/>
                    <a:pt x="205" y="745"/>
                  </a:cubicBezTo>
                  <a:lnTo>
                    <a:pt x="246" y="808"/>
                  </a:lnTo>
                  <a:lnTo>
                    <a:pt x="273" y="807"/>
                  </a:lnTo>
                  <a:cubicBezTo>
                    <a:pt x="273" y="807"/>
                    <a:pt x="276" y="793"/>
                    <a:pt x="275" y="787"/>
                  </a:cubicBezTo>
                  <a:cubicBezTo>
                    <a:pt x="270" y="772"/>
                    <a:pt x="255" y="740"/>
                    <a:pt x="255" y="740"/>
                  </a:cubicBezTo>
                  <a:lnTo>
                    <a:pt x="273" y="741"/>
                  </a:lnTo>
                  <a:lnTo>
                    <a:pt x="275" y="756"/>
                  </a:lnTo>
                  <a:cubicBezTo>
                    <a:pt x="275" y="756"/>
                    <a:pt x="279" y="760"/>
                    <a:pt x="281" y="760"/>
                  </a:cubicBezTo>
                  <a:cubicBezTo>
                    <a:pt x="281" y="761"/>
                    <a:pt x="284" y="762"/>
                    <a:pt x="284" y="762"/>
                  </a:cubicBezTo>
                  <a:cubicBezTo>
                    <a:pt x="284" y="762"/>
                    <a:pt x="288" y="763"/>
                    <a:pt x="288" y="764"/>
                  </a:cubicBezTo>
                  <a:cubicBezTo>
                    <a:pt x="291" y="764"/>
                    <a:pt x="293" y="766"/>
                    <a:pt x="293" y="766"/>
                  </a:cubicBezTo>
                  <a:cubicBezTo>
                    <a:pt x="293" y="766"/>
                    <a:pt x="294" y="781"/>
                    <a:pt x="294" y="785"/>
                  </a:cubicBezTo>
                  <a:cubicBezTo>
                    <a:pt x="295" y="791"/>
                    <a:pt x="296" y="797"/>
                    <a:pt x="295" y="803"/>
                  </a:cubicBezTo>
                  <a:cubicBezTo>
                    <a:pt x="293" y="808"/>
                    <a:pt x="289" y="812"/>
                    <a:pt x="288" y="818"/>
                  </a:cubicBezTo>
                  <a:cubicBezTo>
                    <a:pt x="287" y="822"/>
                    <a:pt x="287" y="826"/>
                    <a:pt x="287" y="831"/>
                  </a:cubicBezTo>
                  <a:cubicBezTo>
                    <a:pt x="287" y="836"/>
                    <a:pt x="286" y="841"/>
                    <a:pt x="287" y="846"/>
                  </a:cubicBezTo>
                  <a:cubicBezTo>
                    <a:pt x="287" y="851"/>
                    <a:pt x="288" y="856"/>
                    <a:pt x="290" y="860"/>
                  </a:cubicBezTo>
                  <a:cubicBezTo>
                    <a:pt x="292" y="863"/>
                    <a:pt x="293" y="865"/>
                    <a:pt x="295" y="866"/>
                  </a:cubicBezTo>
                  <a:cubicBezTo>
                    <a:pt x="297" y="867"/>
                    <a:pt x="311" y="871"/>
                    <a:pt x="316" y="867"/>
                  </a:cubicBezTo>
                  <a:cubicBezTo>
                    <a:pt x="318" y="866"/>
                    <a:pt x="318" y="870"/>
                    <a:pt x="319" y="870"/>
                  </a:cubicBezTo>
                  <a:cubicBezTo>
                    <a:pt x="321" y="872"/>
                    <a:pt x="323" y="877"/>
                    <a:pt x="325" y="880"/>
                  </a:cubicBezTo>
                  <a:cubicBezTo>
                    <a:pt x="328" y="884"/>
                    <a:pt x="331" y="888"/>
                    <a:pt x="334" y="892"/>
                  </a:cubicBezTo>
                  <a:cubicBezTo>
                    <a:pt x="337" y="895"/>
                    <a:pt x="341" y="896"/>
                    <a:pt x="344" y="898"/>
                  </a:cubicBezTo>
                  <a:cubicBezTo>
                    <a:pt x="354" y="904"/>
                    <a:pt x="368" y="901"/>
                    <a:pt x="379" y="901"/>
                  </a:cubicBezTo>
                  <a:cubicBezTo>
                    <a:pt x="383" y="901"/>
                    <a:pt x="385" y="899"/>
                    <a:pt x="389" y="898"/>
                  </a:cubicBezTo>
                  <a:cubicBezTo>
                    <a:pt x="391" y="895"/>
                    <a:pt x="393" y="894"/>
                    <a:pt x="394" y="890"/>
                  </a:cubicBezTo>
                  <a:cubicBezTo>
                    <a:pt x="395" y="881"/>
                    <a:pt x="391" y="871"/>
                    <a:pt x="386" y="864"/>
                  </a:cubicBezTo>
                  <a:cubicBezTo>
                    <a:pt x="383" y="859"/>
                    <a:pt x="378" y="857"/>
                    <a:pt x="375" y="852"/>
                  </a:cubicBezTo>
                  <a:cubicBezTo>
                    <a:pt x="368" y="843"/>
                    <a:pt x="362" y="833"/>
                    <a:pt x="354" y="823"/>
                  </a:cubicBezTo>
                  <a:cubicBezTo>
                    <a:pt x="342" y="808"/>
                    <a:pt x="338" y="797"/>
                    <a:pt x="339" y="777"/>
                  </a:cubicBezTo>
                  <a:cubicBezTo>
                    <a:pt x="339" y="775"/>
                    <a:pt x="338" y="766"/>
                    <a:pt x="340" y="764"/>
                  </a:cubicBezTo>
                  <a:cubicBezTo>
                    <a:pt x="342" y="762"/>
                    <a:pt x="345" y="761"/>
                    <a:pt x="348" y="760"/>
                  </a:cubicBezTo>
                  <a:cubicBezTo>
                    <a:pt x="349" y="760"/>
                    <a:pt x="350" y="759"/>
                    <a:pt x="350" y="758"/>
                  </a:cubicBezTo>
                  <a:cubicBezTo>
                    <a:pt x="350" y="759"/>
                    <a:pt x="352" y="756"/>
                    <a:pt x="352" y="756"/>
                  </a:cubicBezTo>
                  <a:cubicBezTo>
                    <a:pt x="352" y="752"/>
                    <a:pt x="352" y="747"/>
                    <a:pt x="352" y="743"/>
                  </a:cubicBezTo>
                  <a:lnTo>
                    <a:pt x="422" y="751"/>
                  </a:lnTo>
                  <a:cubicBezTo>
                    <a:pt x="422" y="751"/>
                    <a:pt x="435" y="745"/>
                    <a:pt x="436" y="745"/>
                  </a:cubicBezTo>
                  <a:lnTo>
                    <a:pt x="436" y="724"/>
                  </a:lnTo>
                  <a:cubicBezTo>
                    <a:pt x="435" y="724"/>
                    <a:pt x="435" y="721"/>
                    <a:pt x="433" y="722"/>
                  </a:cubicBezTo>
                  <a:cubicBezTo>
                    <a:pt x="432" y="722"/>
                    <a:pt x="353" y="703"/>
                    <a:pt x="352" y="702"/>
                  </a:cubicBezTo>
                  <a:cubicBezTo>
                    <a:pt x="352" y="702"/>
                    <a:pt x="355" y="630"/>
                    <a:pt x="355" y="617"/>
                  </a:cubicBezTo>
                  <a:cubicBezTo>
                    <a:pt x="362" y="619"/>
                    <a:pt x="375" y="613"/>
                    <a:pt x="376" y="622"/>
                  </a:cubicBezTo>
                  <a:cubicBezTo>
                    <a:pt x="377" y="626"/>
                    <a:pt x="397" y="652"/>
                    <a:pt x="400" y="655"/>
                  </a:cubicBezTo>
                  <a:cubicBezTo>
                    <a:pt x="401" y="655"/>
                    <a:pt x="414" y="650"/>
                    <a:pt x="419" y="648"/>
                  </a:cubicBezTo>
                  <a:lnTo>
                    <a:pt x="421" y="650"/>
                  </a:lnTo>
                  <a:cubicBezTo>
                    <a:pt x="422" y="651"/>
                    <a:pt x="424" y="656"/>
                    <a:pt x="425" y="657"/>
                  </a:cubicBezTo>
                  <a:cubicBezTo>
                    <a:pt x="430" y="664"/>
                    <a:pt x="435" y="671"/>
                    <a:pt x="437" y="680"/>
                  </a:cubicBezTo>
                  <a:cubicBezTo>
                    <a:pt x="438" y="684"/>
                    <a:pt x="442" y="687"/>
                    <a:pt x="444" y="691"/>
                  </a:cubicBezTo>
                  <a:cubicBezTo>
                    <a:pt x="450" y="703"/>
                    <a:pt x="445" y="722"/>
                    <a:pt x="448" y="734"/>
                  </a:cubicBezTo>
                  <a:cubicBezTo>
                    <a:pt x="449" y="740"/>
                    <a:pt x="451" y="745"/>
                    <a:pt x="453" y="751"/>
                  </a:cubicBezTo>
                  <a:cubicBezTo>
                    <a:pt x="454" y="752"/>
                    <a:pt x="454" y="754"/>
                    <a:pt x="454" y="755"/>
                  </a:cubicBezTo>
                  <a:cubicBezTo>
                    <a:pt x="455" y="756"/>
                    <a:pt x="458" y="757"/>
                    <a:pt x="459" y="759"/>
                  </a:cubicBezTo>
                  <a:cubicBezTo>
                    <a:pt x="463" y="764"/>
                    <a:pt x="468" y="764"/>
                    <a:pt x="474" y="765"/>
                  </a:cubicBezTo>
                  <a:cubicBezTo>
                    <a:pt x="477" y="767"/>
                    <a:pt x="481" y="768"/>
                    <a:pt x="484" y="767"/>
                  </a:cubicBezTo>
                  <a:cubicBezTo>
                    <a:pt x="485" y="766"/>
                    <a:pt x="493" y="759"/>
                    <a:pt x="494" y="759"/>
                  </a:cubicBezTo>
                  <a:cubicBezTo>
                    <a:pt x="494" y="759"/>
                    <a:pt x="506" y="763"/>
                    <a:pt x="508" y="764"/>
                  </a:cubicBezTo>
                  <a:cubicBezTo>
                    <a:pt x="511" y="764"/>
                    <a:pt x="515" y="765"/>
                    <a:pt x="519" y="765"/>
                  </a:cubicBezTo>
                  <a:cubicBezTo>
                    <a:pt x="543" y="766"/>
                    <a:pt x="562" y="754"/>
                    <a:pt x="581" y="741"/>
                  </a:cubicBezTo>
                  <a:cubicBezTo>
                    <a:pt x="583" y="739"/>
                    <a:pt x="585" y="738"/>
                    <a:pt x="587" y="736"/>
                  </a:cubicBezTo>
                  <a:cubicBezTo>
                    <a:pt x="587" y="735"/>
                    <a:pt x="588" y="734"/>
                    <a:pt x="589" y="733"/>
                  </a:cubicBezTo>
                  <a:cubicBezTo>
                    <a:pt x="589" y="732"/>
                    <a:pt x="591" y="731"/>
                    <a:pt x="591" y="730"/>
                  </a:cubicBezTo>
                  <a:cubicBezTo>
                    <a:pt x="592" y="727"/>
                    <a:pt x="592" y="725"/>
                    <a:pt x="590" y="723"/>
                  </a:cubicBezTo>
                  <a:cubicBezTo>
                    <a:pt x="589" y="721"/>
                    <a:pt x="587" y="717"/>
                    <a:pt x="585" y="716"/>
                  </a:cubicBezTo>
                  <a:cubicBezTo>
                    <a:pt x="577" y="709"/>
                    <a:pt x="558" y="711"/>
                    <a:pt x="548" y="707"/>
                  </a:cubicBezTo>
                  <a:cubicBezTo>
                    <a:pt x="536" y="704"/>
                    <a:pt x="525" y="698"/>
                    <a:pt x="515" y="691"/>
                  </a:cubicBezTo>
                  <a:cubicBezTo>
                    <a:pt x="495" y="677"/>
                    <a:pt x="479" y="657"/>
                    <a:pt x="464" y="639"/>
                  </a:cubicBezTo>
                  <a:cubicBezTo>
                    <a:pt x="460" y="634"/>
                    <a:pt x="455" y="629"/>
                    <a:pt x="452" y="623"/>
                  </a:cubicBezTo>
                  <a:cubicBezTo>
                    <a:pt x="450" y="620"/>
                    <a:pt x="450" y="617"/>
                    <a:pt x="450" y="617"/>
                  </a:cubicBezTo>
                  <a:cubicBezTo>
                    <a:pt x="450" y="617"/>
                    <a:pt x="455" y="609"/>
                    <a:pt x="458" y="603"/>
                  </a:cubicBezTo>
                  <a:cubicBezTo>
                    <a:pt x="461" y="597"/>
                    <a:pt x="464" y="591"/>
                    <a:pt x="466" y="585"/>
                  </a:cubicBezTo>
                  <a:cubicBezTo>
                    <a:pt x="466" y="584"/>
                    <a:pt x="468" y="575"/>
                    <a:pt x="469" y="575"/>
                  </a:cubicBezTo>
                  <a:cubicBezTo>
                    <a:pt x="468" y="574"/>
                    <a:pt x="382" y="468"/>
                    <a:pt x="382" y="468"/>
                  </a:cubicBezTo>
                  <a:cubicBezTo>
                    <a:pt x="382" y="468"/>
                    <a:pt x="386" y="416"/>
                    <a:pt x="387" y="415"/>
                  </a:cubicBezTo>
                  <a:cubicBezTo>
                    <a:pt x="398" y="415"/>
                    <a:pt x="420" y="414"/>
                    <a:pt x="421" y="413"/>
                  </a:cubicBezTo>
                  <a:cubicBezTo>
                    <a:pt x="421" y="413"/>
                    <a:pt x="420" y="383"/>
                    <a:pt x="419" y="380"/>
                  </a:cubicBezTo>
                  <a:lnTo>
                    <a:pt x="370" y="380"/>
                  </a:lnTo>
                  <a:cubicBezTo>
                    <a:pt x="372" y="377"/>
                    <a:pt x="372" y="374"/>
                    <a:pt x="373" y="371"/>
                  </a:cubicBezTo>
                  <a:cubicBezTo>
                    <a:pt x="375" y="369"/>
                    <a:pt x="377" y="366"/>
                    <a:pt x="378" y="363"/>
                  </a:cubicBezTo>
                  <a:cubicBezTo>
                    <a:pt x="378" y="362"/>
                    <a:pt x="377" y="359"/>
                    <a:pt x="377" y="358"/>
                  </a:cubicBezTo>
                  <a:cubicBezTo>
                    <a:pt x="377" y="347"/>
                    <a:pt x="373" y="338"/>
                    <a:pt x="370" y="327"/>
                  </a:cubicBezTo>
                  <a:cubicBezTo>
                    <a:pt x="369" y="323"/>
                    <a:pt x="365" y="317"/>
                    <a:pt x="362" y="315"/>
                  </a:cubicBezTo>
                  <a:cubicBezTo>
                    <a:pt x="360" y="313"/>
                    <a:pt x="357" y="312"/>
                    <a:pt x="356" y="310"/>
                  </a:cubicBezTo>
                  <a:cubicBezTo>
                    <a:pt x="351" y="302"/>
                    <a:pt x="350" y="292"/>
                    <a:pt x="346" y="284"/>
                  </a:cubicBezTo>
                  <a:cubicBezTo>
                    <a:pt x="342" y="276"/>
                    <a:pt x="336" y="268"/>
                    <a:pt x="330" y="262"/>
                  </a:cubicBezTo>
                  <a:cubicBezTo>
                    <a:pt x="328" y="260"/>
                    <a:pt x="327" y="256"/>
                    <a:pt x="325" y="254"/>
                  </a:cubicBezTo>
                  <a:cubicBezTo>
                    <a:pt x="323" y="251"/>
                    <a:pt x="321" y="247"/>
                    <a:pt x="321" y="247"/>
                  </a:cubicBezTo>
                  <a:cubicBezTo>
                    <a:pt x="321" y="247"/>
                    <a:pt x="325" y="186"/>
                    <a:pt x="323" y="186"/>
                  </a:cubicBezTo>
                  <a:lnTo>
                    <a:pt x="291" y="186"/>
                  </a:lnTo>
                  <a:lnTo>
                    <a:pt x="286" y="181"/>
                  </a:lnTo>
                  <a:cubicBezTo>
                    <a:pt x="286" y="180"/>
                    <a:pt x="283" y="179"/>
                    <a:pt x="282" y="178"/>
                  </a:cubicBezTo>
                  <a:cubicBezTo>
                    <a:pt x="280" y="177"/>
                    <a:pt x="279" y="177"/>
                    <a:pt x="277" y="176"/>
                  </a:cubicBezTo>
                  <a:cubicBezTo>
                    <a:pt x="257" y="172"/>
                    <a:pt x="237" y="168"/>
                    <a:pt x="217" y="164"/>
                  </a:cubicBezTo>
                  <a:cubicBezTo>
                    <a:pt x="216" y="164"/>
                    <a:pt x="210" y="161"/>
                    <a:pt x="211" y="159"/>
                  </a:cubicBezTo>
                  <a:cubicBezTo>
                    <a:pt x="211" y="157"/>
                    <a:pt x="210" y="155"/>
                    <a:pt x="211" y="153"/>
                  </a:cubicBezTo>
                  <a:cubicBezTo>
                    <a:pt x="211" y="153"/>
                    <a:pt x="212" y="150"/>
                    <a:pt x="212" y="149"/>
                  </a:cubicBezTo>
                  <a:cubicBezTo>
                    <a:pt x="213" y="148"/>
                    <a:pt x="214" y="146"/>
                    <a:pt x="214" y="145"/>
                  </a:cubicBezTo>
                  <a:cubicBezTo>
                    <a:pt x="215" y="143"/>
                    <a:pt x="216" y="142"/>
                    <a:pt x="218" y="140"/>
                  </a:cubicBezTo>
                  <a:cubicBezTo>
                    <a:pt x="219" y="138"/>
                    <a:pt x="220" y="137"/>
                    <a:pt x="221" y="135"/>
                  </a:cubicBezTo>
                  <a:cubicBezTo>
                    <a:pt x="223" y="133"/>
                    <a:pt x="223" y="131"/>
                    <a:pt x="224" y="129"/>
                  </a:cubicBezTo>
                  <a:cubicBezTo>
                    <a:pt x="228" y="123"/>
                    <a:pt x="231" y="116"/>
                    <a:pt x="232" y="109"/>
                  </a:cubicBezTo>
                  <a:cubicBezTo>
                    <a:pt x="232" y="107"/>
                    <a:pt x="232" y="106"/>
                    <a:pt x="232" y="104"/>
                  </a:cubicBezTo>
                  <a:cubicBezTo>
                    <a:pt x="232" y="102"/>
                    <a:pt x="232" y="100"/>
                    <a:pt x="232" y="98"/>
                  </a:cubicBezTo>
                  <a:cubicBezTo>
                    <a:pt x="232" y="96"/>
                    <a:pt x="238" y="96"/>
                    <a:pt x="239" y="95"/>
                  </a:cubicBezTo>
                  <a:cubicBezTo>
                    <a:pt x="240" y="92"/>
                    <a:pt x="239" y="88"/>
                    <a:pt x="239" y="85"/>
                  </a:cubicBezTo>
                  <a:cubicBezTo>
                    <a:pt x="239" y="82"/>
                    <a:pt x="239" y="79"/>
                    <a:pt x="238" y="76"/>
                  </a:cubicBezTo>
                  <a:cubicBezTo>
                    <a:pt x="237" y="75"/>
                    <a:pt x="237" y="73"/>
                    <a:pt x="235" y="74"/>
                  </a:cubicBezTo>
                  <a:cubicBezTo>
                    <a:pt x="230" y="64"/>
                    <a:pt x="240" y="63"/>
                    <a:pt x="242" y="57"/>
                  </a:cubicBezTo>
                  <a:cubicBezTo>
                    <a:pt x="242" y="55"/>
                    <a:pt x="244" y="55"/>
                    <a:pt x="244" y="52"/>
                  </a:cubicBezTo>
                  <a:cubicBezTo>
                    <a:pt x="245" y="51"/>
                    <a:pt x="244" y="48"/>
                    <a:pt x="244" y="46"/>
                  </a:cubicBezTo>
                  <a:cubicBezTo>
                    <a:pt x="244" y="43"/>
                    <a:pt x="244" y="39"/>
                    <a:pt x="244" y="36"/>
                  </a:cubicBezTo>
                  <a:cubicBezTo>
                    <a:pt x="244" y="34"/>
                    <a:pt x="243" y="32"/>
                    <a:pt x="242" y="31"/>
                  </a:cubicBezTo>
                  <a:cubicBezTo>
                    <a:pt x="240" y="28"/>
                    <a:pt x="233" y="23"/>
                    <a:pt x="234" y="18"/>
                  </a:cubicBezTo>
                  <a:cubicBezTo>
                    <a:pt x="232" y="18"/>
                    <a:pt x="232" y="17"/>
                    <a:pt x="231" y="16"/>
                  </a:cubicBezTo>
                  <a:cubicBezTo>
                    <a:pt x="231" y="15"/>
                    <a:pt x="228" y="13"/>
                    <a:pt x="228" y="13"/>
                  </a:cubicBezTo>
                  <a:cubicBezTo>
                    <a:pt x="227" y="10"/>
                    <a:pt x="220" y="11"/>
                    <a:pt x="218" y="11"/>
                  </a:cubicBezTo>
                  <a:cubicBezTo>
                    <a:pt x="214" y="9"/>
                    <a:pt x="212" y="6"/>
                    <a:pt x="209" y="4"/>
                  </a:cubicBezTo>
                  <a:cubicBezTo>
                    <a:pt x="207" y="3"/>
                    <a:pt x="205" y="1"/>
                    <a:pt x="203" y="1"/>
                  </a:cubicBezTo>
                  <a:cubicBezTo>
                    <a:pt x="203" y="1"/>
                    <a:pt x="202" y="1"/>
                    <a:pt x="202" y="0"/>
                  </a:cubicBezTo>
                  <a:lnTo>
                    <a:pt x="183" y="0"/>
                  </a:lnTo>
                  <a:cubicBezTo>
                    <a:pt x="178" y="2"/>
                    <a:pt x="172" y="4"/>
                    <a:pt x="167" y="6"/>
                  </a:cubicBezTo>
                  <a:cubicBezTo>
                    <a:pt x="165" y="7"/>
                    <a:pt x="164" y="9"/>
                    <a:pt x="163" y="11"/>
                  </a:cubicBezTo>
                  <a:close/>
                  <a:moveTo>
                    <a:pt x="227" y="645"/>
                  </a:moveTo>
                  <a:cubicBezTo>
                    <a:pt x="233" y="645"/>
                    <a:pt x="253" y="645"/>
                    <a:pt x="253" y="645"/>
                  </a:cubicBezTo>
                  <a:lnTo>
                    <a:pt x="258" y="620"/>
                  </a:lnTo>
                  <a:lnTo>
                    <a:pt x="269" y="619"/>
                  </a:lnTo>
                  <a:lnTo>
                    <a:pt x="272" y="665"/>
                  </a:lnTo>
                  <a:lnTo>
                    <a:pt x="237" y="678"/>
                  </a:lnTo>
                  <a:lnTo>
                    <a:pt x="235" y="661"/>
                  </a:lnTo>
                  <a:lnTo>
                    <a:pt x="227" y="661"/>
                  </a:lnTo>
                  <a:lnTo>
                    <a:pt x="227" y="645"/>
                  </a:lnTo>
                  <a:close/>
                  <a:moveTo>
                    <a:pt x="234" y="80"/>
                  </a:moveTo>
                  <a:lnTo>
                    <a:pt x="234" y="90"/>
                  </a:lnTo>
                  <a:lnTo>
                    <a:pt x="231" y="90"/>
                  </a:lnTo>
                  <a:lnTo>
                    <a:pt x="231" y="83"/>
                  </a:lnTo>
                  <a:cubicBezTo>
                    <a:pt x="231" y="80"/>
                    <a:pt x="230" y="79"/>
                    <a:pt x="234" y="8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6" name="Freeform 14"/>
            <p:cNvSpPr>
              <a:spLocks noEditPoints="1"/>
            </p:cNvSpPr>
            <p:nvPr/>
          </p:nvSpPr>
          <p:spPr bwMode="auto">
            <a:xfrm>
              <a:off x="9069388" y="4899025"/>
              <a:ext cx="766763" cy="330200"/>
            </a:xfrm>
            <a:custGeom>
              <a:avLst/>
              <a:gdLst>
                <a:gd name="T0" fmla="*/ 1136 w 2101"/>
                <a:gd name="T1" fmla="*/ 435 h 902"/>
                <a:gd name="T2" fmla="*/ 878 w 2101"/>
                <a:gd name="T3" fmla="*/ 735 h 902"/>
                <a:gd name="T4" fmla="*/ 1348 w 2101"/>
                <a:gd name="T5" fmla="*/ 426 h 902"/>
                <a:gd name="T6" fmla="*/ 1907 w 2101"/>
                <a:gd name="T7" fmla="*/ 736 h 902"/>
                <a:gd name="T8" fmla="*/ 1628 w 2101"/>
                <a:gd name="T9" fmla="*/ 522 h 902"/>
                <a:gd name="T10" fmla="*/ 204 w 2101"/>
                <a:gd name="T11" fmla="*/ 738 h 902"/>
                <a:gd name="T12" fmla="*/ 351 w 2101"/>
                <a:gd name="T13" fmla="*/ 549 h 902"/>
                <a:gd name="T14" fmla="*/ 801 w 2101"/>
                <a:gd name="T15" fmla="*/ 735 h 902"/>
                <a:gd name="T16" fmla="*/ 0 w 2101"/>
                <a:gd name="T17" fmla="*/ 278 h 902"/>
                <a:gd name="T18" fmla="*/ 337 w 2101"/>
                <a:gd name="T19" fmla="*/ 607 h 902"/>
                <a:gd name="T20" fmla="*/ 1348 w 2101"/>
                <a:gd name="T21" fmla="*/ 686 h 902"/>
                <a:gd name="T22" fmla="*/ 1334 w 2101"/>
                <a:gd name="T23" fmla="*/ 157 h 902"/>
                <a:gd name="T24" fmla="*/ 1383 w 2101"/>
                <a:gd name="T25" fmla="*/ 79 h 902"/>
                <a:gd name="T26" fmla="*/ 1128 w 2101"/>
                <a:gd name="T27" fmla="*/ 101 h 902"/>
                <a:gd name="T28" fmla="*/ 1128 w 2101"/>
                <a:gd name="T29" fmla="*/ 101 h 902"/>
                <a:gd name="T30" fmla="*/ 1116 w 2101"/>
                <a:gd name="T31" fmla="*/ 56 h 902"/>
                <a:gd name="T32" fmla="*/ 1253 w 2101"/>
                <a:gd name="T33" fmla="*/ 80 h 902"/>
                <a:gd name="T34" fmla="*/ 1225 w 2101"/>
                <a:gd name="T35" fmla="*/ 180 h 902"/>
                <a:gd name="T36" fmla="*/ 984 w 2101"/>
                <a:gd name="T37" fmla="*/ 157 h 902"/>
                <a:gd name="T38" fmla="*/ 1064 w 2101"/>
                <a:gd name="T39" fmla="*/ 212 h 902"/>
                <a:gd name="T40" fmla="*/ 967 w 2101"/>
                <a:gd name="T41" fmla="*/ 131 h 902"/>
                <a:gd name="T42" fmla="*/ 505 w 2101"/>
                <a:gd name="T43" fmla="*/ 181 h 902"/>
                <a:gd name="T44" fmla="*/ 492 w 2101"/>
                <a:gd name="T45" fmla="*/ 112 h 902"/>
                <a:gd name="T46" fmla="*/ 497 w 2101"/>
                <a:gd name="T47" fmla="*/ 32 h 902"/>
                <a:gd name="T48" fmla="*/ 547 w 2101"/>
                <a:gd name="T49" fmla="*/ 12 h 902"/>
                <a:gd name="T50" fmla="*/ 563 w 2101"/>
                <a:gd name="T51" fmla="*/ 112 h 902"/>
                <a:gd name="T52" fmla="*/ 563 w 2101"/>
                <a:gd name="T53" fmla="*/ 225 h 902"/>
                <a:gd name="T54" fmla="*/ 492 w 2101"/>
                <a:gd name="T55" fmla="*/ 201 h 902"/>
                <a:gd name="T56" fmla="*/ 614 w 2101"/>
                <a:gd name="T57" fmla="*/ 194 h 902"/>
                <a:gd name="T58" fmla="*/ 622 w 2101"/>
                <a:gd name="T59" fmla="*/ 176 h 902"/>
                <a:gd name="T60" fmla="*/ 573 w 2101"/>
                <a:gd name="T61" fmla="*/ 112 h 902"/>
                <a:gd name="T62" fmla="*/ 573 w 2101"/>
                <a:gd name="T63" fmla="*/ 54 h 902"/>
                <a:gd name="T64" fmla="*/ 643 w 2101"/>
                <a:gd name="T65" fmla="*/ 33 h 902"/>
                <a:gd name="T66" fmla="*/ 655 w 2101"/>
                <a:gd name="T67" fmla="*/ 192 h 902"/>
                <a:gd name="T68" fmla="*/ 628 w 2101"/>
                <a:gd name="T69" fmla="*/ 190 h 902"/>
                <a:gd name="T70" fmla="*/ 573 w 2101"/>
                <a:gd name="T71" fmla="*/ 236 h 902"/>
                <a:gd name="T72" fmla="*/ 797 w 2101"/>
                <a:gd name="T73" fmla="*/ 91 h 902"/>
                <a:gd name="T74" fmla="*/ 792 w 2101"/>
                <a:gd name="T75" fmla="*/ 56 h 902"/>
                <a:gd name="T76" fmla="*/ 719 w 2101"/>
                <a:gd name="T77" fmla="*/ 56 h 902"/>
                <a:gd name="T78" fmla="*/ 843 w 2101"/>
                <a:gd name="T79" fmla="*/ 174 h 902"/>
                <a:gd name="T80" fmla="*/ 884 w 2101"/>
                <a:gd name="T81" fmla="*/ 54 h 902"/>
                <a:gd name="T82" fmla="*/ 864 w 2101"/>
                <a:gd name="T83" fmla="*/ 106 h 902"/>
                <a:gd name="T84" fmla="*/ 1910 w 2101"/>
                <a:gd name="T85" fmla="*/ 125 h 902"/>
                <a:gd name="T86" fmla="*/ 1912 w 2101"/>
                <a:gd name="T87" fmla="*/ 76 h 902"/>
                <a:gd name="T88" fmla="*/ 1965 w 2101"/>
                <a:gd name="T89" fmla="*/ 144 h 902"/>
                <a:gd name="T90" fmla="*/ 1873 w 2101"/>
                <a:gd name="T91" fmla="*/ 58 h 902"/>
                <a:gd name="T92" fmla="*/ 1819 w 2101"/>
                <a:gd name="T93" fmla="*/ 80 h 902"/>
                <a:gd name="T94" fmla="*/ 1791 w 2101"/>
                <a:gd name="T95" fmla="*/ 180 h 902"/>
                <a:gd name="T96" fmla="*/ 2040 w 2101"/>
                <a:gd name="T97" fmla="*/ 182 h 902"/>
                <a:gd name="T98" fmla="*/ 1573 w 2101"/>
                <a:gd name="T99" fmla="*/ 120 h 902"/>
                <a:gd name="T100" fmla="*/ 1627 w 2101"/>
                <a:gd name="T101" fmla="*/ 139 h 902"/>
                <a:gd name="T102" fmla="*/ 1565 w 2101"/>
                <a:gd name="T103" fmla="*/ 181 h 902"/>
                <a:gd name="T104" fmla="*/ 1673 w 2101"/>
                <a:gd name="T105" fmla="*/ 118 h 902"/>
                <a:gd name="T106" fmla="*/ 1709 w 2101"/>
                <a:gd name="T107" fmla="*/ 182 h 902"/>
                <a:gd name="T108" fmla="*/ 1506 w 2101"/>
                <a:gd name="T109" fmla="*/ 180 h 902"/>
                <a:gd name="T110" fmla="*/ 1402 w 2101"/>
                <a:gd name="T111" fmla="*/ 182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2101" h="902">
                  <a:moveTo>
                    <a:pt x="878" y="435"/>
                  </a:moveTo>
                  <a:lnTo>
                    <a:pt x="951" y="435"/>
                  </a:lnTo>
                  <a:lnTo>
                    <a:pt x="951" y="548"/>
                  </a:lnTo>
                  <a:lnTo>
                    <a:pt x="1063" y="548"/>
                  </a:lnTo>
                  <a:lnTo>
                    <a:pt x="1063" y="435"/>
                  </a:lnTo>
                  <a:lnTo>
                    <a:pt x="1136" y="435"/>
                  </a:lnTo>
                  <a:lnTo>
                    <a:pt x="1136" y="735"/>
                  </a:lnTo>
                  <a:lnTo>
                    <a:pt x="1063" y="735"/>
                  </a:lnTo>
                  <a:lnTo>
                    <a:pt x="1063" y="606"/>
                  </a:lnTo>
                  <a:lnTo>
                    <a:pt x="951" y="606"/>
                  </a:lnTo>
                  <a:lnTo>
                    <a:pt x="951" y="735"/>
                  </a:lnTo>
                  <a:lnTo>
                    <a:pt x="878" y="735"/>
                  </a:lnTo>
                  <a:lnTo>
                    <a:pt x="878" y="435"/>
                  </a:lnTo>
                  <a:close/>
                  <a:moveTo>
                    <a:pt x="1348" y="426"/>
                  </a:moveTo>
                  <a:cubicBezTo>
                    <a:pt x="1454" y="426"/>
                    <a:pt x="1504" y="494"/>
                    <a:pt x="1504" y="585"/>
                  </a:cubicBezTo>
                  <a:cubicBezTo>
                    <a:pt x="1504" y="676"/>
                    <a:pt x="1454" y="744"/>
                    <a:pt x="1348" y="744"/>
                  </a:cubicBezTo>
                  <a:cubicBezTo>
                    <a:pt x="1226" y="744"/>
                    <a:pt x="1191" y="655"/>
                    <a:pt x="1191" y="585"/>
                  </a:cubicBezTo>
                  <a:cubicBezTo>
                    <a:pt x="1191" y="515"/>
                    <a:pt x="1226" y="426"/>
                    <a:pt x="1348" y="426"/>
                  </a:cubicBezTo>
                  <a:close/>
                  <a:moveTo>
                    <a:pt x="1554" y="436"/>
                  </a:moveTo>
                  <a:lnTo>
                    <a:pt x="1657" y="436"/>
                  </a:lnTo>
                  <a:lnTo>
                    <a:pt x="1731" y="642"/>
                  </a:lnTo>
                  <a:lnTo>
                    <a:pt x="1804" y="436"/>
                  </a:lnTo>
                  <a:lnTo>
                    <a:pt x="1907" y="436"/>
                  </a:lnTo>
                  <a:lnTo>
                    <a:pt x="1907" y="736"/>
                  </a:lnTo>
                  <a:lnTo>
                    <a:pt x="1834" y="736"/>
                  </a:lnTo>
                  <a:lnTo>
                    <a:pt x="1834" y="522"/>
                  </a:lnTo>
                  <a:lnTo>
                    <a:pt x="1833" y="522"/>
                  </a:lnTo>
                  <a:lnTo>
                    <a:pt x="1756" y="736"/>
                  </a:lnTo>
                  <a:lnTo>
                    <a:pt x="1706" y="736"/>
                  </a:lnTo>
                  <a:lnTo>
                    <a:pt x="1628" y="522"/>
                  </a:lnTo>
                  <a:lnTo>
                    <a:pt x="1627" y="522"/>
                  </a:lnTo>
                  <a:lnTo>
                    <a:pt x="1627" y="736"/>
                  </a:lnTo>
                  <a:lnTo>
                    <a:pt x="1554" y="736"/>
                  </a:lnTo>
                  <a:lnTo>
                    <a:pt x="1554" y="436"/>
                  </a:lnTo>
                  <a:close/>
                  <a:moveTo>
                    <a:pt x="351" y="738"/>
                  </a:moveTo>
                  <a:lnTo>
                    <a:pt x="204" y="738"/>
                  </a:lnTo>
                  <a:lnTo>
                    <a:pt x="204" y="437"/>
                  </a:lnTo>
                  <a:lnTo>
                    <a:pt x="444" y="437"/>
                  </a:lnTo>
                  <a:lnTo>
                    <a:pt x="444" y="496"/>
                  </a:lnTo>
                  <a:lnTo>
                    <a:pt x="277" y="496"/>
                  </a:lnTo>
                  <a:lnTo>
                    <a:pt x="277" y="549"/>
                  </a:lnTo>
                  <a:lnTo>
                    <a:pt x="351" y="549"/>
                  </a:lnTo>
                  <a:cubicBezTo>
                    <a:pt x="377" y="549"/>
                    <a:pt x="469" y="551"/>
                    <a:pt x="469" y="647"/>
                  </a:cubicBezTo>
                  <a:cubicBezTo>
                    <a:pt x="469" y="708"/>
                    <a:pt x="423" y="738"/>
                    <a:pt x="351" y="738"/>
                  </a:cubicBezTo>
                  <a:close/>
                  <a:moveTo>
                    <a:pt x="605" y="628"/>
                  </a:moveTo>
                  <a:lnTo>
                    <a:pt x="728" y="434"/>
                  </a:lnTo>
                  <a:lnTo>
                    <a:pt x="801" y="434"/>
                  </a:lnTo>
                  <a:lnTo>
                    <a:pt x="801" y="735"/>
                  </a:lnTo>
                  <a:lnTo>
                    <a:pt x="728" y="735"/>
                  </a:lnTo>
                  <a:lnTo>
                    <a:pt x="728" y="538"/>
                  </a:lnTo>
                  <a:lnTo>
                    <a:pt x="605" y="735"/>
                  </a:lnTo>
                  <a:lnTo>
                    <a:pt x="532" y="735"/>
                  </a:lnTo>
                  <a:lnTo>
                    <a:pt x="532" y="278"/>
                  </a:lnTo>
                  <a:lnTo>
                    <a:pt x="0" y="278"/>
                  </a:lnTo>
                  <a:lnTo>
                    <a:pt x="0" y="902"/>
                  </a:lnTo>
                  <a:lnTo>
                    <a:pt x="2098" y="902"/>
                  </a:lnTo>
                  <a:lnTo>
                    <a:pt x="2098" y="278"/>
                  </a:lnTo>
                  <a:lnTo>
                    <a:pt x="605" y="278"/>
                  </a:lnTo>
                  <a:lnTo>
                    <a:pt x="605" y="628"/>
                  </a:lnTo>
                  <a:close/>
                  <a:moveTo>
                    <a:pt x="337" y="607"/>
                  </a:moveTo>
                  <a:lnTo>
                    <a:pt x="277" y="607"/>
                  </a:lnTo>
                  <a:lnTo>
                    <a:pt x="277" y="679"/>
                  </a:lnTo>
                  <a:lnTo>
                    <a:pt x="336" y="679"/>
                  </a:lnTo>
                  <a:cubicBezTo>
                    <a:pt x="364" y="679"/>
                    <a:pt x="390" y="674"/>
                    <a:pt x="390" y="645"/>
                  </a:cubicBezTo>
                  <a:cubicBezTo>
                    <a:pt x="390" y="609"/>
                    <a:pt x="355" y="607"/>
                    <a:pt x="337" y="607"/>
                  </a:cubicBezTo>
                  <a:close/>
                  <a:moveTo>
                    <a:pt x="1348" y="686"/>
                  </a:moveTo>
                  <a:cubicBezTo>
                    <a:pt x="1422" y="686"/>
                    <a:pt x="1426" y="610"/>
                    <a:pt x="1426" y="585"/>
                  </a:cubicBezTo>
                  <a:cubicBezTo>
                    <a:pt x="1426" y="558"/>
                    <a:pt x="1422" y="485"/>
                    <a:pt x="1348" y="485"/>
                  </a:cubicBezTo>
                  <a:cubicBezTo>
                    <a:pt x="1308" y="485"/>
                    <a:pt x="1271" y="506"/>
                    <a:pt x="1271" y="585"/>
                  </a:cubicBezTo>
                  <a:cubicBezTo>
                    <a:pt x="1271" y="664"/>
                    <a:pt x="1308" y="686"/>
                    <a:pt x="1348" y="686"/>
                  </a:cubicBezTo>
                  <a:close/>
                  <a:moveTo>
                    <a:pt x="1385" y="157"/>
                  </a:moveTo>
                  <a:lnTo>
                    <a:pt x="1334" y="157"/>
                  </a:lnTo>
                  <a:lnTo>
                    <a:pt x="1334" y="128"/>
                  </a:lnTo>
                  <a:lnTo>
                    <a:pt x="1380" y="128"/>
                  </a:lnTo>
                  <a:lnTo>
                    <a:pt x="1380" y="105"/>
                  </a:lnTo>
                  <a:lnTo>
                    <a:pt x="1334" y="105"/>
                  </a:lnTo>
                  <a:lnTo>
                    <a:pt x="1334" y="79"/>
                  </a:lnTo>
                  <a:lnTo>
                    <a:pt x="1383" y="79"/>
                  </a:lnTo>
                  <a:lnTo>
                    <a:pt x="1383" y="56"/>
                  </a:lnTo>
                  <a:lnTo>
                    <a:pt x="1306" y="56"/>
                  </a:lnTo>
                  <a:lnTo>
                    <a:pt x="1306" y="180"/>
                  </a:lnTo>
                  <a:lnTo>
                    <a:pt x="1385" y="180"/>
                  </a:lnTo>
                  <a:lnTo>
                    <a:pt x="1385" y="157"/>
                  </a:lnTo>
                  <a:close/>
                  <a:moveTo>
                    <a:pt x="1128" y="101"/>
                  </a:moveTo>
                  <a:cubicBezTo>
                    <a:pt x="1130" y="94"/>
                    <a:pt x="1132" y="85"/>
                    <a:pt x="1133" y="77"/>
                  </a:cubicBezTo>
                  <a:lnTo>
                    <a:pt x="1134" y="77"/>
                  </a:lnTo>
                  <a:cubicBezTo>
                    <a:pt x="1136" y="85"/>
                    <a:pt x="1138" y="94"/>
                    <a:pt x="1140" y="101"/>
                  </a:cubicBezTo>
                  <a:lnTo>
                    <a:pt x="1148" y="127"/>
                  </a:lnTo>
                  <a:lnTo>
                    <a:pt x="1120" y="127"/>
                  </a:lnTo>
                  <a:lnTo>
                    <a:pt x="1128" y="101"/>
                  </a:lnTo>
                  <a:close/>
                  <a:moveTo>
                    <a:pt x="1116" y="148"/>
                  </a:moveTo>
                  <a:lnTo>
                    <a:pt x="1152" y="148"/>
                  </a:lnTo>
                  <a:lnTo>
                    <a:pt x="1161" y="180"/>
                  </a:lnTo>
                  <a:lnTo>
                    <a:pt x="1192" y="180"/>
                  </a:lnTo>
                  <a:lnTo>
                    <a:pt x="1153" y="56"/>
                  </a:lnTo>
                  <a:lnTo>
                    <a:pt x="1116" y="56"/>
                  </a:lnTo>
                  <a:lnTo>
                    <a:pt x="1079" y="180"/>
                  </a:lnTo>
                  <a:lnTo>
                    <a:pt x="1108" y="180"/>
                  </a:lnTo>
                  <a:lnTo>
                    <a:pt x="1116" y="148"/>
                  </a:lnTo>
                  <a:close/>
                  <a:moveTo>
                    <a:pt x="1225" y="180"/>
                  </a:moveTo>
                  <a:lnTo>
                    <a:pt x="1253" y="180"/>
                  </a:lnTo>
                  <a:lnTo>
                    <a:pt x="1253" y="80"/>
                  </a:lnTo>
                  <a:lnTo>
                    <a:pt x="1287" y="80"/>
                  </a:lnTo>
                  <a:lnTo>
                    <a:pt x="1287" y="56"/>
                  </a:lnTo>
                  <a:lnTo>
                    <a:pt x="1191" y="56"/>
                  </a:lnTo>
                  <a:lnTo>
                    <a:pt x="1191" y="80"/>
                  </a:lnTo>
                  <a:lnTo>
                    <a:pt x="1225" y="80"/>
                  </a:lnTo>
                  <a:lnTo>
                    <a:pt x="1225" y="180"/>
                  </a:lnTo>
                  <a:close/>
                  <a:moveTo>
                    <a:pt x="993" y="136"/>
                  </a:moveTo>
                  <a:cubicBezTo>
                    <a:pt x="996" y="124"/>
                    <a:pt x="998" y="110"/>
                    <a:pt x="998" y="96"/>
                  </a:cubicBezTo>
                  <a:lnTo>
                    <a:pt x="998" y="79"/>
                  </a:lnTo>
                  <a:lnTo>
                    <a:pt x="1025" y="79"/>
                  </a:lnTo>
                  <a:lnTo>
                    <a:pt x="1025" y="157"/>
                  </a:lnTo>
                  <a:lnTo>
                    <a:pt x="984" y="157"/>
                  </a:lnTo>
                  <a:cubicBezTo>
                    <a:pt x="987" y="151"/>
                    <a:pt x="990" y="144"/>
                    <a:pt x="993" y="136"/>
                  </a:cubicBezTo>
                  <a:close/>
                  <a:moveTo>
                    <a:pt x="968" y="212"/>
                  </a:moveTo>
                  <a:lnTo>
                    <a:pt x="969" y="180"/>
                  </a:lnTo>
                  <a:lnTo>
                    <a:pt x="1041" y="180"/>
                  </a:lnTo>
                  <a:lnTo>
                    <a:pt x="1043" y="212"/>
                  </a:lnTo>
                  <a:lnTo>
                    <a:pt x="1064" y="212"/>
                  </a:lnTo>
                  <a:lnTo>
                    <a:pt x="1066" y="159"/>
                  </a:lnTo>
                  <a:lnTo>
                    <a:pt x="1053" y="158"/>
                  </a:lnTo>
                  <a:lnTo>
                    <a:pt x="1053" y="56"/>
                  </a:lnTo>
                  <a:lnTo>
                    <a:pt x="972" y="56"/>
                  </a:lnTo>
                  <a:lnTo>
                    <a:pt x="972" y="89"/>
                  </a:lnTo>
                  <a:cubicBezTo>
                    <a:pt x="972" y="104"/>
                    <a:pt x="971" y="118"/>
                    <a:pt x="967" y="131"/>
                  </a:cubicBezTo>
                  <a:cubicBezTo>
                    <a:pt x="964" y="140"/>
                    <a:pt x="960" y="149"/>
                    <a:pt x="955" y="158"/>
                  </a:cubicBezTo>
                  <a:lnTo>
                    <a:pt x="945" y="159"/>
                  </a:lnTo>
                  <a:lnTo>
                    <a:pt x="946" y="212"/>
                  </a:lnTo>
                  <a:lnTo>
                    <a:pt x="968" y="212"/>
                  </a:lnTo>
                  <a:close/>
                  <a:moveTo>
                    <a:pt x="492" y="122"/>
                  </a:moveTo>
                  <a:cubicBezTo>
                    <a:pt x="493" y="144"/>
                    <a:pt x="498" y="164"/>
                    <a:pt x="505" y="181"/>
                  </a:cubicBezTo>
                  <a:cubicBezTo>
                    <a:pt x="495" y="186"/>
                    <a:pt x="488" y="191"/>
                    <a:pt x="484" y="193"/>
                  </a:cubicBezTo>
                  <a:cubicBezTo>
                    <a:pt x="464" y="175"/>
                    <a:pt x="451" y="150"/>
                    <a:pt x="450" y="122"/>
                  </a:cubicBezTo>
                  <a:lnTo>
                    <a:pt x="492" y="122"/>
                  </a:lnTo>
                  <a:close/>
                  <a:moveTo>
                    <a:pt x="488" y="39"/>
                  </a:moveTo>
                  <a:cubicBezTo>
                    <a:pt x="493" y="42"/>
                    <a:pt x="500" y="46"/>
                    <a:pt x="508" y="50"/>
                  </a:cubicBezTo>
                  <a:cubicBezTo>
                    <a:pt x="500" y="67"/>
                    <a:pt x="493" y="88"/>
                    <a:pt x="492" y="112"/>
                  </a:cubicBezTo>
                  <a:lnTo>
                    <a:pt x="450" y="112"/>
                  </a:lnTo>
                  <a:cubicBezTo>
                    <a:pt x="452" y="83"/>
                    <a:pt x="466" y="57"/>
                    <a:pt x="488" y="39"/>
                  </a:cubicBezTo>
                  <a:close/>
                  <a:moveTo>
                    <a:pt x="529" y="16"/>
                  </a:moveTo>
                  <a:cubicBezTo>
                    <a:pt x="524" y="22"/>
                    <a:pt x="519" y="31"/>
                    <a:pt x="513" y="41"/>
                  </a:cubicBezTo>
                  <a:cubicBezTo>
                    <a:pt x="512" y="40"/>
                    <a:pt x="511" y="40"/>
                    <a:pt x="511" y="40"/>
                  </a:cubicBezTo>
                  <a:cubicBezTo>
                    <a:pt x="505" y="37"/>
                    <a:pt x="501" y="34"/>
                    <a:pt x="497" y="32"/>
                  </a:cubicBezTo>
                  <a:cubicBezTo>
                    <a:pt x="507" y="25"/>
                    <a:pt x="518" y="20"/>
                    <a:pt x="529" y="16"/>
                  </a:cubicBezTo>
                  <a:close/>
                  <a:moveTo>
                    <a:pt x="563" y="10"/>
                  </a:moveTo>
                  <a:lnTo>
                    <a:pt x="563" y="53"/>
                  </a:lnTo>
                  <a:cubicBezTo>
                    <a:pt x="548" y="53"/>
                    <a:pt x="534" y="49"/>
                    <a:pt x="523" y="45"/>
                  </a:cubicBezTo>
                  <a:cubicBezTo>
                    <a:pt x="524" y="43"/>
                    <a:pt x="525" y="42"/>
                    <a:pt x="526" y="40"/>
                  </a:cubicBezTo>
                  <a:cubicBezTo>
                    <a:pt x="535" y="25"/>
                    <a:pt x="545" y="15"/>
                    <a:pt x="547" y="12"/>
                  </a:cubicBezTo>
                  <a:cubicBezTo>
                    <a:pt x="553" y="11"/>
                    <a:pt x="558" y="10"/>
                    <a:pt x="563" y="10"/>
                  </a:cubicBezTo>
                  <a:close/>
                  <a:moveTo>
                    <a:pt x="563" y="112"/>
                  </a:moveTo>
                  <a:lnTo>
                    <a:pt x="503" y="112"/>
                  </a:lnTo>
                  <a:cubicBezTo>
                    <a:pt x="504" y="90"/>
                    <a:pt x="510" y="71"/>
                    <a:pt x="518" y="55"/>
                  </a:cubicBezTo>
                  <a:cubicBezTo>
                    <a:pt x="530" y="60"/>
                    <a:pt x="546" y="63"/>
                    <a:pt x="563" y="64"/>
                  </a:cubicBezTo>
                  <a:lnTo>
                    <a:pt x="563" y="112"/>
                  </a:lnTo>
                  <a:close/>
                  <a:moveTo>
                    <a:pt x="563" y="166"/>
                  </a:moveTo>
                  <a:cubicBezTo>
                    <a:pt x="544" y="166"/>
                    <a:pt x="528" y="171"/>
                    <a:pt x="515" y="176"/>
                  </a:cubicBezTo>
                  <a:cubicBezTo>
                    <a:pt x="509" y="161"/>
                    <a:pt x="504" y="143"/>
                    <a:pt x="503" y="122"/>
                  </a:cubicBezTo>
                  <a:lnTo>
                    <a:pt x="563" y="122"/>
                  </a:lnTo>
                  <a:lnTo>
                    <a:pt x="563" y="166"/>
                  </a:lnTo>
                  <a:close/>
                  <a:moveTo>
                    <a:pt x="563" y="225"/>
                  </a:moveTo>
                  <a:cubicBezTo>
                    <a:pt x="556" y="225"/>
                    <a:pt x="549" y="224"/>
                    <a:pt x="542" y="223"/>
                  </a:cubicBezTo>
                  <a:cubicBezTo>
                    <a:pt x="539" y="219"/>
                    <a:pt x="531" y="209"/>
                    <a:pt x="523" y="194"/>
                  </a:cubicBezTo>
                  <a:cubicBezTo>
                    <a:pt x="522" y="192"/>
                    <a:pt x="520" y="189"/>
                    <a:pt x="519" y="186"/>
                  </a:cubicBezTo>
                  <a:cubicBezTo>
                    <a:pt x="531" y="181"/>
                    <a:pt x="546" y="177"/>
                    <a:pt x="563" y="176"/>
                  </a:cubicBezTo>
                  <a:lnTo>
                    <a:pt x="563" y="225"/>
                  </a:lnTo>
                  <a:close/>
                  <a:moveTo>
                    <a:pt x="492" y="201"/>
                  </a:moveTo>
                  <a:cubicBezTo>
                    <a:pt x="496" y="198"/>
                    <a:pt x="502" y="194"/>
                    <a:pt x="509" y="191"/>
                  </a:cubicBezTo>
                  <a:cubicBezTo>
                    <a:pt x="515" y="202"/>
                    <a:pt x="520" y="211"/>
                    <a:pt x="525" y="218"/>
                  </a:cubicBezTo>
                  <a:cubicBezTo>
                    <a:pt x="513" y="214"/>
                    <a:pt x="502" y="208"/>
                    <a:pt x="492" y="201"/>
                  </a:cubicBezTo>
                  <a:close/>
                  <a:moveTo>
                    <a:pt x="573" y="176"/>
                  </a:moveTo>
                  <a:cubicBezTo>
                    <a:pt x="591" y="177"/>
                    <a:pt x="606" y="181"/>
                    <a:pt x="618" y="186"/>
                  </a:cubicBezTo>
                  <a:cubicBezTo>
                    <a:pt x="617" y="189"/>
                    <a:pt x="615" y="191"/>
                    <a:pt x="614" y="194"/>
                  </a:cubicBezTo>
                  <a:cubicBezTo>
                    <a:pt x="605" y="210"/>
                    <a:pt x="597" y="220"/>
                    <a:pt x="594" y="223"/>
                  </a:cubicBezTo>
                  <a:cubicBezTo>
                    <a:pt x="588" y="224"/>
                    <a:pt x="580" y="225"/>
                    <a:pt x="573" y="225"/>
                  </a:cubicBezTo>
                  <a:lnTo>
                    <a:pt x="573" y="176"/>
                  </a:lnTo>
                  <a:close/>
                  <a:moveTo>
                    <a:pt x="573" y="122"/>
                  </a:moveTo>
                  <a:lnTo>
                    <a:pt x="634" y="122"/>
                  </a:lnTo>
                  <a:cubicBezTo>
                    <a:pt x="633" y="142"/>
                    <a:pt x="628" y="161"/>
                    <a:pt x="622" y="176"/>
                  </a:cubicBezTo>
                  <a:cubicBezTo>
                    <a:pt x="609" y="171"/>
                    <a:pt x="592" y="167"/>
                    <a:pt x="573" y="166"/>
                  </a:cubicBezTo>
                  <a:lnTo>
                    <a:pt x="573" y="122"/>
                  </a:lnTo>
                  <a:close/>
                  <a:moveTo>
                    <a:pt x="573" y="64"/>
                  </a:moveTo>
                  <a:cubicBezTo>
                    <a:pt x="591" y="64"/>
                    <a:pt x="607" y="60"/>
                    <a:pt x="620" y="56"/>
                  </a:cubicBezTo>
                  <a:cubicBezTo>
                    <a:pt x="627" y="71"/>
                    <a:pt x="633" y="91"/>
                    <a:pt x="634" y="112"/>
                  </a:cubicBezTo>
                  <a:lnTo>
                    <a:pt x="573" y="112"/>
                  </a:lnTo>
                  <a:lnTo>
                    <a:pt x="573" y="64"/>
                  </a:lnTo>
                  <a:close/>
                  <a:moveTo>
                    <a:pt x="573" y="10"/>
                  </a:moveTo>
                  <a:cubicBezTo>
                    <a:pt x="579" y="10"/>
                    <a:pt x="584" y="11"/>
                    <a:pt x="589" y="12"/>
                  </a:cubicBezTo>
                  <a:cubicBezTo>
                    <a:pt x="592" y="15"/>
                    <a:pt x="602" y="25"/>
                    <a:pt x="611" y="40"/>
                  </a:cubicBezTo>
                  <a:cubicBezTo>
                    <a:pt x="612" y="42"/>
                    <a:pt x="613" y="44"/>
                    <a:pt x="614" y="46"/>
                  </a:cubicBezTo>
                  <a:cubicBezTo>
                    <a:pt x="603" y="50"/>
                    <a:pt x="589" y="53"/>
                    <a:pt x="573" y="54"/>
                  </a:cubicBezTo>
                  <a:lnTo>
                    <a:pt x="573" y="10"/>
                  </a:lnTo>
                  <a:close/>
                  <a:moveTo>
                    <a:pt x="643" y="33"/>
                  </a:moveTo>
                  <a:cubicBezTo>
                    <a:pt x="639" y="35"/>
                    <a:pt x="634" y="38"/>
                    <a:pt x="627" y="41"/>
                  </a:cubicBezTo>
                  <a:cubicBezTo>
                    <a:pt x="626" y="41"/>
                    <a:pt x="625" y="42"/>
                    <a:pt x="625" y="42"/>
                  </a:cubicBezTo>
                  <a:cubicBezTo>
                    <a:pt x="619" y="31"/>
                    <a:pt x="612" y="22"/>
                    <a:pt x="607" y="16"/>
                  </a:cubicBezTo>
                  <a:cubicBezTo>
                    <a:pt x="620" y="20"/>
                    <a:pt x="632" y="26"/>
                    <a:pt x="643" y="33"/>
                  </a:cubicBezTo>
                  <a:close/>
                  <a:moveTo>
                    <a:pt x="688" y="112"/>
                  </a:moveTo>
                  <a:lnTo>
                    <a:pt x="645" y="112"/>
                  </a:lnTo>
                  <a:cubicBezTo>
                    <a:pt x="644" y="89"/>
                    <a:pt x="637" y="68"/>
                    <a:pt x="630" y="52"/>
                  </a:cubicBezTo>
                  <a:cubicBezTo>
                    <a:pt x="640" y="47"/>
                    <a:pt x="647" y="43"/>
                    <a:pt x="652" y="40"/>
                  </a:cubicBezTo>
                  <a:cubicBezTo>
                    <a:pt x="673" y="59"/>
                    <a:pt x="686" y="84"/>
                    <a:pt x="688" y="112"/>
                  </a:cubicBezTo>
                  <a:close/>
                  <a:moveTo>
                    <a:pt x="655" y="192"/>
                  </a:moveTo>
                  <a:cubicBezTo>
                    <a:pt x="654" y="192"/>
                    <a:pt x="646" y="186"/>
                    <a:pt x="632" y="180"/>
                  </a:cubicBezTo>
                  <a:cubicBezTo>
                    <a:pt x="639" y="164"/>
                    <a:pt x="644" y="144"/>
                    <a:pt x="645" y="122"/>
                  </a:cubicBezTo>
                  <a:lnTo>
                    <a:pt x="688" y="122"/>
                  </a:lnTo>
                  <a:cubicBezTo>
                    <a:pt x="687" y="150"/>
                    <a:pt x="674" y="174"/>
                    <a:pt x="655" y="192"/>
                  </a:cubicBezTo>
                  <a:close/>
                  <a:moveTo>
                    <a:pt x="612" y="218"/>
                  </a:moveTo>
                  <a:cubicBezTo>
                    <a:pt x="616" y="211"/>
                    <a:pt x="622" y="202"/>
                    <a:pt x="628" y="190"/>
                  </a:cubicBezTo>
                  <a:cubicBezTo>
                    <a:pt x="637" y="194"/>
                    <a:pt x="643" y="198"/>
                    <a:pt x="646" y="200"/>
                  </a:cubicBezTo>
                  <a:cubicBezTo>
                    <a:pt x="636" y="208"/>
                    <a:pt x="624" y="214"/>
                    <a:pt x="612" y="218"/>
                  </a:cubicBezTo>
                  <a:close/>
                  <a:moveTo>
                    <a:pt x="563" y="236"/>
                  </a:moveTo>
                  <a:lnTo>
                    <a:pt x="563" y="236"/>
                  </a:lnTo>
                  <a:lnTo>
                    <a:pt x="573" y="236"/>
                  </a:lnTo>
                  <a:lnTo>
                    <a:pt x="573" y="236"/>
                  </a:lnTo>
                  <a:cubicBezTo>
                    <a:pt x="643" y="234"/>
                    <a:pt x="699" y="182"/>
                    <a:pt x="699" y="118"/>
                  </a:cubicBezTo>
                  <a:cubicBezTo>
                    <a:pt x="699" y="53"/>
                    <a:pt x="641" y="0"/>
                    <a:pt x="569" y="0"/>
                  </a:cubicBezTo>
                  <a:cubicBezTo>
                    <a:pt x="497" y="0"/>
                    <a:pt x="438" y="53"/>
                    <a:pt x="438" y="118"/>
                  </a:cubicBezTo>
                  <a:cubicBezTo>
                    <a:pt x="438" y="181"/>
                    <a:pt x="494" y="233"/>
                    <a:pt x="563" y="236"/>
                  </a:cubicBezTo>
                  <a:close/>
                  <a:moveTo>
                    <a:pt x="776" y="135"/>
                  </a:moveTo>
                  <a:cubicBezTo>
                    <a:pt x="783" y="122"/>
                    <a:pt x="791" y="106"/>
                    <a:pt x="797" y="91"/>
                  </a:cubicBezTo>
                  <a:lnTo>
                    <a:pt x="797" y="91"/>
                  </a:lnTo>
                  <a:cubicBezTo>
                    <a:pt x="796" y="107"/>
                    <a:pt x="795" y="124"/>
                    <a:pt x="795" y="144"/>
                  </a:cubicBezTo>
                  <a:lnTo>
                    <a:pt x="795" y="180"/>
                  </a:lnTo>
                  <a:lnTo>
                    <a:pt x="821" y="180"/>
                  </a:lnTo>
                  <a:lnTo>
                    <a:pt x="821" y="56"/>
                  </a:lnTo>
                  <a:lnTo>
                    <a:pt x="792" y="56"/>
                  </a:lnTo>
                  <a:lnTo>
                    <a:pt x="766" y="105"/>
                  </a:lnTo>
                  <a:cubicBezTo>
                    <a:pt x="758" y="118"/>
                    <a:pt x="750" y="135"/>
                    <a:pt x="744" y="149"/>
                  </a:cubicBezTo>
                  <a:lnTo>
                    <a:pt x="743" y="149"/>
                  </a:lnTo>
                  <a:cubicBezTo>
                    <a:pt x="744" y="133"/>
                    <a:pt x="744" y="113"/>
                    <a:pt x="744" y="93"/>
                  </a:cubicBezTo>
                  <a:lnTo>
                    <a:pt x="744" y="56"/>
                  </a:lnTo>
                  <a:lnTo>
                    <a:pt x="719" y="56"/>
                  </a:lnTo>
                  <a:lnTo>
                    <a:pt x="719" y="180"/>
                  </a:lnTo>
                  <a:lnTo>
                    <a:pt x="751" y="180"/>
                  </a:lnTo>
                  <a:lnTo>
                    <a:pt x="776" y="135"/>
                  </a:lnTo>
                  <a:close/>
                  <a:moveTo>
                    <a:pt x="879" y="159"/>
                  </a:moveTo>
                  <a:cubicBezTo>
                    <a:pt x="868" y="159"/>
                    <a:pt x="855" y="155"/>
                    <a:pt x="849" y="152"/>
                  </a:cubicBezTo>
                  <a:lnTo>
                    <a:pt x="843" y="174"/>
                  </a:lnTo>
                  <a:cubicBezTo>
                    <a:pt x="854" y="179"/>
                    <a:pt x="868" y="182"/>
                    <a:pt x="880" y="182"/>
                  </a:cubicBezTo>
                  <a:cubicBezTo>
                    <a:pt x="904" y="182"/>
                    <a:pt x="932" y="173"/>
                    <a:pt x="932" y="145"/>
                  </a:cubicBezTo>
                  <a:cubicBezTo>
                    <a:pt x="932" y="128"/>
                    <a:pt x="918" y="118"/>
                    <a:pt x="903" y="116"/>
                  </a:cubicBezTo>
                  <a:lnTo>
                    <a:pt x="903" y="115"/>
                  </a:lnTo>
                  <a:cubicBezTo>
                    <a:pt x="917" y="112"/>
                    <a:pt x="927" y="101"/>
                    <a:pt x="927" y="86"/>
                  </a:cubicBezTo>
                  <a:cubicBezTo>
                    <a:pt x="927" y="68"/>
                    <a:pt x="911" y="54"/>
                    <a:pt x="884" y="54"/>
                  </a:cubicBezTo>
                  <a:cubicBezTo>
                    <a:pt x="867" y="54"/>
                    <a:pt x="854" y="59"/>
                    <a:pt x="846" y="64"/>
                  </a:cubicBezTo>
                  <a:lnTo>
                    <a:pt x="852" y="84"/>
                  </a:lnTo>
                  <a:cubicBezTo>
                    <a:pt x="859" y="81"/>
                    <a:pt x="870" y="77"/>
                    <a:pt x="879" y="77"/>
                  </a:cubicBezTo>
                  <a:cubicBezTo>
                    <a:pt x="891" y="77"/>
                    <a:pt x="898" y="82"/>
                    <a:pt x="898" y="90"/>
                  </a:cubicBezTo>
                  <a:cubicBezTo>
                    <a:pt x="898" y="100"/>
                    <a:pt x="889" y="106"/>
                    <a:pt x="876" y="106"/>
                  </a:cubicBezTo>
                  <a:lnTo>
                    <a:pt x="864" y="106"/>
                  </a:lnTo>
                  <a:lnTo>
                    <a:pt x="864" y="127"/>
                  </a:lnTo>
                  <a:lnTo>
                    <a:pt x="876" y="127"/>
                  </a:lnTo>
                  <a:cubicBezTo>
                    <a:pt x="888" y="127"/>
                    <a:pt x="902" y="129"/>
                    <a:pt x="902" y="143"/>
                  </a:cubicBezTo>
                  <a:cubicBezTo>
                    <a:pt x="902" y="153"/>
                    <a:pt x="893" y="159"/>
                    <a:pt x="879" y="159"/>
                  </a:cubicBezTo>
                  <a:close/>
                  <a:moveTo>
                    <a:pt x="1900" y="125"/>
                  </a:moveTo>
                  <a:lnTo>
                    <a:pt x="1910" y="125"/>
                  </a:lnTo>
                  <a:cubicBezTo>
                    <a:pt x="1924" y="125"/>
                    <a:pt x="1935" y="130"/>
                    <a:pt x="1935" y="143"/>
                  </a:cubicBezTo>
                  <a:cubicBezTo>
                    <a:pt x="1935" y="156"/>
                    <a:pt x="1924" y="161"/>
                    <a:pt x="1911" y="161"/>
                  </a:cubicBezTo>
                  <a:cubicBezTo>
                    <a:pt x="1906" y="161"/>
                    <a:pt x="1903" y="161"/>
                    <a:pt x="1900" y="160"/>
                  </a:cubicBezTo>
                  <a:lnTo>
                    <a:pt x="1900" y="125"/>
                  </a:lnTo>
                  <a:close/>
                  <a:moveTo>
                    <a:pt x="1900" y="76"/>
                  </a:moveTo>
                  <a:cubicBezTo>
                    <a:pt x="1903" y="76"/>
                    <a:pt x="1906" y="76"/>
                    <a:pt x="1912" y="76"/>
                  </a:cubicBezTo>
                  <a:cubicBezTo>
                    <a:pt x="1925" y="76"/>
                    <a:pt x="1932" y="81"/>
                    <a:pt x="1932" y="90"/>
                  </a:cubicBezTo>
                  <a:cubicBezTo>
                    <a:pt x="1932" y="99"/>
                    <a:pt x="1924" y="105"/>
                    <a:pt x="1910" y="105"/>
                  </a:cubicBezTo>
                  <a:lnTo>
                    <a:pt x="1900" y="105"/>
                  </a:lnTo>
                  <a:lnTo>
                    <a:pt x="1900" y="76"/>
                  </a:lnTo>
                  <a:close/>
                  <a:moveTo>
                    <a:pt x="1952" y="170"/>
                  </a:moveTo>
                  <a:cubicBezTo>
                    <a:pt x="1959" y="164"/>
                    <a:pt x="1965" y="155"/>
                    <a:pt x="1965" y="144"/>
                  </a:cubicBezTo>
                  <a:cubicBezTo>
                    <a:pt x="1965" y="128"/>
                    <a:pt x="1954" y="117"/>
                    <a:pt x="1940" y="113"/>
                  </a:cubicBezTo>
                  <a:lnTo>
                    <a:pt x="1940" y="113"/>
                  </a:lnTo>
                  <a:cubicBezTo>
                    <a:pt x="1954" y="108"/>
                    <a:pt x="1960" y="98"/>
                    <a:pt x="1960" y="87"/>
                  </a:cubicBezTo>
                  <a:cubicBezTo>
                    <a:pt x="1960" y="75"/>
                    <a:pt x="1954" y="67"/>
                    <a:pt x="1945" y="62"/>
                  </a:cubicBezTo>
                  <a:cubicBezTo>
                    <a:pt x="1936" y="57"/>
                    <a:pt x="1926" y="55"/>
                    <a:pt x="1909" y="55"/>
                  </a:cubicBezTo>
                  <a:cubicBezTo>
                    <a:pt x="1895" y="55"/>
                    <a:pt x="1880" y="56"/>
                    <a:pt x="1873" y="58"/>
                  </a:cubicBezTo>
                  <a:lnTo>
                    <a:pt x="1873" y="180"/>
                  </a:lnTo>
                  <a:cubicBezTo>
                    <a:pt x="1879" y="180"/>
                    <a:pt x="1889" y="181"/>
                    <a:pt x="1903" y="181"/>
                  </a:cubicBezTo>
                  <a:cubicBezTo>
                    <a:pt x="1928" y="181"/>
                    <a:pt x="1943" y="177"/>
                    <a:pt x="1952" y="170"/>
                  </a:cubicBezTo>
                  <a:close/>
                  <a:moveTo>
                    <a:pt x="1791" y="180"/>
                  </a:moveTo>
                  <a:lnTo>
                    <a:pt x="1819" y="180"/>
                  </a:lnTo>
                  <a:lnTo>
                    <a:pt x="1819" y="80"/>
                  </a:lnTo>
                  <a:lnTo>
                    <a:pt x="1853" y="80"/>
                  </a:lnTo>
                  <a:lnTo>
                    <a:pt x="1853" y="56"/>
                  </a:lnTo>
                  <a:lnTo>
                    <a:pt x="1758" y="56"/>
                  </a:lnTo>
                  <a:lnTo>
                    <a:pt x="1758" y="80"/>
                  </a:lnTo>
                  <a:lnTo>
                    <a:pt x="1791" y="80"/>
                  </a:lnTo>
                  <a:lnTo>
                    <a:pt x="1791" y="180"/>
                  </a:lnTo>
                  <a:close/>
                  <a:moveTo>
                    <a:pt x="2041" y="76"/>
                  </a:moveTo>
                  <a:cubicBezTo>
                    <a:pt x="2061" y="76"/>
                    <a:pt x="2071" y="96"/>
                    <a:pt x="2071" y="118"/>
                  </a:cubicBezTo>
                  <a:cubicBezTo>
                    <a:pt x="2071" y="142"/>
                    <a:pt x="2061" y="160"/>
                    <a:pt x="2042" y="160"/>
                  </a:cubicBezTo>
                  <a:cubicBezTo>
                    <a:pt x="2023" y="160"/>
                    <a:pt x="2011" y="143"/>
                    <a:pt x="2011" y="119"/>
                  </a:cubicBezTo>
                  <a:cubicBezTo>
                    <a:pt x="2011" y="94"/>
                    <a:pt x="2022" y="76"/>
                    <a:pt x="2041" y="76"/>
                  </a:cubicBezTo>
                  <a:close/>
                  <a:moveTo>
                    <a:pt x="2040" y="182"/>
                  </a:moveTo>
                  <a:cubicBezTo>
                    <a:pt x="2076" y="182"/>
                    <a:pt x="2101" y="158"/>
                    <a:pt x="2101" y="117"/>
                  </a:cubicBezTo>
                  <a:cubicBezTo>
                    <a:pt x="2101" y="83"/>
                    <a:pt x="2080" y="54"/>
                    <a:pt x="2042" y="54"/>
                  </a:cubicBezTo>
                  <a:cubicBezTo>
                    <a:pt x="2006" y="54"/>
                    <a:pt x="1982" y="82"/>
                    <a:pt x="1982" y="119"/>
                  </a:cubicBezTo>
                  <a:cubicBezTo>
                    <a:pt x="1982" y="154"/>
                    <a:pt x="2003" y="182"/>
                    <a:pt x="2040" y="182"/>
                  </a:cubicBezTo>
                  <a:close/>
                  <a:moveTo>
                    <a:pt x="1563" y="121"/>
                  </a:moveTo>
                  <a:cubicBezTo>
                    <a:pt x="1566" y="120"/>
                    <a:pt x="1569" y="120"/>
                    <a:pt x="1573" y="120"/>
                  </a:cubicBezTo>
                  <a:cubicBezTo>
                    <a:pt x="1587" y="120"/>
                    <a:pt x="1598" y="126"/>
                    <a:pt x="1598" y="140"/>
                  </a:cubicBezTo>
                  <a:cubicBezTo>
                    <a:pt x="1598" y="154"/>
                    <a:pt x="1587" y="160"/>
                    <a:pt x="1573" y="160"/>
                  </a:cubicBezTo>
                  <a:cubicBezTo>
                    <a:pt x="1569" y="160"/>
                    <a:pt x="1566" y="160"/>
                    <a:pt x="1563" y="160"/>
                  </a:cubicBezTo>
                  <a:lnTo>
                    <a:pt x="1563" y="121"/>
                  </a:lnTo>
                  <a:close/>
                  <a:moveTo>
                    <a:pt x="1617" y="166"/>
                  </a:moveTo>
                  <a:cubicBezTo>
                    <a:pt x="1623" y="159"/>
                    <a:pt x="1627" y="150"/>
                    <a:pt x="1627" y="139"/>
                  </a:cubicBezTo>
                  <a:cubicBezTo>
                    <a:pt x="1627" y="111"/>
                    <a:pt x="1604" y="98"/>
                    <a:pt x="1578" y="98"/>
                  </a:cubicBezTo>
                  <a:cubicBezTo>
                    <a:pt x="1572" y="98"/>
                    <a:pt x="1567" y="99"/>
                    <a:pt x="1563" y="99"/>
                  </a:cubicBezTo>
                  <a:lnTo>
                    <a:pt x="1563" y="56"/>
                  </a:lnTo>
                  <a:lnTo>
                    <a:pt x="1535" y="56"/>
                  </a:lnTo>
                  <a:lnTo>
                    <a:pt x="1535" y="180"/>
                  </a:lnTo>
                  <a:cubicBezTo>
                    <a:pt x="1541" y="180"/>
                    <a:pt x="1551" y="181"/>
                    <a:pt x="1565" y="181"/>
                  </a:cubicBezTo>
                  <a:cubicBezTo>
                    <a:pt x="1584" y="181"/>
                    <a:pt x="1605" y="178"/>
                    <a:pt x="1617" y="166"/>
                  </a:cubicBezTo>
                  <a:close/>
                  <a:moveTo>
                    <a:pt x="1709" y="182"/>
                  </a:moveTo>
                  <a:cubicBezTo>
                    <a:pt x="1724" y="182"/>
                    <a:pt x="1735" y="179"/>
                    <a:pt x="1741" y="177"/>
                  </a:cubicBezTo>
                  <a:lnTo>
                    <a:pt x="1736" y="155"/>
                  </a:lnTo>
                  <a:cubicBezTo>
                    <a:pt x="1731" y="157"/>
                    <a:pt x="1721" y="159"/>
                    <a:pt x="1713" y="159"/>
                  </a:cubicBezTo>
                  <a:cubicBezTo>
                    <a:pt x="1688" y="159"/>
                    <a:pt x="1673" y="143"/>
                    <a:pt x="1673" y="118"/>
                  </a:cubicBezTo>
                  <a:cubicBezTo>
                    <a:pt x="1673" y="91"/>
                    <a:pt x="1691" y="77"/>
                    <a:pt x="1713" y="77"/>
                  </a:cubicBezTo>
                  <a:cubicBezTo>
                    <a:pt x="1723" y="77"/>
                    <a:pt x="1731" y="80"/>
                    <a:pt x="1736" y="82"/>
                  </a:cubicBezTo>
                  <a:lnTo>
                    <a:pt x="1742" y="60"/>
                  </a:lnTo>
                  <a:cubicBezTo>
                    <a:pt x="1737" y="57"/>
                    <a:pt x="1726" y="54"/>
                    <a:pt x="1712" y="54"/>
                  </a:cubicBezTo>
                  <a:cubicBezTo>
                    <a:pt x="1674" y="54"/>
                    <a:pt x="1644" y="78"/>
                    <a:pt x="1644" y="120"/>
                  </a:cubicBezTo>
                  <a:cubicBezTo>
                    <a:pt x="1644" y="155"/>
                    <a:pt x="1666" y="182"/>
                    <a:pt x="1709" y="182"/>
                  </a:cubicBezTo>
                  <a:close/>
                  <a:moveTo>
                    <a:pt x="1427" y="176"/>
                  </a:moveTo>
                  <a:cubicBezTo>
                    <a:pt x="1445" y="165"/>
                    <a:pt x="1450" y="140"/>
                    <a:pt x="1450" y="109"/>
                  </a:cubicBezTo>
                  <a:lnTo>
                    <a:pt x="1450" y="79"/>
                  </a:lnTo>
                  <a:lnTo>
                    <a:pt x="1478" y="79"/>
                  </a:lnTo>
                  <a:lnTo>
                    <a:pt x="1478" y="180"/>
                  </a:lnTo>
                  <a:lnTo>
                    <a:pt x="1506" y="180"/>
                  </a:lnTo>
                  <a:lnTo>
                    <a:pt x="1506" y="56"/>
                  </a:lnTo>
                  <a:lnTo>
                    <a:pt x="1422" y="56"/>
                  </a:lnTo>
                  <a:lnTo>
                    <a:pt x="1422" y="110"/>
                  </a:lnTo>
                  <a:cubicBezTo>
                    <a:pt x="1422" y="129"/>
                    <a:pt x="1420" y="145"/>
                    <a:pt x="1413" y="153"/>
                  </a:cubicBezTo>
                  <a:cubicBezTo>
                    <a:pt x="1410" y="156"/>
                    <a:pt x="1405" y="159"/>
                    <a:pt x="1399" y="160"/>
                  </a:cubicBezTo>
                  <a:lnTo>
                    <a:pt x="1402" y="182"/>
                  </a:lnTo>
                  <a:cubicBezTo>
                    <a:pt x="1412" y="182"/>
                    <a:pt x="1421" y="180"/>
                    <a:pt x="1427" y="17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</p:grpSp>
      <p:pic>
        <p:nvPicPr>
          <p:cNvPr id="56322" name="Picture 2" descr="G:\2019\ПРОСВЕЩЕНИЕ\2020\август\августовка на переделку\Рисунок1.emf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29542" y="1655303"/>
            <a:ext cx="780452" cy="7804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4" name="Прямоугольник 63"/>
          <p:cNvSpPr/>
          <p:nvPr/>
        </p:nvSpPr>
        <p:spPr>
          <a:xfrm>
            <a:off x="7817563" y="5172207"/>
            <a:ext cx="4063100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ru-RU" b="1" dirty="0">
                <a:solidFill>
                  <a:srgbClr val="002060"/>
                </a:solidFill>
              </a:rPr>
              <a:t>Ведущий методист </a:t>
            </a:r>
            <a:r>
              <a:rPr lang="ru-RU" b="1" dirty="0" smtClean="0">
                <a:solidFill>
                  <a:srgbClr val="002060"/>
                </a:solidFill>
              </a:rPr>
              <a:t>ГК «Просвещение»</a:t>
            </a:r>
          </a:p>
          <a:p>
            <a:pPr algn="r"/>
            <a:r>
              <a:rPr lang="ru-RU" b="1" dirty="0" smtClean="0">
                <a:solidFill>
                  <a:srgbClr val="002060"/>
                </a:solidFill>
              </a:rPr>
              <a:t>Литвинов </a:t>
            </a:r>
            <a:r>
              <a:rPr lang="ru-RU" b="1" dirty="0">
                <a:solidFill>
                  <a:srgbClr val="002060"/>
                </a:solidFill>
              </a:rPr>
              <a:t>Олег Андреевич</a:t>
            </a:r>
          </a:p>
        </p:txBody>
      </p:sp>
    </p:spTree>
    <p:extLst>
      <p:ext uri="{BB962C8B-B14F-4D97-AF65-F5344CB8AC3E}">
        <p14:creationId xmlns:p14="http://schemas.microsoft.com/office/powerpoint/2010/main" val="19386788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48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cxnSp>
        <p:nvCxnSpPr>
          <p:cNvPr id="68" name="Прямая соединительная линия 67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Freeform 8"/>
          <p:cNvSpPr>
            <a:spLocks/>
          </p:cNvSpPr>
          <p:nvPr/>
        </p:nvSpPr>
        <p:spPr bwMode="auto">
          <a:xfrm>
            <a:off x="7596965" y="3958541"/>
            <a:ext cx="391642" cy="348126"/>
          </a:xfrm>
          <a:custGeom>
            <a:avLst/>
            <a:gdLst>
              <a:gd name="T0" fmla="*/ 860 w 860"/>
              <a:gd name="T1" fmla="*/ 251 h 752"/>
              <a:gd name="T2" fmla="*/ 430 w 860"/>
              <a:gd name="T3" fmla="*/ 0 h 752"/>
              <a:gd name="T4" fmla="*/ 0 w 860"/>
              <a:gd name="T5" fmla="*/ 251 h 752"/>
              <a:gd name="T6" fmla="*/ 144 w 860"/>
              <a:gd name="T7" fmla="*/ 335 h 752"/>
              <a:gd name="T8" fmla="*/ 144 w 860"/>
              <a:gd name="T9" fmla="*/ 476 h 752"/>
              <a:gd name="T10" fmla="*/ 149 w 860"/>
              <a:gd name="T11" fmla="*/ 484 h 752"/>
              <a:gd name="T12" fmla="*/ 430 w 860"/>
              <a:gd name="T13" fmla="*/ 645 h 752"/>
              <a:gd name="T14" fmla="*/ 573 w 860"/>
              <a:gd name="T15" fmla="*/ 611 h 752"/>
              <a:gd name="T16" fmla="*/ 573 w 860"/>
              <a:gd name="T17" fmla="*/ 528 h 752"/>
              <a:gd name="T18" fmla="*/ 430 w 860"/>
              <a:gd name="T19" fmla="*/ 573 h 752"/>
              <a:gd name="T20" fmla="*/ 215 w 860"/>
              <a:gd name="T21" fmla="*/ 456 h 752"/>
              <a:gd name="T22" fmla="*/ 215 w 860"/>
              <a:gd name="T23" fmla="*/ 376 h 752"/>
              <a:gd name="T24" fmla="*/ 430 w 860"/>
              <a:gd name="T25" fmla="*/ 502 h 752"/>
              <a:gd name="T26" fmla="*/ 553 w 860"/>
              <a:gd name="T27" fmla="*/ 430 h 752"/>
              <a:gd name="T28" fmla="*/ 483 w 860"/>
              <a:gd name="T29" fmla="*/ 388 h 752"/>
              <a:gd name="T30" fmla="*/ 430 w 860"/>
              <a:gd name="T31" fmla="*/ 419 h 752"/>
              <a:gd name="T32" fmla="*/ 143 w 860"/>
              <a:gd name="T33" fmla="*/ 251 h 752"/>
              <a:gd name="T34" fmla="*/ 430 w 860"/>
              <a:gd name="T35" fmla="*/ 83 h 752"/>
              <a:gd name="T36" fmla="*/ 718 w 860"/>
              <a:gd name="T37" fmla="*/ 251 h 752"/>
              <a:gd name="T38" fmla="*/ 624 w 860"/>
              <a:gd name="T39" fmla="*/ 306 h 752"/>
              <a:gd name="T40" fmla="*/ 454 w 860"/>
              <a:gd name="T41" fmla="*/ 205 h 752"/>
              <a:gd name="T42" fmla="*/ 391 w 860"/>
              <a:gd name="T43" fmla="*/ 247 h 752"/>
              <a:gd name="T44" fmla="*/ 390 w 860"/>
              <a:gd name="T45" fmla="*/ 250 h 752"/>
              <a:gd name="T46" fmla="*/ 645 w 860"/>
              <a:gd name="T47" fmla="*/ 401 h 752"/>
              <a:gd name="T48" fmla="*/ 645 w 860"/>
              <a:gd name="T49" fmla="*/ 752 h 752"/>
              <a:gd name="T50" fmla="*/ 717 w 860"/>
              <a:gd name="T51" fmla="*/ 752 h 752"/>
              <a:gd name="T52" fmla="*/ 717 w 860"/>
              <a:gd name="T53" fmla="*/ 361 h 752"/>
              <a:gd name="T54" fmla="*/ 694 w 860"/>
              <a:gd name="T55" fmla="*/ 347 h 752"/>
              <a:gd name="T56" fmla="*/ 860 w 860"/>
              <a:gd name="T57" fmla="*/ 25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860" h="752">
                <a:moveTo>
                  <a:pt x="860" y="251"/>
                </a:moveTo>
                <a:lnTo>
                  <a:pt x="430" y="0"/>
                </a:lnTo>
                <a:lnTo>
                  <a:pt x="0" y="251"/>
                </a:lnTo>
                <a:lnTo>
                  <a:pt x="144" y="335"/>
                </a:lnTo>
                <a:lnTo>
                  <a:pt x="144" y="476"/>
                </a:lnTo>
                <a:lnTo>
                  <a:pt x="149" y="484"/>
                </a:lnTo>
                <a:cubicBezTo>
                  <a:pt x="207" y="583"/>
                  <a:pt x="315" y="645"/>
                  <a:pt x="430" y="645"/>
                </a:cubicBezTo>
                <a:cubicBezTo>
                  <a:pt x="481" y="645"/>
                  <a:pt x="529" y="632"/>
                  <a:pt x="573" y="611"/>
                </a:cubicBezTo>
                <a:lnTo>
                  <a:pt x="573" y="528"/>
                </a:lnTo>
                <a:cubicBezTo>
                  <a:pt x="532" y="557"/>
                  <a:pt x="482" y="573"/>
                  <a:pt x="430" y="573"/>
                </a:cubicBezTo>
                <a:cubicBezTo>
                  <a:pt x="343" y="573"/>
                  <a:pt x="262" y="528"/>
                  <a:pt x="215" y="456"/>
                </a:cubicBezTo>
                <a:lnTo>
                  <a:pt x="215" y="376"/>
                </a:lnTo>
                <a:lnTo>
                  <a:pt x="430" y="502"/>
                </a:lnTo>
                <a:lnTo>
                  <a:pt x="553" y="430"/>
                </a:lnTo>
                <a:lnTo>
                  <a:pt x="483" y="388"/>
                </a:lnTo>
                <a:lnTo>
                  <a:pt x="430" y="419"/>
                </a:lnTo>
                <a:lnTo>
                  <a:pt x="143" y="251"/>
                </a:lnTo>
                <a:lnTo>
                  <a:pt x="430" y="83"/>
                </a:lnTo>
                <a:lnTo>
                  <a:pt x="718" y="251"/>
                </a:lnTo>
                <a:lnTo>
                  <a:pt x="624" y="306"/>
                </a:lnTo>
                <a:lnTo>
                  <a:pt x="454" y="205"/>
                </a:lnTo>
                <a:lnTo>
                  <a:pt x="391" y="247"/>
                </a:lnTo>
                <a:lnTo>
                  <a:pt x="390" y="250"/>
                </a:lnTo>
                <a:lnTo>
                  <a:pt x="645" y="401"/>
                </a:lnTo>
                <a:lnTo>
                  <a:pt x="645" y="752"/>
                </a:lnTo>
                <a:lnTo>
                  <a:pt x="717" y="752"/>
                </a:lnTo>
                <a:lnTo>
                  <a:pt x="717" y="361"/>
                </a:lnTo>
                <a:lnTo>
                  <a:pt x="694" y="347"/>
                </a:lnTo>
                <a:lnTo>
                  <a:pt x="860" y="25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7" name="Freeform 10"/>
          <p:cNvSpPr>
            <a:spLocks noEditPoints="1"/>
          </p:cNvSpPr>
          <p:nvPr/>
        </p:nvSpPr>
        <p:spPr bwMode="auto">
          <a:xfrm>
            <a:off x="7614768" y="2782742"/>
            <a:ext cx="391642" cy="346149"/>
          </a:xfrm>
          <a:custGeom>
            <a:avLst/>
            <a:gdLst>
              <a:gd name="T0" fmla="*/ 608 w 859"/>
              <a:gd name="T1" fmla="*/ 0 h 752"/>
              <a:gd name="T2" fmla="*/ 250 w 859"/>
              <a:gd name="T3" fmla="*/ 0 h 752"/>
              <a:gd name="T4" fmla="*/ 250 w 859"/>
              <a:gd name="T5" fmla="*/ 72 h 752"/>
              <a:gd name="T6" fmla="*/ 608 w 859"/>
              <a:gd name="T7" fmla="*/ 72 h 752"/>
              <a:gd name="T8" fmla="*/ 608 w 859"/>
              <a:gd name="T9" fmla="*/ 0 h 752"/>
              <a:gd name="T10" fmla="*/ 608 w 859"/>
              <a:gd name="T11" fmla="*/ 394 h 752"/>
              <a:gd name="T12" fmla="*/ 608 w 859"/>
              <a:gd name="T13" fmla="*/ 322 h 752"/>
              <a:gd name="T14" fmla="*/ 537 w 859"/>
              <a:gd name="T15" fmla="*/ 322 h 752"/>
              <a:gd name="T16" fmla="*/ 537 w 859"/>
              <a:gd name="T17" fmla="*/ 394 h 752"/>
              <a:gd name="T18" fmla="*/ 322 w 859"/>
              <a:gd name="T19" fmla="*/ 394 h 752"/>
              <a:gd name="T20" fmla="*/ 322 w 859"/>
              <a:gd name="T21" fmla="*/ 322 h 752"/>
              <a:gd name="T22" fmla="*/ 250 w 859"/>
              <a:gd name="T23" fmla="*/ 322 h 752"/>
              <a:gd name="T24" fmla="*/ 250 w 859"/>
              <a:gd name="T25" fmla="*/ 394 h 752"/>
              <a:gd name="T26" fmla="*/ 71 w 859"/>
              <a:gd name="T27" fmla="*/ 394 h 752"/>
              <a:gd name="T28" fmla="*/ 71 w 859"/>
              <a:gd name="T29" fmla="*/ 215 h 752"/>
              <a:gd name="T30" fmla="*/ 787 w 859"/>
              <a:gd name="T31" fmla="*/ 215 h 752"/>
              <a:gd name="T32" fmla="*/ 787 w 859"/>
              <a:gd name="T33" fmla="*/ 394 h 752"/>
              <a:gd name="T34" fmla="*/ 608 w 859"/>
              <a:gd name="T35" fmla="*/ 394 h 752"/>
              <a:gd name="T36" fmla="*/ 0 w 859"/>
              <a:gd name="T37" fmla="*/ 143 h 752"/>
              <a:gd name="T38" fmla="*/ 0 w 859"/>
              <a:gd name="T39" fmla="*/ 376 h 752"/>
              <a:gd name="T40" fmla="*/ 71 w 859"/>
              <a:gd name="T41" fmla="*/ 466 h 752"/>
              <a:gd name="T42" fmla="*/ 250 w 859"/>
              <a:gd name="T43" fmla="*/ 466 h 752"/>
              <a:gd name="T44" fmla="*/ 250 w 859"/>
              <a:gd name="T45" fmla="*/ 537 h 752"/>
              <a:gd name="T46" fmla="*/ 322 w 859"/>
              <a:gd name="T47" fmla="*/ 537 h 752"/>
              <a:gd name="T48" fmla="*/ 322 w 859"/>
              <a:gd name="T49" fmla="*/ 466 h 752"/>
              <a:gd name="T50" fmla="*/ 537 w 859"/>
              <a:gd name="T51" fmla="*/ 466 h 752"/>
              <a:gd name="T52" fmla="*/ 537 w 859"/>
              <a:gd name="T53" fmla="*/ 537 h 752"/>
              <a:gd name="T54" fmla="*/ 608 w 859"/>
              <a:gd name="T55" fmla="*/ 537 h 752"/>
              <a:gd name="T56" fmla="*/ 608 w 859"/>
              <a:gd name="T57" fmla="*/ 466 h 752"/>
              <a:gd name="T58" fmla="*/ 788 w 859"/>
              <a:gd name="T59" fmla="*/ 466 h 752"/>
              <a:gd name="T60" fmla="*/ 859 w 859"/>
              <a:gd name="T61" fmla="*/ 376 h 752"/>
              <a:gd name="T62" fmla="*/ 859 w 859"/>
              <a:gd name="T63" fmla="*/ 143 h 752"/>
              <a:gd name="T64" fmla="*/ 0 w 859"/>
              <a:gd name="T65" fmla="*/ 143 h 752"/>
              <a:gd name="T66" fmla="*/ 716 w 859"/>
              <a:gd name="T67" fmla="*/ 681 h 752"/>
              <a:gd name="T68" fmla="*/ 143 w 859"/>
              <a:gd name="T69" fmla="*/ 681 h 752"/>
              <a:gd name="T70" fmla="*/ 143 w 859"/>
              <a:gd name="T71" fmla="*/ 502 h 752"/>
              <a:gd name="T72" fmla="*/ 71 w 859"/>
              <a:gd name="T73" fmla="*/ 502 h 752"/>
              <a:gd name="T74" fmla="*/ 71 w 859"/>
              <a:gd name="T75" fmla="*/ 668 h 752"/>
              <a:gd name="T76" fmla="*/ 143 w 859"/>
              <a:gd name="T77" fmla="*/ 752 h 752"/>
              <a:gd name="T78" fmla="*/ 716 w 859"/>
              <a:gd name="T79" fmla="*/ 752 h 752"/>
              <a:gd name="T80" fmla="*/ 787 w 859"/>
              <a:gd name="T81" fmla="*/ 668 h 752"/>
              <a:gd name="T82" fmla="*/ 787 w 859"/>
              <a:gd name="T83" fmla="*/ 502 h 752"/>
              <a:gd name="T84" fmla="*/ 716 w 859"/>
              <a:gd name="T85" fmla="*/ 502 h 752"/>
              <a:gd name="T86" fmla="*/ 716 w 859"/>
              <a:gd name="T87" fmla="*/ 68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859" h="752">
                <a:moveTo>
                  <a:pt x="608" y="0"/>
                </a:moveTo>
                <a:lnTo>
                  <a:pt x="250" y="0"/>
                </a:lnTo>
                <a:lnTo>
                  <a:pt x="250" y="72"/>
                </a:lnTo>
                <a:lnTo>
                  <a:pt x="608" y="72"/>
                </a:lnTo>
                <a:lnTo>
                  <a:pt x="608" y="0"/>
                </a:lnTo>
                <a:close/>
                <a:moveTo>
                  <a:pt x="608" y="394"/>
                </a:moveTo>
                <a:lnTo>
                  <a:pt x="608" y="322"/>
                </a:lnTo>
                <a:lnTo>
                  <a:pt x="537" y="322"/>
                </a:lnTo>
                <a:lnTo>
                  <a:pt x="537" y="394"/>
                </a:lnTo>
                <a:lnTo>
                  <a:pt x="322" y="394"/>
                </a:lnTo>
                <a:lnTo>
                  <a:pt x="322" y="322"/>
                </a:lnTo>
                <a:lnTo>
                  <a:pt x="250" y="322"/>
                </a:lnTo>
                <a:lnTo>
                  <a:pt x="250" y="394"/>
                </a:lnTo>
                <a:lnTo>
                  <a:pt x="71" y="394"/>
                </a:lnTo>
                <a:lnTo>
                  <a:pt x="71" y="215"/>
                </a:lnTo>
                <a:lnTo>
                  <a:pt x="787" y="215"/>
                </a:lnTo>
                <a:lnTo>
                  <a:pt x="787" y="394"/>
                </a:lnTo>
                <a:lnTo>
                  <a:pt x="608" y="394"/>
                </a:lnTo>
                <a:close/>
                <a:moveTo>
                  <a:pt x="0" y="143"/>
                </a:moveTo>
                <a:lnTo>
                  <a:pt x="0" y="376"/>
                </a:lnTo>
                <a:cubicBezTo>
                  <a:pt x="0" y="416"/>
                  <a:pt x="32" y="466"/>
                  <a:pt x="71" y="466"/>
                </a:cubicBezTo>
                <a:lnTo>
                  <a:pt x="250" y="466"/>
                </a:lnTo>
                <a:lnTo>
                  <a:pt x="250" y="537"/>
                </a:lnTo>
                <a:lnTo>
                  <a:pt x="322" y="537"/>
                </a:lnTo>
                <a:lnTo>
                  <a:pt x="322" y="466"/>
                </a:lnTo>
                <a:lnTo>
                  <a:pt x="537" y="466"/>
                </a:lnTo>
                <a:lnTo>
                  <a:pt x="537" y="537"/>
                </a:lnTo>
                <a:lnTo>
                  <a:pt x="608" y="537"/>
                </a:lnTo>
                <a:lnTo>
                  <a:pt x="608" y="466"/>
                </a:lnTo>
                <a:lnTo>
                  <a:pt x="788" y="466"/>
                </a:lnTo>
                <a:cubicBezTo>
                  <a:pt x="827" y="466"/>
                  <a:pt x="859" y="416"/>
                  <a:pt x="859" y="376"/>
                </a:cubicBezTo>
                <a:lnTo>
                  <a:pt x="859" y="143"/>
                </a:lnTo>
                <a:lnTo>
                  <a:pt x="0" y="143"/>
                </a:lnTo>
                <a:close/>
                <a:moveTo>
                  <a:pt x="716" y="681"/>
                </a:moveTo>
                <a:lnTo>
                  <a:pt x="143" y="681"/>
                </a:lnTo>
                <a:lnTo>
                  <a:pt x="143" y="502"/>
                </a:lnTo>
                <a:lnTo>
                  <a:pt x="71" y="502"/>
                </a:lnTo>
                <a:lnTo>
                  <a:pt x="71" y="668"/>
                </a:lnTo>
                <a:cubicBezTo>
                  <a:pt x="71" y="704"/>
                  <a:pt x="104" y="752"/>
                  <a:pt x="143" y="752"/>
                </a:cubicBezTo>
                <a:lnTo>
                  <a:pt x="716" y="752"/>
                </a:lnTo>
                <a:cubicBezTo>
                  <a:pt x="755" y="752"/>
                  <a:pt x="787" y="704"/>
                  <a:pt x="787" y="668"/>
                </a:cubicBezTo>
                <a:lnTo>
                  <a:pt x="787" y="502"/>
                </a:lnTo>
                <a:lnTo>
                  <a:pt x="716" y="502"/>
                </a:lnTo>
                <a:lnTo>
                  <a:pt x="716" y="68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4" name="Прямоугольник 23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0" y="6516869"/>
            <a:ext cx="12192000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ГК «Просвещение», 2021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948970" y="108504"/>
            <a:ext cx="244579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ЕГЭ 2021 физика </a:t>
            </a:r>
            <a:endParaRPr kumimoji="0" lang="ru-RU" sz="24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7" name="Picture 3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2951860" y="2805177"/>
            <a:ext cx="6536269" cy="3665395"/>
          </a:xfrm>
          <a:prstGeom prst="rect">
            <a:avLst/>
          </a:prstGeom>
          <a:noFill/>
          <a:ln w="9525">
            <a:solidFill>
              <a:schemeClr val="tx2">
                <a:lumMod val="75000"/>
              </a:schemeClr>
            </a:solidFill>
            <a:miter lim="800000"/>
            <a:headEnd/>
            <a:tailEnd/>
          </a:ln>
        </p:spPr>
      </p:pic>
      <p:pic>
        <p:nvPicPr>
          <p:cNvPr id="18" name="Picture 4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2951861" y="635483"/>
            <a:ext cx="6536269" cy="2083689"/>
          </a:xfrm>
          <a:prstGeom prst="rect">
            <a:avLst/>
          </a:prstGeom>
          <a:noFill/>
          <a:ln w="9525">
            <a:solidFill>
              <a:schemeClr val="tx2">
                <a:lumMod val="75000"/>
              </a:schemeClr>
            </a:solidFill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9017491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48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cxnSp>
        <p:nvCxnSpPr>
          <p:cNvPr id="68" name="Прямая соединительная линия 67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Freeform 8"/>
          <p:cNvSpPr>
            <a:spLocks/>
          </p:cNvSpPr>
          <p:nvPr/>
        </p:nvSpPr>
        <p:spPr bwMode="auto">
          <a:xfrm>
            <a:off x="7596965" y="3958541"/>
            <a:ext cx="391642" cy="348126"/>
          </a:xfrm>
          <a:custGeom>
            <a:avLst/>
            <a:gdLst>
              <a:gd name="T0" fmla="*/ 860 w 860"/>
              <a:gd name="T1" fmla="*/ 251 h 752"/>
              <a:gd name="T2" fmla="*/ 430 w 860"/>
              <a:gd name="T3" fmla="*/ 0 h 752"/>
              <a:gd name="T4" fmla="*/ 0 w 860"/>
              <a:gd name="T5" fmla="*/ 251 h 752"/>
              <a:gd name="T6" fmla="*/ 144 w 860"/>
              <a:gd name="T7" fmla="*/ 335 h 752"/>
              <a:gd name="T8" fmla="*/ 144 w 860"/>
              <a:gd name="T9" fmla="*/ 476 h 752"/>
              <a:gd name="T10" fmla="*/ 149 w 860"/>
              <a:gd name="T11" fmla="*/ 484 h 752"/>
              <a:gd name="T12" fmla="*/ 430 w 860"/>
              <a:gd name="T13" fmla="*/ 645 h 752"/>
              <a:gd name="T14" fmla="*/ 573 w 860"/>
              <a:gd name="T15" fmla="*/ 611 h 752"/>
              <a:gd name="T16" fmla="*/ 573 w 860"/>
              <a:gd name="T17" fmla="*/ 528 h 752"/>
              <a:gd name="T18" fmla="*/ 430 w 860"/>
              <a:gd name="T19" fmla="*/ 573 h 752"/>
              <a:gd name="T20" fmla="*/ 215 w 860"/>
              <a:gd name="T21" fmla="*/ 456 h 752"/>
              <a:gd name="T22" fmla="*/ 215 w 860"/>
              <a:gd name="T23" fmla="*/ 376 h 752"/>
              <a:gd name="T24" fmla="*/ 430 w 860"/>
              <a:gd name="T25" fmla="*/ 502 h 752"/>
              <a:gd name="T26" fmla="*/ 553 w 860"/>
              <a:gd name="T27" fmla="*/ 430 h 752"/>
              <a:gd name="T28" fmla="*/ 483 w 860"/>
              <a:gd name="T29" fmla="*/ 388 h 752"/>
              <a:gd name="T30" fmla="*/ 430 w 860"/>
              <a:gd name="T31" fmla="*/ 419 h 752"/>
              <a:gd name="T32" fmla="*/ 143 w 860"/>
              <a:gd name="T33" fmla="*/ 251 h 752"/>
              <a:gd name="T34" fmla="*/ 430 w 860"/>
              <a:gd name="T35" fmla="*/ 83 h 752"/>
              <a:gd name="T36" fmla="*/ 718 w 860"/>
              <a:gd name="T37" fmla="*/ 251 h 752"/>
              <a:gd name="T38" fmla="*/ 624 w 860"/>
              <a:gd name="T39" fmla="*/ 306 h 752"/>
              <a:gd name="T40" fmla="*/ 454 w 860"/>
              <a:gd name="T41" fmla="*/ 205 h 752"/>
              <a:gd name="T42" fmla="*/ 391 w 860"/>
              <a:gd name="T43" fmla="*/ 247 h 752"/>
              <a:gd name="T44" fmla="*/ 390 w 860"/>
              <a:gd name="T45" fmla="*/ 250 h 752"/>
              <a:gd name="T46" fmla="*/ 645 w 860"/>
              <a:gd name="T47" fmla="*/ 401 h 752"/>
              <a:gd name="T48" fmla="*/ 645 w 860"/>
              <a:gd name="T49" fmla="*/ 752 h 752"/>
              <a:gd name="T50" fmla="*/ 717 w 860"/>
              <a:gd name="T51" fmla="*/ 752 h 752"/>
              <a:gd name="T52" fmla="*/ 717 w 860"/>
              <a:gd name="T53" fmla="*/ 361 h 752"/>
              <a:gd name="T54" fmla="*/ 694 w 860"/>
              <a:gd name="T55" fmla="*/ 347 h 752"/>
              <a:gd name="T56" fmla="*/ 860 w 860"/>
              <a:gd name="T57" fmla="*/ 25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860" h="752">
                <a:moveTo>
                  <a:pt x="860" y="251"/>
                </a:moveTo>
                <a:lnTo>
                  <a:pt x="430" y="0"/>
                </a:lnTo>
                <a:lnTo>
                  <a:pt x="0" y="251"/>
                </a:lnTo>
                <a:lnTo>
                  <a:pt x="144" y="335"/>
                </a:lnTo>
                <a:lnTo>
                  <a:pt x="144" y="476"/>
                </a:lnTo>
                <a:lnTo>
                  <a:pt x="149" y="484"/>
                </a:lnTo>
                <a:cubicBezTo>
                  <a:pt x="207" y="583"/>
                  <a:pt x="315" y="645"/>
                  <a:pt x="430" y="645"/>
                </a:cubicBezTo>
                <a:cubicBezTo>
                  <a:pt x="481" y="645"/>
                  <a:pt x="529" y="632"/>
                  <a:pt x="573" y="611"/>
                </a:cubicBezTo>
                <a:lnTo>
                  <a:pt x="573" y="528"/>
                </a:lnTo>
                <a:cubicBezTo>
                  <a:pt x="532" y="557"/>
                  <a:pt x="482" y="573"/>
                  <a:pt x="430" y="573"/>
                </a:cubicBezTo>
                <a:cubicBezTo>
                  <a:pt x="343" y="573"/>
                  <a:pt x="262" y="528"/>
                  <a:pt x="215" y="456"/>
                </a:cubicBezTo>
                <a:lnTo>
                  <a:pt x="215" y="376"/>
                </a:lnTo>
                <a:lnTo>
                  <a:pt x="430" y="502"/>
                </a:lnTo>
                <a:lnTo>
                  <a:pt x="553" y="430"/>
                </a:lnTo>
                <a:lnTo>
                  <a:pt x="483" y="388"/>
                </a:lnTo>
                <a:lnTo>
                  <a:pt x="430" y="419"/>
                </a:lnTo>
                <a:lnTo>
                  <a:pt x="143" y="251"/>
                </a:lnTo>
                <a:lnTo>
                  <a:pt x="430" y="83"/>
                </a:lnTo>
                <a:lnTo>
                  <a:pt x="718" y="251"/>
                </a:lnTo>
                <a:lnTo>
                  <a:pt x="624" y="306"/>
                </a:lnTo>
                <a:lnTo>
                  <a:pt x="454" y="205"/>
                </a:lnTo>
                <a:lnTo>
                  <a:pt x="391" y="247"/>
                </a:lnTo>
                <a:lnTo>
                  <a:pt x="390" y="250"/>
                </a:lnTo>
                <a:lnTo>
                  <a:pt x="645" y="401"/>
                </a:lnTo>
                <a:lnTo>
                  <a:pt x="645" y="752"/>
                </a:lnTo>
                <a:lnTo>
                  <a:pt x="717" y="752"/>
                </a:lnTo>
                <a:lnTo>
                  <a:pt x="717" y="361"/>
                </a:lnTo>
                <a:lnTo>
                  <a:pt x="694" y="347"/>
                </a:lnTo>
                <a:lnTo>
                  <a:pt x="860" y="25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7" name="Freeform 10"/>
          <p:cNvSpPr>
            <a:spLocks noEditPoints="1"/>
          </p:cNvSpPr>
          <p:nvPr/>
        </p:nvSpPr>
        <p:spPr bwMode="auto">
          <a:xfrm>
            <a:off x="7614768" y="2782742"/>
            <a:ext cx="391642" cy="346149"/>
          </a:xfrm>
          <a:custGeom>
            <a:avLst/>
            <a:gdLst>
              <a:gd name="T0" fmla="*/ 608 w 859"/>
              <a:gd name="T1" fmla="*/ 0 h 752"/>
              <a:gd name="T2" fmla="*/ 250 w 859"/>
              <a:gd name="T3" fmla="*/ 0 h 752"/>
              <a:gd name="T4" fmla="*/ 250 w 859"/>
              <a:gd name="T5" fmla="*/ 72 h 752"/>
              <a:gd name="T6" fmla="*/ 608 w 859"/>
              <a:gd name="T7" fmla="*/ 72 h 752"/>
              <a:gd name="T8" fmla="*/ 608 w 859"/>
              <a:gd name="T9" fmla="*/ 0 h 752"/>
              <a:gd name="T10" fmla="*/ 608 w 859"/>
              <a:gd name="T11" fmla="*/ 394 h 752"/>
              <a:gd name="T12" fmla="*/ 608 w 859"/>
              <a:gd name="T13" fmla="*/ 322 h 752"/>
              <a:gd name="T14" fmla="*/ 537 w 859"/>
              <a:gd name="T15" fmla="*/ 322 h 752"/>
              <a:gd name="T16" fmla="*/ 537 w 859"/>
              <a:gd name="T17" fmla="*/ 394 h 752"/>
              <a:gd name="T18" fmla="*/ 322 w 859"/>
              <a:gd name="T19" fmla="*/ 394 h 752"/>
              <a:gd name="T20" fmla="*/ 322 w 859"/>
              <a:gd name="T21" fmla="*/ 322 h 752"/>
              <a:gd name="T22" fmla="*/ 250 w 859"/>
              <a:gd name="T23" fmla="*/ 322 h 752"/>
              <a:gd name="T24" fmla="*/ 250 w 859"/>
              <a:gd name="T25" fmla="*/ 394 h 752"/>
              <a:gd name="T26" fmla="*/ 71 w 859"/>
              <a:gd name="T27" fmla="*/ 394 h 752"/>
              <a:gd name="T28" fmla="*/ 71 w 859"/>
              <a:gd name="T29" fmla="*/ 215 h 752"/>
              <a:gd name="T30" fmla="*/ 787 w 859"/>
              <a:gd name="T31" fmla="*/ 215 h 752"/>
              <a:gd name="T32" fmla="*/ 787 w 859"/>
              <a:gd name="T33" fmla="*/ 394 h 752"/>
              <a:gd name="T34" fmla="*/ 608 w 859"/>
              <a:gd name="T35" fmla="*/ 394 h 752"/>
              <a:gd name="T36" fmla="*/ 0 w 859"/>
              <a:gd name="T37" fmla="*/ 143 h 752"/>
              <a:gd name="T38" fmla="*/ 0 w 859"/>
              <a:gd name="T39" fmla="*/ 376 h 752"/>
              <a:gd name="T40" fmla="*/ 71 w 859"/>
              <a:gd name="T41" fmla="*/ 466 h 752"/>
              <a:gd name="T42" fmla="*/ 250 w 859"/>
              <a:gd name="T43" fmla="*/ 466 h 752"/>
              <a:gd name="T44" fmla="*/ 250 w 859"/>
              <a:gd name="T45" fmla="*/ 537 h 752"/>
              <a:gd name="T46" fmla="*/ 322 w 859"/>
              <a:gd name="T47" fmla="*/ 537 h 752"/>
              <a:gd name="T48" fmla="*/ 322 w 859"/>
              <a:gd name="T49" fmla="*/ 466 h 752"/>
              <a:gd name="T50" fmla="*/ 537 w 859"/>
              <a:gd name="T51" fmla="*/ 466 h 752"/>
              <a:gd name="T52" fmla="*/ 537 w 859"/>
              <a:gd name="T53" fmla="*/ 537 h 752"/>
              <a:gd name="T54" fmla="*/ 608 w 859"/>
              <a:gd name="T55" fmla="*/ 537 h 752"/>
              <a:gd name="T56" fmla="*/ 608 w 859"/>
              <a:gd name="T57" fmla="*/ 466 h 752"/>
              <a:gd name="T58" fmla="*/ 788 w 859"/>
              <a:gd name="T59" fmla="*/ 466 h 752"/>
              <a:gd name="T60" fmla="*/ 859 w 859"/>
              <a:gd name="T61" fmla="*/ 376 h 752"/>
              <a:gd name="T62" fmla="*/ 859 w 859"/>
              <a:gd name="T63" fmla="*/ 143 h 752"/>
              <a:gd name="T64" fmla="*/ 0 w 859"/>
              <a:gd name="T65" fmla="*/ 143 h 752"/>
              <a:gd name="T66" fmla="*/ 716 w 859"/>
              <a:gd name="T67" fmla="*/ 681 h 752"/>
              <a:gd name="T68" fmla="*/ 143 w 859"/>
              <a:gd name="T69" fmla="*/ 681 h 752"/>
              <a:gd name="T70" fmla="*/ 143 w 859"/>
              <a:gd name="T71" fmla="*/ 502 h 752"/>
              <a:gd name="T72" fmla="*/ 71 w 859"/>
              <a:gd name="T73" fmla="*/ 502 h 752"/>
              <a:gd name="T74" fmla="*/ 71 w 859"/>
              <a:gd name="T75" fmla="*/ 668 h 752"/>
              <a:gd name="T76" fmla="*/ 143 w 859"/>
              <a:gd name="T77" fmla="*/ 752 h 752"/>
              <a:gd name="T78" fmla="*/ 716 w 859"/>
              <a:gd name="T79" fmla="*/ 752 h 752"/>
              <a:gd name="T80" fmla="*/ 787 w 859"/>
              <a:gd name="T81" fmla="*/ 668 h 752"/>
              <a:gd name="T82" fmla="*/ 787 w 859"/>
              <a:gd name="T83" fmla="*/ 502 h 752"/>
              <a:gd name="T84" fmla="*/ 716 w 859"/>
              <a:gd name="T85" fmla="*/ 502 h 752"/>
              <a:gd name="T86" fmla="*/ 716 w 859"/>
              <a:gd name="T87" fmla="*/ 68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859" h="752">
                <a:moveTo>
                  <a:pt x="608" y="0"/>
                </a:moveTo>
                <a:lnTo>
                  <a:pt x="250" y="0"/>
                </a:lnTo>
                <a:lnTo>
                  <a:pt x="250" y="72"/>
                </a:lnTo>
                <a:lnTo>
                  <a:pt x="608" y="72"/>
                </a:lnTo>
                <a:lnTo>
                  <a:pt x="608" y="0"/>
                </a:lnTo>
                <a:close/>
                <a:moveTo>
                  <a:pt x="608" y="394"/>
                </a:moveTo>
                <a:lnTo>
                  <a:pt x="608" y="322"/>
                </a:lnTo>
                <a:lnTo>
                  <a:pt x="537" y="322"/>
                </a:lnTo>
                <a:lnTo>
                  <a:pt x="537" y="394"/>
                </a:lnTo>
                <a:lnTo>
                  <a:pt x="322" y="394"/>
                </a:lnTo>
                <a:lnTo>
                  <a:pt x="322" y="322"/>
                </a:lnTo>
                <a:lnTo>
                  <a:pt x="250" y="322"/>
                </a:lnTo>
                <a:lnTo>
                  <a:pt x="250" y="394"/>
                </a:lnTo>
                <a:lnTo>
                  <a:pt x="71" y="394"/>
                </a:lnTo>
                <a:lnTo>
                  <a:pt x="71" y="215"/>
                </a:lnTo>
                <a:lnTo>
                  <a:pt x="787" y="215"/>
                </a:lnTo>
                <a:lnTo>
                  <a:pt x="787" y="394"/>
                </a:lnTo>
                <a:lnTo>
                  <a:pt x="608" y="394"/>
                </a:lnTo>
                <a:close/>
                <a:moveTo>
                  <a:pt x="0" y="143"/>
                </a:moveTo>
                <a:lnTo>
                  <a:pt x="0" y="376"/>
                </a:lnTo>
                <a:cubicBezTo>
                  <a:pt x="0" y="416"/>
                  <a:pt x="32" y="466"/>
                  <a:pt x="71" y="466"/>
                </a:cubicBezTo>
                <a:lnTo>
                  <a:pt x="250" y="466"/>
                </a:lnTo>
                <a:lnTo>
                  <a:pt x="250" y="537"/>
                </a:lnTo>
                <a:lnTo>
                  <a:pt x="322" y="537"/>
                </a:lnTo>
                <a:lnTo>
                  <a:pt x="322" y="466"/>
                </a:lnTo>
                <a:lnTo>
                  <a:pt x="537" y="466"/>
                </a:lnTo>
                <a:lnTo>
                  <a:pt x="537" y="537"/>
                </a:lnTo>
                <a:lnTo>
                  <a:pt x="608" y="537"/>
                </a:lnTo>
                <a:lnTo>
                  <a:pt x="608" y="466"/>
                </a:lnTo>
                <a:lnTo>
                  <a:pt x="788" y="466"/>
                </a:lnTo>
                <a:cubicBezTo>
                  <a:pt x="827" y="466"/>
                  <a:pt x="859" y="416"/>
                  <a:pt x="859" y="376"/>
                </a:cubicBezTo>
                <a:lnTo>
                  <a:pt x="859" y="143"/>
                </a:lnTo>
                <a:lnTo>
                  <a:pt x="0" y="143"/>
                </a:lnTo>
                <a:close/>
                <a:moveTo>
                  <a:pt x="716" y="681"/>
                </a:moveTo>
                <a:lnTo>
                  <a:pt x="143" y="681"/>
                </a:lnTo>
                <a:lnTo>
                  <a:pt x="143" y="502"/>
                </a:lnTo>
                <a:lnTo>
                  <a:pt x="71" y="502"/>
                </a:lnTo>
                <a:lnTo>
                  <a:pt x="71" y="668"/>
                </a:lnTo>
                <a:cubicBezTo>
                  <a:pt x="71" y="704"/>
                  <a:pt x="104" y="752"/>
                  <a:pt x="143" y="752"/>
                </a:cubicBezTo>
                <a:lnTo>
                  <a:pt x="716" y="752"/>
                </a:lnTo>
                <a:cubicBezTo>
                  <a:pt x="755" y="752"/>
                  <a:pt x="787" y="704"/>
                  <a:pt x="787" y="668"/>
                </a:cubicBezTo>
                <a:lnTo>
                  <a:pt x="787" y="502"/>
                </a:lnTo>
                <a:lnTo>
                  <a:pt x="716" y="502"/>
                </a:lnTo>
                <a:lnTo>
                  <a:pt x="716" y="68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4" name="Прямоугольник 23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0" y="6516869"/>
            <a:ext cx="12192000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ГК «Просвещение», 2021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948970" y="108504"/>
            <a:ext cx="436940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ЕГЭ 2021 физика (Анализ 2020) </a:t>
            </a:r>
            <a:endParaRPr kumimoji="0" lang="ru-RU" sz="24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aphicFrame>
        <p:nvGraphicFramePr>
          <p:cNvPr id="11" name="Таблица 10"/>
          <p:cNvGraphicFramePr>
            <a:graphicFrameLocks noGrp="1"/>
          </p:cNvGraphicFramePr>
          <p:nvPr>
            <p:extLst/>
          </p:nvPr>
        </p:nvGraphicFramePr>
        <p:xfrm>
          <a:off x="1304639" y="653706"/>
          <a:ext cx="9576620" cy="5727124"/>
        </p:xfrm>
        <a:graphic>
          <a:graphicData uri="http://schemas.openxmlformats.org/drawingml/2006/table">
            <a:tbl>
              <a:tblPr firstRow="1" bandRow="1">
                <a:tableStyleId>{B301B821-A1FF-4177-AEE7-76D212191A09}</a:tableStyleId>
              </a:tblPr>
              <a:tblGrid>
                <a:gridCol w="1915324">
                  <a:extLst>
                    <a:ext uri="{9D8B030D-6E8A-4147-A177-3AD203B41FA5}">
                      <a16:colId xmlns:a16="http://schemas.microsoft.com/office/drawing/2014/main" val="375161361"/>
                    </a:ext>
                  </a:extLst>
                </a:gridCol>
                <a:gridCol w="1915324">
                  <a:extLst>
                    <a:ext uri="{9D8B030D-6E8A-4147-A177-3AD203B41FA5}">
                      <a16:colId xmlns:a16="http://schemas.microsoft.com/office/drawing/2014/main" val="2877213681"/>
                    </a:ext>
                  </a:extLst>
                </a:gridCol>
                <a:gridCol w="1915324">
                  <a:extLst>
                    <a:ext uri="{9D8B030D-6E8A-4147-A177-3AD203B41FA5}">
                      <a16:colId xmlns:a16="http://schemas.microsoft.com/office/drawing/2014/main" val="150615404"/>
                    </a:ext>
                  </a:extLst>
                </a:gridCol>
                <a:gridCol w="1915324">
                  <a:extLst>
                    <a:ext uri="{9D8B030D-6E8A-4147-A177-3AD203B41FA5}">
                      <a16:colId xmlns:a16="http://schemas.microsoft.com/office/drawing/2014/main" val="3157152472"/>
                    </a:ext>
                  </a:extLst>
                </a:gridCol>
                <a:gridCol w="1915324">
                  <a:extLst>
                    <a:ext uri="{9D8B030D-6E8A-4147-A177-3AD203B41FA5}">
                      <a16:colId xmlns:a16="http://schemas.microsoft.com/office/drawing/2014/main" val="1821496360"/>
                    </a:ext>
                  </a:extLst>
                </a:gridCol>
              </a:tblGrid>
              <a:tr h="440548">
                <a:tc>
                  <a:txBody>
                    <a:bodyPr/>
                    <a:lstStyle/>
                    <a:p>
                      <a:pPr algn="ctr"/>
                      <a:r>
                        <a:rPr lang="ru-RU" sz="2000" dirty="0" smtClean="0"/>
                        <a:t>2016</a:t>
                      </a:r>
                      <a:endParaRPr lang="ru-RU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dirty="0" smtClean="0"/>
                        <a:t>2017</a:t>
                      </a:r>
                      <a:endParaRPr lang="ru-RU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dirty="0" smtClean="0"/>
                        <a:t>2018</a:t>
                      </a:r>
                      <a:endParaRPr lang="ru-RU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dirty="0" smtClean="0"/>
                        <a:t>2019</a:t>
                      </a:r>
                      <a:endParaRPr lang="ru-RU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dirty="0" smtClean="0"/>
                        <a:t>2020</a:t>
                      </a:r>
                      <a:endParaRPr lang="ru-RU" sz="2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33429658"/>
                  </a:ext>
                </a:extLst>
              </a:tr>
              <a:tr h="440548">
                <a:tc gridSpan="5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dirty="0" smtClean="0">
                          <a:solidFill>
                            <a:srgbClr val="4249AA"/>
                          </a:solidFill>
                        </a:rPr>
                        <a:t>Процент выпускников,</a:t>
                      </a:r>
                      <a:r>
                        <a:rPr lang="ru-RU" sz="2000" baseline="0" dirty="0" smtClean="0">
                          <a:solidFill>
                            <a:srgbClr val="4249AA"/>
                          </a:solidFill>
                        </a:rPr>
                        <a:t> сдававших физику</a:t>
                      </a:r>
                      <a:endParaRPr lang="ru-RU" sz="2000" dirty="0" smtClean="0">
                        <a:solidFill>
                          <a:srgbClr val="4249AA"/>
                        </a:solidFill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ru-RU" sz="28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ru-RU" sz="28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ru-RU" sz="28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ru-RU" sz="2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64359796"/>
                  </a:ext>
                </a:extLst>
              </a:tr>
              <a:tr h="440548">
                <a:tc>
                  <a:txBody>
                    <a:bodyPr/>
                    <a:lstStyle/>
                    <a:p>
                      <a:pPr algn="ctr"/>
                      <a:r>
                        <a:rPr lang="ru-RU" sz="2000" dirty="0" smtClean="0"/>
                        <a:t>26 </a:t>
                      </a:r>
                      <a:endParaRPr lang="ru-RU" sz="2000" dirty="0">
                        <a:solidFill>
                          <a:schemeClr val="accent6">
                            <a:lumMod val="10000"/>
                          </a:schemeClr>
                        </a:solidFill>
                      </a:endParaRPr>
                    </a:p>
                  </a:txBody>
                  <a:tcPr marL="121920" marR="12192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dirty="0" smtClean="0"/>
                        <a:t>24</a:t>
                      </a:r>
                      <a:endParaRPr lang="ru-RU" sz="2000" dirty="0">
                        <a:solidFill>
                          <a:schemeClr val="accent6">
                            <a:lumMod val="10000"/>
                          </a:schemeClr>
                        </a:solidFill>
                      </a:endParaRPr>
                    </a:p>
                  </a:txBody>
                  <a:tcPr marL="121920" marR="12192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dirty="0" smtClean="0"/>
                        <a:t>23</a:t>
                      </a:r>
                      <a:endParaRPr lang="ru-RU" sz="2000" dirty="0">
                        <a:solidFill>
                          <a:schemeClr val="accent6">
                            <a:lumMod val="10000"/>
                          </a:schemeClr>
                        </a:solidFill>
                      </a:endParaRPr>
                    </a:p>
                  </a:txBody>
                  <a:tcPr marL="121920" marR="12192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dirty="0" smtClean="0">
                          <a:solidFill>
                            <a:schemeClr val="accent6">
                              <a:lumMod val="10000"/>
                            </a:schemeClr>
                          </a:solidFill>
                        </a:rPr>
                        <a:t>20</a:t>
                      </a:r>
                      <a:endParaRPr lang="ru-RU" sz="2000" dirty="0">
                        <a:solidFill>
                          <a:schemeClr val="accent6">
                            <a:lumMod val="10000"/>
                          </a:schemeClr>
                        </a:solidFill>
                      </a:endParaRPr>
                    </a:p>
                  </a:txBody>
                  <a:tcPr marL="121920" marR="12192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dirty="0" smtClean="0"/>
                        <a:t>20</a:t>
                      </a:r>
                      <a:endParaRPr lang="ru-RU" sz="2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6055218"/>
                  </a:ext>
                </a:extLst>
              </a:tr>
              <a:tr h="440548">
                <a:tc gridSpan="5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dirty="0" smtClean="0">
                          <a:solidFill>
                            <a:srgbClr val="4249AA"/>
                          </a:solidFill>
                        </a:rPr>
                        <a:t>Средний балл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ru-RU" sz="280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ru-RU" sz="280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ru-RU" sz="280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ru-RU" sz="2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60678082"/>
                  </a:ext>
                </a:extLst>
              </a:tr>
              <a:tr h="440548">
                <a:tc>
                  <a:txBody>
                    <a:bodyPr/>
                    <a:lstStyle/>
                    <a:p>
                      <a:pPr algn="ctr"/>
                      <a:r>
                        <a:rPr lang="ru-RU" sz="2000" dirty="0" smtClean="0"/>
                        <a:t>50</a:t>
                      </a:r>
                      <a:endParaRPr lang="ru-RU" sz="2000" dirty="0">
                        <a:solidFill>
                          <a:schemeClr val="accent6">
                            <a:lumMod val="10000"/>
                          </a:schemeClr>
                        </a:solidFill>
                      </a:endParaRPr>
                    </a:p>
                  </a:txBody>
                  <a:tcPr marL="121920" marR="12192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dirty="0" smtClean="0"/>
                        <a:t>53</a:t>
                      </a:r>
                      <a:endParaRPr lang="ru-RU" sz="2000" dirty="0">
                        <a:solidFill>
                          <a:schemeClr val="accent6">
                            <a:lumMod val="10000"/>
                          </a:schemeClr>
                        </a:solidFill>
                      </a:endParaRPr>
                    </a:p>
                  </a:txBody>
                  <a:tcPr marL="121920" marR="12192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dirty="0" smtClean="0"/>
                        <a:t>53</a:t>
                      </a:r>
                      <a:endParaRPr lang="ru-RU" sz="2000" dirty="0">
                        <a:solidFill>
                          <a:schemeClr val="accent6">
                            <a:lumMod val="10000"/>
                          </a:schemeClr>
                        </a:solidFill>
                      </a:endParaRPr>
                    </a:p>
                  </a:txBody>
                  <a:tcPr marL="121920" marR="12192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dirty="0" smtClean="0">
                          <a:solidFill>
                            <a:schemeClr val="accent6">
                              <a:lumMod val="10000"/>
                            </a:schemeClr>
                          </a:solidFill>
                        </a:rPr>
                        <a:t>54</a:t>
                      </a:r>
                      <a:endParaRPr lang="ru-RU" sz="2000" dirty="0">
                        <a:solidFill>
                          <a:schemeClr val="accent6">
                            <a:lumMod val="10000"/>
                          </a:schemeClr>
                        </a:solidFill>
                      </a:endParaRPr>
                    </a:p>
                  </a:txBody>
                  <a:tcPr marL="121920" marR="12192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dirty="0" smtClean="0"/>
                        <a:t>54</a:t>
                      </a:r>
                      <a:endParaRPr lang="ru-RU" sz="2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7241929"/>
                  </a:ext>
                </a:extLst>
              </a:tr>
              <a:tr h="440548">
                <a:tc gridSpan="5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dirty="0" smtClean="0">
                          <a:solidFill>
                            <a:srgbClr val="4249AA"/>
                          </a:solidFill>
                        </a:rPr>
                        <a:t>Не преодолели минимальный</a:t>
                      </a:r>
                      <a:r>
                        <a:rPr lang="ru-RU" sz="2000" baseline="0" dirty="0" smtClean="0">
                          <a:solidFill>
                            <a:srgbClr val="4249AA"/>
                          </a:solidFill>
                        </a:rPr>
                        <a:t> барьер</a:t>
                      </a:r>
                      <a:endParaRPr lang="ru-RU" sz="2000" dirty="0" smtClean="0">
                        <a:solidFill>
                          <a:srgbClr val="4249AA"/>
                        </a:solidFill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ru-RU" sz="28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ru-RU" sz="28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ru-RU" sz="28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ru-RU" sz="2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71719857"/>
                  </a:ext>
                </a:extLst>
              </a:tr>
              <a:tr h="440548">
                <a:tc>
                  <a:txBody>
                    <a:bodyPr/>
                    <a:lstStyle/>
                    <a:p>
                      <a:pPr algn="ctr"/>
                      <a:r>
                        <a:rPr lang="ru-RU" sz="2000" dirty="0" smtClean="0"/>
                        <a:t>6,1</a:t>
                      </a:r>
                      <a:r>
                        <a:rPr lang="ru-RU" sz="2000" baseline="0" dirty="0" smtClean="0"/>
                        <a:t> %</a:t>
                      </a:r>
                      <a:endParaRPr lang="ru-RU" sz="2000" dirty="0">
                        <a:solidFill>
                          <a:schemeClr val="accent6">
                            <a:lumMod val="10000"/>
                          </a:schemeClr>
                        </a:solidFill>
                      </a:endParaRPr>
                    </a:p>
                  </a:txBody>
                  <a:tcPr marL="121920" marR="12192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dirty="0" smtClean="0"/>
                        <a:t>3,8 %</a:t>
                      </a:r>
                      <a:endParaRPr lang="ru-RU" sz="2000" dirty="0">
                        <a:solidFill>
                          <a:schemeClr val="accent6">
                            <a:lumMod val="10000"/>
                          </a:schemeClr>
                        </a:solidFill>
                      </a:endParaRPr>
                    </a:p>
                  </a:txBody>
                  <a:tcPr marL="121920" marR="12192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dirty="0" smtClean="0"/>
                        <a:t>5,9 %</a:t>
                      </a:r>
                      <a:endParaRPr lang="ru-RU" sz="2000" dirty="0">
                        <a:solidFill>
                          <a:schemeClr val="accent6">
                            <a:lumMod val="10000"/>
                          </a:schemeClr>
                        </a:solidFill>
                      </a:endParaRPr>
                    </a:p>
                  </a:txBody>
                  <a:tcPr marL="121920" marR="12192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dirty="0" smtClean="0">
                          <a:solidFill>
                            <a:schemeClr val="accent6">
                              <a:lumMod val="10000"/>
                            </a:schemeClr>
                          </a:solidFill>
                        </a:rPr>
                        <a:t>6,6 %</a:t>
                      </a:r>
                      <a:endParaRPr lang="ru-RU" sz="2000" dirty="0">
                        <a:solidFill>
                          <a:schemeClr val="accent6">
                            <a:lumMod val="10000"/>
                          </a:schemeClr>
                        </a:solidFill>
                      </a:endParaRPr>
                    </a:p>
                  </a:txBody>
                  <a:tcPr marL="121920" marR="12192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dirty="0" smtClean="0"/>
                        <a:t>5,6 %</a:t>
                      </a:r>
                      <a:endParaRPr lang="ru-RU" sz="2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96284000"/>
                  </a:ext>
                </a:extLst>
              </a:tr>
              <a:tr h="440548">
                <a:tc gridSpan="5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dirty="0" smtClean="0">
                          <a:solidFill>
                            <a:srgbClr val="4249AA"/>
                          </a:solidFill>
                        </a:rPr>
                        <a:t>Показали результат </a:t>
                      </a:r>
                      <a:r>
                        <a:rPr lang="en-US" sz="2000" dirty="0" smtClean="0">
                          <a:solidFill>
                            <a:srgbClr val="4249AA"/>
                          </a:solidFill>
                        </a:rPr>
                        <a:t>&gt; 60</a:t>
                      </a:r>
                      <a:r>
                        <a:rPr lang="en-US" sz="2000" baseline="0" dirty="0" smtClean="0">
                          <a:solidFill>
                            <a:srgbClr val="4249AA"/>
                          </a:solidFill>
                        </a:rPr>
                        <a:t> </a:t>
                      </a:r>
                      <a:r>
                        <a:rPr lang="ru-RU" sz="2000" baseline="0" dirty="0" smtClean="0">
                          <a:solidFill>
                            <a:srgbClr val="4249AA"/>
                          </a:solidFill>
                        </a:rPr>
                        <a:t>баллов</a:t>
                      </a:r>
                      <a:endParaRPr lang="ru-RU" sz="2000" dirty="0" smtClean="0">
                        <a:solidFill>
                          <a:srgbClr val="4249AA"/>
                        </a:solidFill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ru-RU" sz="280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ru-RU" sz="28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ru-RU" sz="280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ru-RU" sz="2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35888649"/>
                  </a:ext>
                </a:extLst>
              </a:tr>
              <a:tr h="440548">
                <a:tc>
                  <a:txBody>
                    <a:bodyPr/>
                    <a:lstStyle/>
                    <a:p>
                      <a:pPr algn="ctr"/>
                      <a:r>
                        <a:rPr lang="ru-RU" sz="2000" dirty="0" smtClean="0"/>
                        <a:t>15 %</a:t>
                      </a:r>
                      <a:endParaRPr lang="ru-RU" sz="2000" dirty="0">
                        <a:solidFill>
                          <a:schemeClr val="accent6">
                            <a:lumMod val="10000"/>
                          </a:schemeClr>
                        </a:solidFill>
                      </a:endParaRPr>
                    </a:p>
                  </a:txBody>
                  <a:tcPr marL="121920" marR="12192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dirty="0" smtClean="0"/>
                        <a:t>21 %</a:t>
                      </a:r>
                      <a:endParaRPr lang="ru-RU" sz="2000" dirty="0">
                        <a:solidFill>
                          <a:schemeClr val="accent6">
                            <a:lumMod val="10000"/>
                          </a:schemeClr>
                        </a:solidFill>
                      </a:endParaRPr>
                    </a:p>
                  </a:txBody>
                  <a:tcPr marL="121920" marR="12192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dirty="0" smtClean="0"/>
                        <a:t>24 %</a:t>
                      </a:r>
                      <a:endParaRPr lang="ru-RU" sz="2000" dirty="0">
                        <a:solidFill>
                          <a:schemeClr val="accent6">
                            <a:lumMod val="10000"/>
                          </a:schemeClr>
                        </a:solidFill>
                      </a:endParaRPr>
                    </a:p>
                  </a:txBody>
                  <a:tcPr marL="121920" marR="12192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dirty="0" smtClean="0">
                          <a:solidFill>
                            <a:schemeClr val="accent6">
                              <a:lumMod val="10000"/>
                            </a:schemeClr>
                          </a:solidFill>
                        </a:rPr>
                        <a:t>28 %</a:t>
                      </a:r>
                      <a:endParaRPr lang="ru-RU" sz="2000" dirty="0">
                        <a:solidFill>
                          <a:schemeClr val="accent6">
                            <a:lumMod val="10000"/>
                          </a:schemeClr>
                        </a:solidFill>
                      </a:endParaRPr>
                    </a:p>
                  </a:txBody>
                  <a:tcPr marL="121920" marR="121920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dirty="0" smtClean="0">
                          <a:solidFill>
                            <a:schemeClr val="accent6">
                              <a:lumMod val="10000"/>
                            </a:schemeClr>
                          </a:solidFill>
                        </a:rPr>
                        <a:t>28 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56927313"/>
                  </a:ext>
                </a:extLst>
              </a:tr>
              <a:tr h="440548">
                <a:tc gridSpan="5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dirty="0" smtClean="0">
                          <a:solidFill>
                            <a:srgbClr val="4249AA"/>
                          </a:solidFill>
                        </a:rPr>
                        <a:t>Показали</a:t>
                      </a:r>
                      <a:r>
                        <a:rPr lang="ru-RU" sz="2000" baseline="0" dirty="0" smtClean="0">
                          <a:solidFill>
                            <a:srgbClr val="4249AA"/>
                          </a:solidFill>
                        </a:rPr>
                        <a:t> результат </a:t>
                      </a:r>
                      <a:r>
                        <a:rPr lang="en-US" sz="2000" baseline="0" dirty="0" smtClean="0">
                          <a:solidFill>
                            <a:srgbClr val="4249AA"/>
                          </a:solidFill>
                        </a:rPr>
                        <a:t>&gt;</a:t>
                      </a:r>
                      <a:r>
                        <a:rPr lang="ru-RU" sz="2000" baseline="0" dirty="0" smtClean="0">
                          <a:solidFill>
                            <a:srgbClr val="4249AA"/>
                          </a:solidFill>
                        </a:rPr>
                        <a:t> 80 баллов</a:t>
                      </a:r>
                      <a:endParaRPr lang="ru-RU" sz="2000" dirty="0" smtClean="0">
                        <a:solidFill>
                          <a:srgbClr val="4249AA"/>
                        </a:solidFill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ru-RU" sz="280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ru-RU" sz="280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ru-RU" sz="28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ru-RU" sz="2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10407976"/>
                  </a:ext>
                </a:extLst>
              </a:tr>
              <a:tr h="440548">
                <a:tc>
                  <a:txBody>
                    <a:bodyPr/>
                    <a:lstStyle/>
                    <a:p>
                      <a:pPr algn="ctr"/>
                      <a:r>
                        <a:rPr lang="ru-RU" sz="2000" dirty="0" smtClean="0"/>
                        <a:t>4,3 %</a:t>
                      </a:r>
                      <a:endParaRPr lang="ru-RU" sz="2000" dirty="0">
                        <a:solidFill>
                          <a:schemeClr val="accent6">
                            <a:lumMod val="10000"/>
                          </a:schemeClr>
                        </a:solidFill>
                      </a:endParaRPr>
                    </a:p>
                  </a:txBody>
                  <a:tcPr marL="121920" marR="12192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dirty="0" smtClean="0"/>
                        <a:t>4,9 %</a:t>
                      </a:r>
                      <a:endParaRPr lang="ru-RU" sz="2000" dirty="0">
                        <a:solidFill>
                          <a:schemeClr val="accent6">
                            <a:lumMod val="10000"/>
                          </a:schemeClr>
                        </a:solidFill>
                      </a:endParaRPr>
                    </a:p>
                  </a:txBody>
                  <a:tcPr marL="121920" marR="12192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dirty="0" smtClean="0"/>
                        <a:t>5,6 %</a:t>
                      </a:r>
                      <a:endParaRPr lang="ru-RU" sz="2000" dirty="0">
                        <a:solidFill>
                          <a:schemeClr val="accent6">
                            <a:lumMod val="10000"/>
                          </a:schemeClr>
                        </a:solidFill>
                      </a:endParaRPr>
                    </a:p>
                  </a:txBody>
                  <a:tcPr marL="121920" marR="12192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dirty="0" smtClean="0">
                          <a:solidFill>
                            <a:schemeClr val="accent6">
                              <a:lumMod val="10000"/>
                            </a:schemeClr>
                          </a:solidFill>
                        </a:rPr>
                        <a:t>8,6 %</a:t>
                      </a:r>
                      <a:endParaRPr lang="ru-RU" sz="2000" dirty="0">
                        <a:solidFill>
                          <a:schemeClr val="accent6">
                            <a:lumMod val="10000"/>
                          </a:schemeClr>
                        </a:solidFill>
                      </a:endParaRPr>
                    </a:p>
                  </a:txBody>
                  <a:tcPr marL="121920" marR="12192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dirty="0" smtClean="0"/>
                        <a:t>8,5 %</a:t>
                      </a:r>
                      <a:endParaRPr lang="ru-RU" sz="2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84369210"/>
                  </a:ext>
                </a:extLst>
              </a:tr>
              <a:tr h="440548">
                <a:tc gridSpan="5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dirty="0" smtClean="0">
                          <a:solidFill>
                            <a:srgbClr val="4249AA"/>
                          </a:solidFill>
                        </a:rPr>
                        <a:t>Количество выпускников, набравших 100 баллов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ru-RU" sz="280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ru-RU" sz="280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ru-RU" sz="28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ru-RU" sz="2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71308786"/>
                  </a:ext>
                </a:extLst>
              </a:tr>
              <a:tr h="440548">
                <a:tc>
                  <a:txBody>
                    <a:bodyPr/>
                    <a:lstStyle/>
                    <a:p>
                      <a:pPr algn="ctr"/>
                      <a:r>
                        <a:rPr lang="ru-RU" sz="2000" dirty="0" smtClean="0"/>
                        <a:t>143</a:t>
                      </a:r>
                      <a:endParaRPr lang="ru-RU" sz="2000" dirty="0">
                        <a:solidFill>
                          <a:schemeClr val="accent6">
                            <a:lumMod val="10000"/>
                          </a:schemeClr>
                        </a:solidFill>
                      </a:endParaRPr>
                    </a:p>
                  </a:txBody>
                  <a:tcPr marL="121920" marR="12192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dirty="0" smtClean="0"/>
                        <a:t>278</a:t>
                      </a:r>
                      <a:endParaRPr lang="ru-RU" sz="2000" dirty="0">
                        <a:solidFill>
                          <a:schemeClr val="accent6">
                            <a:lumMod val="10000"/>
                          </a:schemeClr>
                        </a:solidFill>
                      </a:endParaRPr>
                    </a:p>
                  </a:txBody>
                  <a:tcPr marL="121920" marR="12192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dirty="0" smtClean="0"/>
                        <a:t>269</a:t>
                      </a:r>
                      <a:endParaRPr lang="ru-RU" sz="2000" dirty="0">
                        <a:solidFill>
                          <a:schemeClr val="accent6">
                            <a:lumMod val="10000"/>
                          </a:schemeClr>
                        </a:solidFill>
                      </a:endParaRPr>
                    </a:p>
                  </a:txBody>
                  <a:tcPr marL="121920" marR="12192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dirty="0" smtClean="0">
                          <a:solidFill>
                            <a:schemeClr val="accent6">
                              <a:lumMod val="10000"/>
                            </a:schemeClr>
                          </a:solidFill>
                        </a:rPr>
                        <a:t>473</a:t>
                      </a:r>
                      <a:endParaRPr lang="ru-RU" sz="2000" dirty="0">
                        <a:solidFill>
                          <a:schemeClr val="accent6">
                            <a:lumMod val="10000"/>
                          </a:schemeClr>
                        </a:solidFill>
                      </a:endParaRPr>
                    </a:p>
                  </a:txBody>
                  <a:tcPr marL="121920" marR="12192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dirty="0" smtClean="0"/>
                        <a:t>309</a:t>
                      </a:r>
                      <a:endParaRPr lang="ru-RU" sz="2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2450378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841502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48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cxnSp>
        <p:nvCxnSpPr>
          <p:cNvPr id="68" name="Прямая соединительная линия 67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Freeform 8"/>
          <p:cNvSpPr>
            <a:spLocks/>
          </p:cNvSpPr>
          <p:nvPr/>
        </p:nvSpPr>
        <p:spPr bwMode="auto">
          <a:xfrm>
            <a:off x="7596965" y="3958541"/>
            <a:ext cx="391642" cy="348126"/>
          </a:xfrm>
          <a:custGeom>
            <a:avLst/>
            <a:gdLst>
              <a:gd name="T0" fmla="*/ 860 w 860"/>
              <a:gd name="T1" fmla="*/ 251 h 752"/>
              <a:gd name="T2" fmla="*/ 430 w 860"/>
              <a:gd name="T3" fmla="*/ 0 h 752"/>
              <a:gd name="T4" fmla="*/ 0 w 860"/>
              <a:gd name="T5" fmla="*/ 251 h 752"/>
              <a:gd name="T6" fmla="*/ 144 w 860"/>
              <a:gd name="T7" fmla="*/ 335 h 752"/>
              <a:gd name="T8" fmla="*/ 144 w 860"/>
              <a:gd name="T9" fmla="*/ 476 h 752"/>
              <a:gd name="T10" fmla="*/ 149 w 860"/>
              <a:gd name="T11" fmla="*/ 484 h 752"/>
              <a:gd name="T12" fmla="*/ 430 w 860"/>
              <a:gd name="T13" fmla="*/ 645 h 752"/>
              <a:gd name="T14" fmla="*/ 573 w 860"/>
              <a:gd name="T15" fmla="*/ 611 h 752"/>
              <a:gd name="T16" fmla="*/ 573 w 860"/>
              <a:gd name="T17" fmla="*/ 528 h 752"/>
              <a:gd name="T18" fmla="*/ 430 w 860"/>
              <a:gd name="T19" fmla="*/ 573 h 752"/>
              <a:gd name="T20" fmla="*/ 215 w 860"/>
              <a:gd name="T21" fmla="*/ 456 h 752"/>
              <a:gd name="T22" fmla="*/ 215 w 860"/>
              <a:gd name="T23" fmla="*/ 376 h 752"/>
              <a:gd name="T24" fmla="*/ 430 w 860"/>
              <a:gd name="T25" fmla="*/ 502 h 752"/>
              <a:gd name="T26" fmla="*/ 553 w 860"/>
              <a:gd name="T27" fmla="*/ 430 h 752"/>
              <a:gd name="T28" fmla="*/ 483 w 860"/>
              <a:gd name="T29" fmla="*/ 388 h 752"/>
              <a:gd name="T30" fmla="*/ 430 w 860"/>
              <a:gd name="T31" fmla="*/ 419 h 752"/>
              <a:gd name="T32" fmla="*/ 143 w 860"/>
              <a:gd name="T33" fmla="*/ 251 h 752"/>
              <a:gd name="T34" fmla="*/ 430 w 860"/>
              <a:gd name="T35" fmla="*/ 83 h 752"/>
              <a:gd name="T36" fmla="*/ 718 w 860"/>
              <a:gd name="T37" fmla="*/ 251 h 752"/>
              <a:gd name="T38" fmla="*/ 624 w 860"/>
              <a:gd name="T39" fmla="*/ 306 h 752"/>
              <a:gd name="T40" fmla="*/ 454 w 860"/>
              <a:gd name="T41" fmla="*/ 205 h 752"/>
              <a:gd name="T42" fmla="*/ 391 w 860"/>
              <a:gd name="T43" fmla="*/ 247 h 752"/>
              <a:gd name="T44" fmla="*/ 390 w 860"/>
              <a:gd name="T45" fmla="*/ 250 h 752"/>
              <a:gd name="T46" fmla="*/ 645 w 860"/>
              <a:gd name="T47" fmla="*/ 401 h 752"/>
              <a:gd name="T48" fmla="*/ 645 w 860"/>
              <a:gd name="T49" fmla="*/ 752 h 752"/>
              <a:gd name="T50" fmla="*/ 717 w 860"/>
              <a:gd name="T51" fmla="*/ 752 h 752"/>
              <a:gd name="T52" fmla="*/ 717 w 860"/>
              <a:gd name="T53" fmla="*/ 361 h 752"/>
              <a:gd name="T54" fmla="*/ 694 w 860"/>
              <a:gd name="T55" fmla="*/ 347 h 752"/>
              <a:gd name="T56" fmla="*/ 860 w 860"/>
              <a:gd name="T57" fmla="*/ 25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860" h="752">
                <a:moveTo>
                  <a:pt x="860" y="251"/>
                </a:moveTo>
                <a:lnTo>
                  <a:pt x="430" y="0"/>
                </a:lnTo>
                <a:lnTo>
                  <a:pt x="0" y="251"/>
                </a:lnTo>
                <a:lnTo>
                  <a:pt x="144" y="335"/>
                </a:lnTo>
                <a:lnTo>
                  <a:pt x="144" y="476"/>
                </a:lnTo>
                <a:lnTo>
                  <a:pt x="149" y="484"/>
                </a:lnTo>
                <a:cubicBezTo>
                  <a:pt x="207" y="583"/>
                  <a:pt x="315" y="645"/>
                  <a:pt x="430" y="645"/>
                </a:cubicBezTo>
                <a:cubicBezTo>
                  <a:pt x="481" y="645"/>
                  <a:pt x="529" y="632"/>
                  <a:pt x="573" y="611"/>
                </a:cubicBezTo>
                <a:lnTo>
                  <a:pt x="573" y="528"/>
                </a:lnTo>
                <a:cubicBezTo>
                  <a:pt x="532" y="557"/>
                  <a:pt x="482" y="573"/>
                  <a:pt x="430" y="573"/>
                </a:cubicBezTo>
                <a:cubicBezTo>
                  <a:pt x="343" y="573"/>
                  <a:pt x="262" y="528"/>
                  <a:pt x="215" y="456"/>
                </a:cubicBezTo>
                <a:lnTo>
                  <a:pt x="215" y="376"/>
                </a:lnTo>
                <a:lnTo>
                  <a:pt x="430" y="502"/>
                </a:lnTo>
                <a:lnTo>
                  <a:pt x="553" y="430"/>
                </a:lnTo>
                <a:lnTo>
                  <a:pt x="483" y="388"/>
                </a:lnTo>
                <a:lnTo>
                  <a:pt x="430" y="419"/>
                </a:lnTo>
                <a:lnTo>
                  <a:pt x="143" y="251"/>
                </a:lnTo>
                <a:lnTo>
                  <a:pt x="430" y="83"/>
                </a:lnTo>
                <a:lnTo>
                  <a:pt x="718" y="251"/>
                </a:lnTo>
                <a:lnTo>
                  <a:pt x="624" y="306"/>
                </a:lnTo>
                <a:lnTo>
                  <a:pt x="454" y="205"/>
                </a:lnTo>
                <a:lnTo>
                  <a:pt x="391" y="247"/>
                </a:lnTo>
                <a:lnTo>
                  <a:pt x="390" y="250"/>
                </a:lnTo>
                <a:lnTo>
                  <a:pt x="645" y="401"/>
                </a:lnTo>
                <a:lnTo>
                  <a:pt x="645" y="752"/>
                </a:lnTo>
                <a:lnTo>
                  <a:pt x="717" y="752"/>
                </a:lnTo>
                <a:lnTo>
                  <a:pt x="717" y="361"/>
                </a:lnTo>
                <a:lnTo>
                  <a:pt x="694" y="347"/>
                </a:lnTo>
                <a:lnTo>
                  <a:pt x="860" y="25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7" name="Freeform 10"/>
          <p:cNvSpPr>
            <a:spLocks noEditPoints="1"/>
          </p:cNvSpPr>
          <p:nvPr/>
        </p:nvSpPr>
        <p:spPr bwMode="auto">
          <a:xfrm>
            <a:off x="7614768" y="2782742"/>
            <a:ext cx="391642" cy="346149"/>
          </a:xfrm>
          <a:custGeom>
            <a:avLst/>
            <a:gdLst>
              <a:gd name="T0" fmla="*/ 608 w 859"/>
              <a:gd name="T1" fmla="*/ 0 h 752"/>
              <a:gd name="T2" fmla="*/ 250 w 859"/>
              <a:gd name="T3" fmla="*/ 0 h 752"/>
              <a:gd name="T4" fmla="*/ 250 w 859"/>
              <a:gd name="T5" fmla="*/ 72 h 752"/>
              <a:gd name="T6" fmla="*/ 608 w 859"/>
              <a:gd name="T7" fmla="*/ 72 h 752"/>
              <a:gd name="T8" fmla="*/ 608 w 859"/>
              <a:gd name="T9" fmla="*/ 0 h 752"/>
              <a:gd name="T10" fmla="*/ 608 w 859"/>
              <a:gd name="T11" fmla="*/ 394 h 752"/>
              <a:gd name="T12" fmla="*/ 608 w 859"/>
              <a:gd name="T13" fmla="*/ 322 h 752"/>
              <a:gd name="T14" fmla="*/ 537 w 859"/>
              <a:gd name="T15" fmla="*/ 322 h 752"/>
              <a:gd name="T16" fmla="*/ 537 w 859"/>
              <a:gd name="T17" fmla="*/ 394 h 752"/>
              <a:gd name="T18" fmla="*/ 322 w 859"/>
              <a:gd name="T19" fmla="*/ 394 h 752"/>
              <a:gd name="T20" fmla="*/ 322 w 859"/>
              <a:gd name="T21" fmla="*/ 322 h 752"/>
              <a:gd name="T22" fmla="*/ 250 w 859"/>
              <a:gd name="T23" fmla="*/ 322 h 752"/>
              <a:gd name="T24" fmla="*/ 250 w 859"/>
              <a:gd name="T25" fmla="*/ 394 h 752"/>
              <a:gd name="T26" fmla="*/ 71 w 859"/>
              <a:gd name="T27" fmla="*/ 394 h 752"/>
              <a:gd name="T28" fmla="*/ 71 w 859"/>
              <a:gd name="T29" fmla="*/ 215 h 752"/>
              <a:gd name="T30" fmla="*/ 787 w 859"/>
              <a:gd name="T31" fmla="*/ 215 h 752"/>
              <a:gd name="T32" fmla="*/ 787 w 859"/>
              <a:gd name="T33" fmla="*/ 394 h 752"/>
              <a:gd name="T34" fmla="*/ 608 w 859"/>
              <a:gd name="T35" fmla="*/ 394 h 752"/>
              <a:gd name="T36" fmla="*/ 0 w 859"/>
              <a:gd name="T37" fmla="*/ 143 h 752"/>
              <a:gd name="T38" fmla="*/ 0 w 859"/>
              <a:gd name="T39" fmla="*/ 376 h 752"/>
              <a:gd name="T40" fmla="*/ 71 w 859"/>
              <a:gd name="T41" fmla="*/ 466 h 752"/>
              <a:gd name="T42" fmla="*/ 250 w 859"/>
              <a:gd name="T43" fmla="*/ 466 h 752"/>
              <a:gd name="T44" fmla="*/ 250 w 859"/>
              <a:gd name="T45" fmla="*/ 537 h 752"/>
              <a:gd name="T46" fmla="*/ 322 w 859"/>
              <a:gd name="T47" fmla="*/ 537 h 752"/>
              <a:gd name="T48" fmla="*/ 322 w 859"/>
              <a:gd name="T49" fmla="*/ 466 h 752"/>
              <a:gd name="T50" fmla="*/ 537 w 859"/>
              <a:gd name="T51" fmla="*/ 466 h 752"/>
              <a:gd name="T52" fmla="*/ 537 w 859"/>
              <a:gd name="T53" fmla="*/ 537 h 752"/>
              <a:gd name="T54" fmla="*/ 608 w 859"/>
              <a:gd name="T55" fmla="*/ 537 h 752"/>
              <a:gd name="T56" fmla="*/ 608 w 859"/>
              <a:gd name="T57" fmla="*/ 466 h 752"/>
              <a:gd name="T58" fmla="*/ 788 w 859"/>
              <a:gd name="T59" fmla="*/ 466 h 752"/>
              <a:gd name="T60" fmla="*/ 859 w 859"/>
              <a:gd name="T61" fmla="*/ 376 h 752"/>
              <a:gd name="T62" fmla="*/ 859 w 859"/>
              <a:gd name="T63" fmla="*/ 143 h 752"/>
              <a:gd name="T64" fmla="*/ 0 w 859"/>
              <a:gd name="T65" fmla="*/ 143 h 752"/>
              <a:gd name="T66" fmla="*/ 716 w 859"/>
              <a:gd name="T67" fmla="*/ 681 h 752"/>
              <a:gd name="T68" fmla="*/ 143 w 859"/>
              <a:gd name="T69" fmla="*/ 681 h 752"/>
              <a:gd name="T70" fmla="*/ 143 w 859"/>
              <a:gd name="T71" fmla="*/ 502 h 752"/>
              <a:gd name="T72" fmla="*/ 71 w 859"/>
              <a:gd name="T73" fmla="*/ 502 h 752"/>
              <a:gd name="T74" fmla="*/ 71 w 859"/>
              <a:gd name="T75" fmla="*/ 668 h 752"/>
              <a:gd name="T76" fmla="*/ 143 w 859"/>
              <a:gd name="T77" fmla="*/ 752 h 752"/>
              <a:gd name="T78" fmla="*/ 716 w 859"/>
              <a:gd name="T79" fmla="*/ 752 h 752"/>
              <a:gd name="T80" fmla="*/ 787 w 859"/>
              <a:gd name="T81" fmla="*/ 668 h 752"/>
              <a:gd name="T82" fmla="*/ 787 w 859"/>
              <a:gd name="T83" fmla="*/ 502 h 752"/>
              <a:gd name="T84" fmla="*/ 716 w 859"/>
              <a:gd name="T85" fmla="*/ 502 h 752"/>
              <a:gd name="T86" fmla="*/ 716 w 859"/>
              <a:gd name="T87" fmla="*/ 68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859" h="752">
                <a:moveTo>
                  <a:pt x="608" y="0"/>
                </a:moveTo>
                <a:lnTo>
                  <a:pt x="250" y="0"/>
                </a:lnTo>
                <a:lnTo>
                  <a:pt x="250" y="72"/>
                </a:lnTo>
                <a:lnTo>
                  <a:pt x="608" y="72"/>
                </a:lnTo>
                <a:lnTo>
                  <a:pt x="608" y="0"/>
                </a:lnTo>
                <a:close/>
                <a:moveTo>
                  <a:pt x="608" y="394"/>
                </a:moveTo>
                <a:lnTo>
                  <a:pt x="608" y="322"/>
                </a:lnTo>
                <a:lnTo>
                  <a:pt x="537" y="322"/>
                </a:lnTo>
                <a:lnTo>
                  <a:pt x="537" y="394"/>
                </a:lnTo>
                <a:lnTo>
                  <a:pt x="322" y="394"/>
                </a:lnTo>
                <a:lnTo>
                  <a:pt x="322" y="322"/>
                </a:lnTo>
                <a:lnTo>
                  <a:pt x="250" y="322"/>
                </a:lnTo>
                <a:lnTo>
                  <a:pt x="250" y="394"/>
                </a:lnTo>
                <a:lnTo>
                  <a:pt x="71" y="394"/>
                </a:lnTo>
                <a:lnTo>
                  <a:pt x="71" y="215"/>
                </a:lnTo>
                <a:lnTo>
                  <a:pt x="787" y="215"/>
                </a:lnTo>
                <a:lnTo>
                  <a:pt x="787" y="394"/>
                </a:lnTo>
                <a:lnTo>
                  <a:pt x="608" y="394"/>
                </a:lnTo>
                <a:close/>
                <a:moveTo>
                  <a:pt x="0" y="143"/>
                </a:moveTo>
                <a:lnTo>
                  <a:pt x="0" y="376"/>
                </a:lnTo>
                <a:cubicBezTo>
                  <a:pt x="0" y="416"/>
                  <a:pt x="32" y="466"/>
                  <a:pt x="71" y="466"/>
                </a:cubicBezTo>
                <a:lnTo>
                  <a:pt x="250" y="466"/>
                </a:lnTo>
                <a:lnTo>
                  <a:pt x="250" y="537"/>
                </a:lnTo>
                <a:lnTo>
                  <a:pt x="322" y="537"/>
                </a:lnTo>
                <a:lnTo>
                  <a:pt x="322" y="466"/>
                </a:lnTo>
                <a:lnTo>
                  <a:pt x="537" y="466"/>
                </a:lnTo>
                <a:lnTo>
                  <a:pt x="537" y="537"/>
                </a:lnTo>
                <a:lnTo>
                  <a:pt x="608" y="537"/>
                </a:lnTo>
                <a:lnTo>
                  <a:pt x="608" y="466"/>
                </a:lnTo>
                <a:lnTo>
                  <a:pt x="788" y="466"/>
                </a:lnTo>
                <a:cubicBezTo>
                  <a:pt x="827" y="466"/>
                  <a:pt x="859" y="416"/>
                  <a:pt x="859" y="376"/>
                </a:cubicBezTo>
                <a:lnTo>
                  <a:pt x="859" y="143"/>
                </a:lnTo>
                <a:lnTo>
                  <a:pt x="0" y="143"/>
                </a:lnTo>
                <a:close/>
                <a:moveTo>
                  <a:pt x="716" y="681"/>
                </a:moveTo>
                <a:lnTo>
                  <a:pt x="143" y="681"/>
                </a:lnTo>
                <a:lnTo>
                  <a:pt x="143" y="502"/>
                </a:lnTo>
                <a:lnTo>
                  <a:pt x="71" y="502"/>
                </a:lnTo>
                <a:lnTo>
                  <a:pt x="71" y="668"/>
                </a:lnTo>
                <a:cubicBezTo>
                  <a:pt x="71" y="704"/>
                  <a:pt x="104" y="752"/>
                  <a:pt x="143" y="752"/>
                </a:cubicBezTo>
                <a:lnTo>
                  <a:pt x="716" y="752"/>
                </a:lnTo>
                <a:cubicBezTo>
                  <a:pt x="755" y="752"/>
                  <a:pt x="787" y="704"/>
                  <a:pt x="787" y="668"/>
                </a:cubicBezTo>
                <a:lnTo>
                  <a:pt x="787" y="502"/>
                </a:lnTo>
                <a:lnTo>
                  <a:pt x="716" y="502"/>
                </a:lnTo>
                <a:lnTo>
                  <a:pt x="716" y="68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4" name="Прямоугольник 23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0" y="6516869"/>
            <a:ext cx="12192000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ГК «Просвещение», 2021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948970" y="108504"/>
            <a:ext cx="436940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ЕГЭ 2021 физика (Анализ 2020) </a:t>
            </a:r>
            <a:endParaRPr kumimoji="0" lang="ru-RU" sz="24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3183779" y="517667"/>
            <a:ext cx="576805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Процент выполнения заданий ЕГЭ по разделам физики</a:t>
            </a:r>
          </a:p>
        </p:txBody>
      </p:sp>
      <p:graphicFrame>
        <p:nvGraphicFramePr>
          <p:cNvPr id="12" name="Содержимое 5"/>
          <p:cNvGraphicFramePr>
            <a:graphicFrameLocks/>
          </p:cNvGraphicFramePr>
          <p:nvPr>
            <p:extLst/>
          </p:nvPr>
        </p:nvGraphicFramePr>
        <p:xfrm>
          <a:off x="971852" y="1003052"/>
          <a:ext cx="10191907" cy="5099951"/>
        </p:xfrm>
        <a:graphic>
          <a:graphicData uri="http://schemas.openxmlformats.org/drawingml/2006/table">
            <a:tbl>
              <a:tblPr firstRow="1" bandRow="1">
                <a:tableStyleId>{B301B821-A1FF-4177-AEE7-76D212191A09}</a:tableStyleId>
              </a:tblPr>
              <a:tblGrid>
                <a:gridCol w="300919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84598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84598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76572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725027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977736">
                <a:tc>
                  <a:txBody>
                    <a:bodyPr/>
                    <a:lstStyle/>
                    <a:p>
                      <a:pPr algn="ctr"/>
                      <a:r>
                        <a:rPr lang="ru-RU" sz="2000" dirty="0" smtClean="0"/>
                        <a:t>Раздел</a:t>
                      </a:r>
                      <a:endParaRPr lang="ru-RU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dirty="0" smtClean="0"/>
                        <a:t>2017</a:t>
                      </a:r>
                      <a:endParaRPr lang="ru-RU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dirty="0" smtClean="0"/>
                        <a:t>2018</a:t>
                      </a:r>
                      <a:endParaRPr lang="ru-RU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dirty="0" smtClean="0"/>
                        <a:t>2019</a:t>
                      </a:r>
                      <a:endParaRPr lang="ru-RU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dirty="0" smtClean="0"/>
                        <a:t>2020</a:t>
                      </a:r>
                      <a:endParaRPr lang="ru-RU" sz="2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977736">
                <a:tc>
                  <a:txBody>
                    <a:bodyPr/>
                    <a:lstStyle/>
                    <a:p>
                      <a:r>
                        <a:rPr lang="ru-RU" sz="2000" dirty="0" smtClean="0"/>
                        <a:t>Механика</a:t>
                      </a:r>
                      <a:endParaRPr lang="ru-RU" sz="2000" dirty="0">
                        <a:solidFill>
                          <a:schemeClr val="accent6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ru-RU" sz="2000" strike="noStrike" dirty="0" smtClean="0"/>
                        <a:t>60</a:t>
                      </a:r>
                      <a:endParaRPr sz="20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ru-RU" sz="2000" dirty="0" smtClean="0"/>
                        <a:t>61</a:t>
                      </a:r>
                      <a:endParaRPr sz="2000" dirty="0">
                        <a:solidFill>
                          <a:schemeClr val="accent6">
                            <a:lumMod val="10000"/>
                          </a:schemeClr>
                        </a:solidFill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ru-RU" sz="2000" dirty="0" smtClean="0">
                          <a:solidFill>
                            <a:schemeClr val="accent6">
                              <a:lumMod val="10000"/>
                            </a:schemeClr>
                          </a:solidFill>
                          <a:latin typeface="+mn-lt"/>
                        </a:rPr>
                        <a:t>54</a:t>
                      </a:r>
                      <a:endParaRPr sz="2000" dirty="0">
                        <a:solidFill>
                          <a:schemeClr val="accent6">
                            <a:lumMod val="10000"/>
                          </a:schemeClr>
                        </a:solidFill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ru-RU" sz="2000" dirty="0" smtClean="0">
                          <a:solidFill>
                            <a:schemeClr val="accent6">
                              <a:lumMod val="10000"/>
                            </a:schemeClr>
                          </a:solidFill>
                          <a:latin typeface="+mn-lt"/>
                        </a:rPr>
                        <a:t>59</a:t>
                      </a:r>
                      <a:endParaRPr sz="2000" dirty="0">
                        <a:solidFill>
                          <a:schemeClr val="accent6">
                            <a:lumMod val="10000"/>
                          </a:schemeClr>
                        </a:solidFill>
                        <a:latin typeface="+mn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977736">
                <a:tc>
                  <a:txBody>
                    <a:bodyPr/>
                    <a:lstStyle/>
                    <a:p>
                      <a:r>
                        <a:rPr lang="ru-RU" sz="2000" dirty="0" smtClean="0"/>
                        <a:t>МКТ</a:t>
                      </a:r>
                      <a:r>
                        <a:rPr lang="ru-RU" sz="2000" baseline="0" dirty="0" smtClean="0"/>
                        <a:t> и термодинамика</a:t>
                      </a:r>
                      <a:endParaRPr lang="ru-RU" sz="2000" dirty="0">
                        <a:solidFill>
                          <a:schemeClr val="accent6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ru-RU" sz="2000" strike="noStrike" dirty="0" smtClean="0"/>
                        <a:t>53</a:t>
                      </a:r>
                      <a:endParaRPr sz="20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ru-RU" sz="2000" dirty="0" smtClean="0"/>
                        <a:t>53</a:t>
                      </a:r>
                      <a:endParaRPr sz="2000" dirty="0">
                        <a:solidFill>
                          <a:schemeClr val="accent6">
                            <a:lumMod val="10000"/>
                          </a:schemeClr>
                        </a:solidFill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ru-RU" sz="2000" dirty="0" smtClean="0">
                          <a:solidFill>
                            <a:schemeClr val="accent6">
                              <a:lumMod val="10000"/>
                            </a:schemeClr>
                          </a:solidFill>
                          <a:latin typeface="+mn-lt"/>
                        </a:rPr>
                        <a:t>55</a:t>
                      </a:r>
                      <a:endParaRPr sz="2000" dirty="0">
                        <a:solidFill>
                          <a:schemeClr val="accent6">
                            <a:lumMod val="10000"/>
                          </a:schemeClr>
                        </a:solidFill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ru-RU" sz="2000" dirty="0" smtClean="0">
                          <a:solidFill>
                            <a:schemeClr val="accent6">
                              <a:lumMod val="10000"/>
                            </a:schemeClr>
                          </a:solidFill>
                          <a:latin typeface="+mn-lt"/>
                        </a:rPr>
                        <a:t>54</a:t>
                      </a:r>
                      <a:endParaRPr sz="2000" dirty="0">
                        <a:solidFill>
                          <a:schemeClr val="accent6">
                            <a:lumMod val="10000"/>
                          </a:schemeClr>
                        </a:solidFill>
                        <a:latin typeface="+mn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977736">
                <a:tc>
                  <a:txBody>
                    <a:bodyPr/>
                    <a:lstStyle/>
                    <a:p>
                      <a:r>
                        <a:rPr lang="ru-RU" sz="2000" dirty="0" smtClean="0"/>
                        <a:t>Электродинамика</a:t>
                      </a:r>
                      <a:endParaRPr lang="ru-RU" sz="2000" dirty="0">
                        <a:solidFill>
                          <a:schemeClr val="accent6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ru-RU" sz="2000" strike="noStrike" dirty="0" smtClean="0"/>
                        <a:t>49</a:t>
                      </a:r>
                      <a:endParaRPr sz="20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ru-RU" sz="2000" dirty="0" smtClean="0"/>
                        <a:t>50</a:t>
                      </a:r>
                      <a:endParaRPr sz="2000" dirty="0">
                        <a:solidFill>
                          <a:schemeClr val="accent6">
                            <a:lumMod val="10000"/>
                          </a:schemeClr>
                        </a:solidFill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ru-RU" sz="2000" dirty="0" smtClean="0">
                          <a:solidFill>
                            <a:schemeClr val="accent6">
                              <a:lumMod val="10000"/>
                            </a:schemeClr>
                          </a:solidFill>
                          <a:latin typeface="+mn-lt"/>
                        </a:rPr>
                        <a:t>50</a:t>
                      </a:r>
                      <a:endParaRPr sz="2000" dirty="0">
                        <a:solidFill>
                          <a:schemeClr val="accent6">
                            <a:lumMod val="10000"/>
                          </a:schemeClr>
                        </a:solidFill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ru-RU" sz="2000" dirty="0" smtClean="0">
                          <a:solidFill>
                            <a:schemeClr val="accent6">
                              <a:lumMod val="10000"/>
                            </a:schemeClr>
                          </a:solidFill>
                          <a:latin typeface="+mn-lt"/>
                        </a:rPr>
                        <a:t>48</a:t>
                      </a:r>
                      <a:endParaRPr sz="2000" dirty="0">
                        <a:solidFill>
                          <a:schemeClr val="accent6">
                            <a:lumMod val="10000"/>
                          </a:schemeClr>
                        </a:solidFill>
                        <a:latin typeface="+mn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189007">
                <a:tc>
                  <a:txBody>
                    <a:bodyPr/>
                    <a:lstStyle/>
                    <a:p>
                      <a:r>
                        <a:rPr lang="ru-RU" sz="2000" dirty="0" smtClean="0"/>
                        <a:t>Квантовая физики и элементы астрофизики</a:t>
                      </a:r>
                      <a:endParaRPr lang="ru-RU" sz="2000" dirty="0">
                        <a:solidFill>
                          <a:schemeClr val="accent6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ru-RU" sz="2000" strike="noStrike" dirty="0" smtClean="0"/>
                        <a:t>48</a:t>
                      </a:r>
                      <a:endParaRPr sz="20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ru-RU" sz="2000" dirty="0" smtClean="0"/>
                        <a:t>60</a:t>
                      </a:r>
                      <a:endParaRPr sz="2000" dirty="0">
                        <a:solidFill>
                          <a:schemeClr val="accent6">
                            <a:lumMod val="10000"/>
                          </a:schemeClr>
                        </a:solidFill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ru-RU" sz="2000" dirty="0" smtClean="0">
                          <a:solidFill>
                            <a:schemeClr val="accent6">
                              <a:lumMod val="10000"/>
                            </a:schemeClr>
                          </a:solidFill>
                          <a:latin typeface="+mn-lt"/>
                        </a:rPr>
                        <a:t>50</a:t>
                      </a:r>
                      <a:endParaRPr sz="2000" dirty="0">
                        <a:solidFill>
                          <a:schemeClr val="accent6">
                            <a:lumMod val="10000"/>
                          </a:schemeClr>
                        </a:solidFill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ru-RU" sz="2000" dirty="0" smtClean="0">
                          <a:solidFill>
                            <a:schemeClr val="accent6">
                              <a:lumMod val="10000"/>
                            </a:schemeClr>
                          </a:solidFill>
                          <a:latin typeface="+mn-lt"/>
                        </a:rPr>
                        <a:t>55</a:t>
                      </a:r>
                      <a:endParaRPr sz="2000" dirty="0">
                        <a:solidFill>
                          <a:schemeClr val="accent6">
                            <a:lumMod val="10000"/>
                          </a:schemeClr>
                        </a:solidFill>
                        <a:latin typeface="+mn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979904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48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cxnSp>
        <p:nvCxnSpPr>
          <p:cNvPr id="68" name="Прямая соединительная линия 67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Freeform 8"/>
          <p:cNvSpPr>
            <a:spLocks/>
          </p:cNvSpPr>
          <p:nvPr/>
        </p:nvSpPr>
        <p:spPr bwMode="auto">
          <a:xfrm>
            <a:off x="7596965" y="3958541"/>
            <a:ext cx="391642" cy="348126"/>
          </a:xfrm>
          <a:custGeom>
            <a:avLst/>
            <a:gdLst>
              <a:gd name="T0" fmla="*/ 860 w 860"/>
              <a:gd name="T1" fmla="*/ 251 h 752"/>
              <a:gd name="T2" fmla="*/ 430 w 860"/>
              <a:gd name="T3" fmla="*/ 0 h 752"/>
              <a:gd name="T4" fmla="*/ 0 w 860"/>
              <a:gd name="T5" fmla="*/ 251 h 752"/>
              <a:gd name="T6" fmla="*/ 144 w 860"/>
              <a:gd name="T7" fmla="*/ 335 h 752"/>
              <a:gd name="T8" fmla="*/ 144 w 860"/>
              <a:gd name="T9" fmla="*/ 476 h 752"/>
              <a:gd name="T10" fmla="*/ 149 w 860"/>
              <a:gd name="T11" fmla="*/ 484 h 752"/>
              <a:gd name="T12" fmla="*/ 430 w 860"/>
              <a:gd name="T13" fmla="*/ 645 h 752"/>
              <a:gd name="T14" fmla="*/ 573 w 860"/>
              <a:gd name="T15" fmla="*/ 611 h 752"/>
              <a:gd name="T16" fmla="*/ 573 w 860"/>
              <a:gd name="T17" fmla="*/ 528 h 752"/>
              <a:gd name="T18" fmla="*/ 430 w 860"/>
              <a:gd name="T19" fmla="*/ 573 h 752"/>
              <a:gd name="T20" fmla="*/ 215 w 860"/>
              <a:gd name="T21" fmla="*/ 456 h 752"/>
              <a:gd name="T22" fmla="*/ 215 w 860"/>
              <a:gd name="T23" fmla="*/ 376 h 752"/>
              <a:gd name="T24" fmla="*/ 430 w 860"/>
              <a:gd name="T25" fmla="*/ 502 h 752"/>
              <a:gd name="T26" fmla="*/ 553 w 860"/>
              <a:gd name="T27" fmla="*/ 430 h 752"/>
              <a:gd name="T28" fmla="*/ 483 w 860"/>
              <a:gd name="T29" fmla="*/ 388 h 752"/>
              <a:gd name="T30" fmla="*/ 430 w 860"/>
              <a:gd name="T31" fmla="*/ 419 h 752"/>
              <a:gd name="T32" fmla="*/ 143 w 860"/>
              <a:gd name="T33" fmla="*/ 251 h 752"/>
              <a:gd name="T34" fmla="*/ 430 w 860"/>
              <a:gd name="T35" fmla="*/ 83 h 752"/>
              <a:gd name="T36" fmla="*/ 718 w 860"/>
              <a:gd name="T37" fmla="*/ 251 h 752"/>
              <a:gd name="T38" fmla="*/ 624 w 860"/>
              <a:gd name="T39" fmla="*/ 306 h 752"/>
              <a:gd name="T40" fmla="*/ 454 w 860"/>
              <a:gd name="T41" fmla="*/ 205 h 752"/>
              <a:gd name="T42" fmla="*/ 391 w 860"/>
              <a:gd name="T43" fmla="*/ 247 h 752"/>
              <a:gd name="T44" fmla="*/ 390 w 860"/>
              <a:gd name="T45" fmla="*/ 250 h 752"/>
              <a:gd name="T46" fmla="*/ 645 w 860"/>
              <a:gd name="T47" fmla="*/ 401 h 752"/>
              <a:gd name="T48" fmla="*/ 645 w 860"/>
              <a:gd name="T49" fmla="*/ 752 h 752"/>
              <a:gd name="T50" fmla="*/ 717 w 860"/>
              <a:gd name="T51" fmla="*/ 752 h 752"/>
              <a:gd name="T52" fmla="*/ 717 w 860"/>
              <a:gd name="T53" fmla="*/ 361 h 752"/>
              <a:gd name="T54" fmla="*/ 694 w 860"/>
              <a:gd name="T55" fmla="*/ 347 h 752"/>
              <a:gd name="T56" fmla="*/ 860 w 860"/>
              <a:gd name="T57" fmla="*/ 25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860" h="752">
                <a:moveTo>
                  <a:pt x="860" y="251"/>
                </a:moveTo>
                <a:lnTo>
                  <a:pt x="430" y="0"/>
                </a:lnTo>
                <a:lnTo>
                  <a:pt x="0" y="251"/>
                </a:lnTo>
                <a:lnTo>
                  <a:pt x="144" y="335"/>
                </a:lnTo>
                <a:lnTo>
                  <a:pt x="144" y="476"/>
                </a:lnTo>
                <a:lnTo>
                  <a:pt x="149" y="484"/>
                </a:lnTo>
                <a:cubicBezTo>
                  <a:pt x="207" y="583"/>
                  <a:pt x="315" y="645"/>
                  <a:pt x="430" y="645"/>
                </a:cubicBezTo>
                <a:cubicBezTo>
                  <a:pt x="481" y="645"/>
                  <a:pt x="529" y="632"/>
                  <a:pt x="573" y="611"/>
                </a:cubicBezTo>
                <a:lnTo>
                  <a:pt x="573" y="528"/>
                </a:lnTo>
                <a:cubicBezTo>
                  <a:pt x="532" y="557"/>
                  <a:pt x="482" y="573"/>
                  <a:pt x="430" y="573"/>
                </a:cubicBezTo>
                <a:cubicBezTo>
                  <a:pt x="343" y="573"/>
                  <a:pt x="262" y="528"/>
                  <a:pt x="215" y="456"/>
                </a:cubicBezTo>
                <a:lnTo>
                  <a:pt x="215" y="376"/>
                </a:lnTo>
                <a:lnTo>
                  <a:pt x="430" y="502"/>
                </a:lnTo>
                <a:lnTo>
                  <a:pt x="553" y="430"/>
                </a:lnTo>
                <a:lnTo>
                  <a:pt x="483" y="388"/>
                </a:lnTo>
                <a:lnTo>
                  <a:pt x="430" y="419"/>
                </a:lnTo>
                <a:lnTo>
                  <a:pt x="143" y="251"/>
                </a:lnTo>
                <a:lnTo>
                  <a:pt x="430" y="83"/>
                </a:lnTo>
                <a:lnTo>
                  <a:pt x="718" y="251"/>
                </a:lnTo>
                <a:lnTo>
                  <a:pt x="624" y="306"/>
                </a:lnTo>
                <a:lnTo>
                  <a:pt x="454" y="205"/>
                </a:lnTo>
                <a:lnTo>
                  <a:pt x="391" y="247"/>
                </a:lnTo>
                <a:lnTo>
                  <a:pt x="390" y="250"/>
                </a:lnTo>
                <a:lnTo>
                  <a:pt x="645" y="401"/>
                </a:lnTo>
                <a:lnTo>
                  <a:pt x="645" y="752"/>
                </a:lnTo>
                <a:lnTo>
                  <a:pt x="717" y="752"/>
                </a:lnTo>
                <a:lnTo>
                  <a:pt x="717" y="361"/>
                </a:lnTo>
                <a:lnTo>
                  <a:pt x="694" y="347"/>
                </a:lnTo>
                <a:lnTo>
                  <a:pt x="860" y="25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7" name="Freeform 10"/>
          <p:cNvSpPr>
            <a:spLocks noEditPoints="1"/>
          </p:cNvSpPr>
          <p:nvPr/>
        </p:nvSpPr>
        <p:spPr bwMode="auto">
          <a:xfrm>
            <a:off x="7614768" y="2782742"/>
            <a:ext cx="391642" cy="346149"/>
          </a:xfrm>
          <a:custGeom>
            <a:avLst/>
            <a:gdLst>
              <a:gd name="T0" fmla="*/ 608 w 859"/>
              <a:gd name="T1" fmla="*/ 0 h 752"/>
              <a:gd name="T2" fmla="*/ 250 w 859"/>
              <a:gd name="T3" fmla="*/ 0 h 752"/>
              <a:gd name="T4" fmla="*/ 250 w 859"/>
              <a:gd name="T5" fmla="*/ 72 h 752"/>
              <a:gd name="T6" fmla="*/ 608 w 859"/>
              <a:gd name="T7" fmla="*/ 72 h 752"/>
              <a:gd name="T8" fmla="*/ 608 w 859"/>
              <a:gd name="T9" fmla="*/ 0 h 752"/>
              <a:gd name="T10" fmla="*/ 608 w 859"/>
              <a:gd name="T11" fmla="*/ 394 h 752"/>
              <a:gd name="T12" fmla="*/ 608 w 859"/>
              <a:gd name="T13" fmla="*/ 322 h 752"/>
              <a:gd name="T14" fmla="*/ 537 w 859"/>
              <a:gd name="T15" fmla="*/ 322 h 752"/>
              <a:gd name="T16" fmla="*/ 537 w 859"/>
              <a:gd name="T17" fmla="*/ 394 h 752"/>
              <a:gd name="T18" fmla="*/ 322 w 859"/>
              <a:gd name="T19" fmla="*/ 394 h 752"/>
              <a:gd name="T20" fmla="*/ 322 w 859"/>
              <a:gd name="T21" fmla="*/ 322 h 752"/>
              <a:gd name="T22" fmla="*/ 250 w 859"/>
              <a:gd name="T23" fmla="*/ 322 h 752"/>
              <a:gd name="T24" fmla="*/ 250 w 859"/>
              <a:gd name="T25" fmla="*/ 394 h 752"/>
              <a:gd name="T26" fmla="*/ 71 w 859"/>
              <a:gd name="T27" fmla="*/ 394 h 752"/>
              <a:gd name="T28" fmla="*/ 71 w 859"/>
              <a:gd name="T29" fmla="*/ 215 h 752"/>
              <a:gd name="T30" fmla="*/ 787 w 859"/>
              <a:gd name="T31" fmla="*/ 215 h 752"/>
              <a:gd name="T32" fmla="*/ 787 w 859"/>
              <a:gd name="T33" fmla="*/ 394 h 752"/>
              <a:gd name="T34" fmla="*/ 608 w 859"/>
              <a:gd name="T35" fmla="*/ 394 h 752"/>
              <a:gd name="T36" fmla="*/ 0 w 859"/>
              <a:gd name="T37" fmla="*/ 143 h 752"/>
              <a:gd name="T38" fmla="*/ 0 w 859"/>
              <a:gd name="T39" fmla="*/ 376 h 752"/>
              <a:gd name="T40" fmla="*/ 71 w 859"/>
              <a:gd name="T41" fmla="*/ 466 h 752"/>
              <a:gd name="T42" fmla="*/ 250 w 859"/>
              <a:gd name="T43" fmla="*/ 466 h 752"/>
              <a:gd name="T44" fmla="*/ 250 w 859"/>
              <a:gd name="T45" fmla="*/ 537 h 752"/>
              <a:gd name="T46" fmla="*/ 322 w 859"/>
              <a:gd name="T47" fmla="*/ 537 h 752"/>
              <a:gd name="T48" fmla="*/ 322 w 859"/>
              <a:gd name="T49" fmla="*/ 466 h 752"/>
              <a:gd name="T50" fmla="*/ 537 w 859"/>
              <a:gd name="T51" fmla="*/ 466 h 752"/>
              <a:gd name="T52" fmla="*/ 537 w 859"/>
              <a:gd name="T53" fmla="*/ 537 h 752"/>
              <a:gd name="T54" fmla="*/ 608 w 859"/>
              <a:gd name="T55" fmla="*/ 537 h 752"/>
              <a:gd name="T56" fmla="*/ 608 w 859"/>
              <a:gd name="T57" fmla="*/ 466 h 752"/>
              <a:gd name="T58" fmla="*/ 788 w 859"/>
              <a:gd name="T59" fmla="*/ 466 h 752"/>
              <a:gd name="T60" fmla="*/ 859 w 859"/>
              <a:gd name="T61" fmla="*/ 376 h 752"/>
              <a:gd name="T62" fmla="*/ 859 w 859"/>
              <a:gd name="T63" fmla="*/ 143 h 752"/>
              <a:gd name="T64" fmla="*/ 0 w 859"/>
              <a:gd name="T65" fmla="*/ 143 h 752"/>
              <a:gd name="T66" fmla="*/ 716 w 859"/>
              <a:gd name="T67" fmla="*/ 681 h 752"/>
              <a:gd name="T68" fmla="*/ 143 w 859"/>
              <a:gd name="T69" fmla="*/ 681 h 752"/>
              <a:gd name="T70" fmla="*/ 143 w 859"/>
              <a:gd name="T71" fmla="*/ 502 h 752"/>
              <a:gd name="T72" fmla="*/ 71 w 859"/>
              <a:gd name="T73" fmla="*/ 502 h 752"/>
              <a:gd name="T74" fmla="*/ 71 w 859"/>
              <a:gd name="T75" fmla="*/ 668 h 752"/>
              <a:gd name="T76" fmla="*/ 143 w 859"/>
              <a:gd name="T77" fmla="*/ 752 h 752"/>
              <a:gd name="T78" fmla="*/ 716 w 859"/>
              <a:gd name="T79" fmla="*/ 752 h 752"/>
              <a:gd name="T80" fmla="*/ 787 w 859"/>
              <a:gd name="T81" fmla="*/ 668 h 752"/>
              <a:gd name="T82" fmla="*/ 787 w 859"/>
              <a:gd name="T83" fmla="*/ 502 h 752"/>
              <a:gd name="T84" fmla="*/ 716 w 859"/>
              <a:gd name="T85" fmla="*/ 502 h 752"/>
              <a:gd name="T86" fmla="*/ 716 w 859"/>
              <a:gd name="T87" fmla="*/ 68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859" h="752">
                <a:moveTo>
                  <a:pt x="608" y="0"/>
                </a:moveTo>
                <a:lnTo>
                  <a:pt x="250" y="0"/>
                </a:lnTo>
                <a:lnTo>
                  <a:pt x="250" y="72"/>
                </a:lnTo>
                <a:lnTo>
                  <a:pt x="608" y="72"/>
                </a:lnTo>
                <a:lnTo>
                  <a:pt x="608" y="0"/>
                </a:lnTo>
                <a:close/>
                <a:moveTo>
                  <a:pt x="608" y="394"/>
                </a:moveTo>
                <a:lnTo>
                  <a:pt x="608" y="322"/>
                </a:lnTo>
                <a:lnTo>
                  <a:pt x="537" y="322"/>
                </a:lnTo>
                <a:lnTo>
                  <a:pt x="537" y="394"/>
                </a:lnTo>
                <a:lnTo>
                  <a:pt x="322" y="394"/>
                </a:lnTo>
                <a:lnTo>
                  <a:pt x="322" y="322"/>
                </a:lnTo>
                <a:lnTo>
                  <a:pt x="250" y="322"/>
                </a:lnTo>
                <a:lnTo>
                  <a:pt x="250" y="394"/>
                </a:lnTo>
                <a:lnTo>
                  <a:pt x="71" y="394"/>
                </a:lnTo>
                <a:lnTo>
                  <a:pt x="71" y="215"/>
                </a:lnTo>
                <a:lnTo>
                  <a:pt x="787" y="215"/>
                </a:lnTo>
                <a:lnTo>
                  <a:pt x="787" y="394"/>
                </a:lnTo>
                <a:lnTo>
                  <a:pt x="608" y="394"/>
                </a:lnTo>
                <a:close/>
                <a:moveTo>
                  <a:pt x="0" y="143"/>
                </a:moveTo>
                <a:lnTo>
                  <a:pt x="0" y="376"/>
                </a:lnTo>
                <a:cubicBezTo>
                  <a:pt x="0" y="416"/>
                  <a:pt x="32" y="466"/>
                  <a:pt x="71" y="466"/>
                </a:cubicBezTo>
                <a:lnTo>
                  <a:pt x="250" y="466"/>
                </a:lnTo>
                <a:lnTo>
                  <a:pt x="250" y="537"/>
                </a:lnTo>
                <a:lnTo>
                  <a:pt x="322" y="537"/>
                </a:lnTo>
                <a:lnTo>
                  <a:pt x="322" y="466"/>
                </a:lnTo>
                <a:lnTo>
                  <a:pt x="537" y="466"/>
                </a:lnTo>
                <a:lnTo>
                  <a:pt x="537" y="537"/>
                </a:lnTo>
                <a:lnTo>
                  <a:pt x="608" y="537"/>
                </a:lnTo>
                <a:lnTo>
                  <a:pt x="608" y="466"/>
                </a:lnTo>
                <a:lnTo>
                  <a:pt x="788" y="466"/>
                </a:lnTo>
                <a:cubicBezTo>
                  <a:pt x="827" y="466"/>
                  <a:pt x="859" y="416"/>
                  <a:pt x="859" y="376"/>
                </a:cubicBezTo>
                <a:lnTo>
                  <a:pt x="859" y="143"/>
                </a:lnTo>
                <a:lnTo>
                  <a:pt x="0" y="143"/>
                </a:lnTo>
                <a:close/>
                <a:moveTo>
                  <a:pt x="716" y="681"/>
                </a:moveTo>
                <a:lnTo>
                  <a:pt x="143" y="681"/>
                </a:lnTo>
                <a:lnTo>
                  <a:pt x="143" y="502"/>
                </a:lnTo>
                <a:lnTo>
                  <a:pt x="71" y="502"/>
                </a:lnTo>
                <a:lnTo>
                  <a:pt x="71" y="668"/>
                </a:lnTo>
                <a:cubicBezTo>
                  <a:pt x="71" y="704"/>
                  <a:pt x="104" y="752"/>
                  <a:pt x="143" y="752"/>
                </a:cubicBezTo>
                <a:lnTo>
                  <a:pt x="716" y="752"/>
                </a:lnTo>
                <a:cubicBezTo>
                  <a:pt x="755" y="752"/>
                  <a:pt x="787" y="704"/>
                  <a:pt x="787" y="668"/>
                </a:cubicBezTo>
                <a:lnTo>
                  <a:pt x="787" y="502"/>
                </a:lnTo>
                <a:lnTo>
                  <a:pt x="716" y="502"/>
                </a:lnTo>
                <a:lnTo>
                  <a:pt x="716" y="68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4" name="Прямоугольник 23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0" y="6516869"/>
            <a:ext cx="12192000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ГК «Просвещение», 2021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948970" y="108504"/>
            <a:ext cx="436940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ЕГЭ 2021 физика (Анализ 2020) </a:t>
            </a:r>
            <a:endParaRPr kumimoji="0" lang="ru-RU" sz="24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3183779" y="517667"/>
            <a:ext cx="605627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Процент выполнения заданий ЕГЭ по видам деятельности</a:t>
            </a:r>
          </a:p>
        </p:txBody>
      </p:sp>
      <p:graphicFrame>
        <p:nvGraphicFramePr>
          <p:cNvPr id="11" name="Содержимое 5"/>
          <p:cNvGraphicFramePr>
            <a:graphicFrameLocks/>
          </p:cNvGraphicFramePr>
          <p:nvPr>
            <p:extLst/>
          </p:nvPr>
        </p:nvGraphicFramePr>
        <p:xfrm>
          <a:off x="632108" y="1031319"/>
          <a:ext cx="11159614" cy="4766918"/>
        </p:xfrm>
        <a:graphic>
          <a:graphicData uri="http://schemas.openxmlformats.org/drawingml/2006/table">
            <a:tbl>
              <a:tblPr firstRow="1" bandRow="1">
                <a:tableStyleId>{B301B821-A1FF-4177-AEE7-76D212191A09}</a:tableStyleId>
              </a:tblPr>
              <a:tblGrid>
                <a:gridCol w="329490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02125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02125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93337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88881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849922">
                <a:tc>
                  <a:txBody>
                    <a:bodyPr/>
                    <a:lstStyle/>
                    <a:p>
                      <a:pPr algn="ctr"/>
                      <a:r>
                        <a:rPr lang="ru-RU" sz="2000" dirty="0" smtClean="0"/>
                        <a:t>Раздел</a:t>
                      </a:r>
                      <a:endParaRPr lang="ru-RU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dirty="0" smtClean="0"/>
                        <a:t>2017</a:t>
                      </a:r>
                      <a:endParaRPr lang="ru-RU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dirty="0" smtClean="0"/>
                        <a:t>2018</a:t>
                      </a:r>
                      <a:endParaRPr lang="ru-RU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dirty="0" smtClean="0"/>
                        <a:t>2019</a:t>
                      </a:r>
                      <a:endParaRPr lang="ru-RU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dirty="0" smtClean="0"/>
                        <a:t>2020</a:t>
                      </a:r>
                      <a:endParaRPr lang="ru-RU" sz="2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183577">
                <a:tc>
                  <a:txBody>
                    <a:bodyPr/>
                    <a:lstStyle/>
                    <a:p>
                      <a:r>
                        <a:rPr lang="ru-RU" sz="2000" dirty="0" smtClean="0"/>
                        <a:t>Применение законов и формул в типовых ситуациях</a:t>
                      </a:r>
                      <a:endParaRPr lang="ru-RU" sz="2000" dirty="0">
                        <a:solidFill>
                          <a:schemeClr val="accent6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ru-RU" sz="2000" strike="noStrike" dirty="0" smtClean="0"/>
                        <a:t>67</a:t>
                      </a:r>
                      <a:endParaRPr sz="20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ru-RU" sz="2000" dirty="0" smtClean="0"/>
                        <a:t>69</a:t>
                      </a:r>
                      <a:endParaRPr sz="2000" dirty="0">
                        <a:solidFill>
                          <a:schemeClr val="accent6">
                            <a:lumMod val="10000"/>
                          </a:schemeClr>
                        </a:solidFill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ru-RU" sz="2000" dirty="0" smtClean="0">
                          <a:solidFill>
                            <a:schemeClr val="accent6">
                              <a:lumMod val="10000"/>
                            </a:schemeClr>
                          </a:solidFill>
                          <a:latin typeface="+mn-lt"/>
                        </a:rPr>
                        <a:t>68</a:t>
                      </a:r>
                      <a:endParaRPr sz="2000" dirty="0">
                        <a:solidFill>
                          <a:schemeClr val="accent6">
                            <a:lumMod val="10000"/>
                          </a:schemeClr>
                        </a:solidFill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ru-RU" sz="2000" dirty="0" smtClean="0">
                          <a:solidFill>
                            <a:schemeClr val="accent6">
                              <a:lumMod val="10000"/>
                            </a:schemeClr>
                          </a:solidFill>
                          <a:latin typeface="+mn-lt"/>
                        </a:rPr>
                        <a:t>68</a:t>
                      </a:r>
                      <a:endParaRPr sz="2000" dirty="0">
                        <a:solidFill>
                          <a:schemeClr val="accent6">
                            <a:lumMod val="10000"/>
                          </a:schemeClr>
                        </a:solidFill>
                        <a:latin typeface="+mn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849922">
                <a:tc>
                  <a:txBody>
                    <a:bodyPr/>
                    <a:lstStyle/>
                    <a:p>
                      <a:r>
                        <a:rPr lang="ru-RU" sz="2000" dirty="0" smtClean="0"/>
                        <a:t>Анализ</a:t>
                      </a:r>
                      <a:r>
                        <a:rPr lang="ru-RU" sz="2000" baseline="0" dirty="0" smtClean="0"/>
                        <a:t> и объяснение явлений и процессов</a:t>
                      </a:r>
                      <a:endParaRPr lang="ru-RU" sz="2000" dirty="0">
                        <a:solidFill>
                          <a:schemeClr val="accent6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ru-RU" sz="2000" strike="noStrike" dirty="0" smtClean="0"/>
                        <a:t>63</a:t>
                      </a:r>
                      <a:endParaRPr sz="20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ru-RU" sz="2000" dirty="0" smtClean="0"/>
                        <a:t>61</a:t>
                      </a:r>
                      <a:endParaRPr sz="2000" dirty="0">
                        <a:solidFill>
                          <a:schemeClr val="accent6">
                            <a:lumMod val="10000"/>
                          </a:schemeClr>
                        </a:solidFill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ru-RU" sz="2000" dirty="0" smtClean="0">
                          <a:solidFill>
                            <a:schemeClr val="accent6">
                              <a:lumMod val="10000"/>
                            </a:schemeClr>
                          </a:solidFill>
                          <a:latin typeface="+mn-lt"/>
                        </a:rPr>
                        <a:t>60</a:t>
                      </a:r>
                      <a:endParaRPr sz="2000" dirty="0">
                        <a:solidFill>
                          <a:schemeClr val="accent6">
                            <a:lumMod val="10000"/>
                          </a:schemeClr>
                        </a:solidFill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ru-RU" sz="2000" dirty="0" smtClean="0">
                          <a:solidFill>
                            <a:schemeClr val="accent6">
                              <a:lumMod val="10000"/>
                            </a:schemeClr>
                          </a:solidFill>
                          <a:latin typeface="+mn-lt"/>
                        </a:rPr>
                        <a:t>62</a:t>
                      </a:r>
                      <a:endParaRPr sz="2000" dirty="0">
                        <a:solidFill>
                          <a:schemeClr val="accent6">
                            <a:lumMod val="10000"/>
                          </a:schemeClr>
                        </a:solidFill>
                        <a:latin typeface="+mn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849922">
                <a:tc>
                  <a:txBody>
                    <a:bodyPr/>
                    <a:lstStyle/>
                    <a:p>
                      <a:r>
                        <a:rPr lang="ru-RU" sz="2000" dirty="0" smtClean="0"/>
                        <a:t>Методологические умения</a:t>
                      </a:r>
                      <a:endParaRPr lang="ru-RU" sz="2000" dirty="0">
                        <a:solidFill>
                          <a:schemeClr val="accent6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ru-RU" sz="2000" strike="noStrike" dirty="0" smtClean="0"/>
                        <a:t>75</a:t>
                      </a:r>
                      <a:endParaRPr sz="20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ru-RU" sz="2000" dirty="0" smtClean="0"/>
                        <a:t>65</a:t>
                      </a:r>
                      <a:endParaRPr sz="2000" dirty="0">
                        <a:solidFill>
                          <a:schemeClr val="accent6">
                            <a:lumMod val="10000"/>
                          </a:schemeClr>
                        </a:solidFill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ru-RU" sz="2000" dirty="0" smtClean="0">
                          <a:solidFill>
                            <a:schemeClr val="accent6">
                              <a:lumMod val="10000"/>
                            </a:schemeClr>
                          </a:solidFill>
                          <a:latin typeface="+mn-lt"/>
                        </a:rPr>
                        <a:t>61</a:t>
                      </a:r>
                      <a:endParaRPr sz="2000" dirty="0">
                        <a:solidFill>
                          <a:schemeClr val="accent6">
                            <a:lumMod val="10000"/>
                          </a:schemeClr>
                        </a:solidFill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ru-RU" sz="2000" dirty="0" smtClean="0">
                          <a:solidFill>
                            <a:schemeClr val="accent6">
                              <a:lumMod val="10000"/>
                            </a:schemeClr>
                          </a:solidFill>
                          <a:latin typeface="+mn-lt"/>
                        </a:rPr>
                        <a:t>70</a:t>
                      </a:r>
                      <a:endParaRPr sz="2000" dirty="0">
                        <a:solidFill>
                          <a:schemeClr val="accent6">
                            <a:lumMod val="10000"/>
                          </a:schemeClr>
                        </a:solidFill>
                        <a:latin typeface="+mn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033575">
                <a:tc>
                  <a:txBody>
                    <a:bodyPr/>
                    <a:lstStyle/>
                    <a:p>
                      <a:r>
                        <a:rPr lang="ru-RU" sz="2000" dirty="0" smtClean="0">
                          <a:solidFill>
                            <a:srgbClr val="EB2049"/>
                          </a:solidFill>
                        </a:rPr>
                        <a:t>Решение задач</a:t>
                      </a:r>
                      <a:endParaRPr lang="ru-RU" sz="2000" dirty="0">
                        <a:solidFill>
                          <a:srgbClr val="EB2049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ru-RU" sz="2000" strike="noStrike" dirty="0" smtClean="0">
                          <a:solidFill>
                            <a:srgbClr val="EB2049"/>
                          </a:solidFill>
                        </a:rPr>
                        <a:t>19</a:t>
                      </a:r>
                      <a:endParaRPr sz="2000" dirty="0">
                        <a:solidFill>
                          <a:srgbClr val="EB2049"/>
                        </a:solidFill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ru-RU" sz="2000" dirty="0" smtClean="0">
                          <a:solidFill>
                            <a:srgbClr val="EB2049"/>
                          </a:solidFill>
                        </a:rPr>
                        <a:t>20</a:t>
                      </a:r>
                      <a:endParaRPr sz="2000" dirty="0">
                        <a:solidFill>
                          <a:srgbClr val="EB2049"/>
                        </a:solidFill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ru-RU" sz="2000" dirty="0" smtClean="0">
                          <a:solidFill>
                            <a:srgbClr val="EB2049"/>
                          </a:solidFill>
                          <a:latin typeface="+mn-lt"/>
                        </a:rPr>
                        <a:t>26</a:t>
                      </a:r>
                      <a:endParaRPr sz="2000" dirty="0">
                        <a:solidFill>
                          <a:srgbClr val="EB2049"/>
                        </a:solidFill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ru-RU" sz="2000" dirty="0" smtClean="0">
                          <a:solidFill>
                            <a:srgbClr val="FF0000"/>
                          </a:solidFill>
                          <a:latin typeface="+mn-lt"/>
                        </a:rPr>
                        <a:t>21</a:t>
                      </a:r>
                      <a:endParaRPr sz="2000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875785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48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cxnSp>
        <p:nvCxnSpPr>
          <p:cNvPr id="68" name="Прямая соединительная линия 67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Freeform 8"/>
          <p:cNvSpPr>
            <a:spLocks/>
          </p:cNvSpPr>
          <p:nvPr/>
        </p:nvSpPr>
        <p:spPr bwMode="auto">
          <a:xfrm>
            <a:off x="7596965" y="3958541"/>
            <a:ext cx="391642" cy="348126"/>
          </a:xfrm>
          <a:custGeom>
            <a:avLst/>
            <a:gdLst>
              <a:gd name="T0" fmla="*/ 860 w 860"/>
              <a:gd name="T1" fmla="*/ 251 h 752"/>
              <a:gd name="T2" fmla="*/ 430 w 860"/>
              <a:gd name="T3" fmla="*/ 0 h 752"/>
              <a:gd name="T4" fmla="*/ 0 w 860"/>
              <a:gd name="T5" fmla="*/ 251 h 752"/>
              <a:gd name="T6" fmla="*/ 144 w 860"/>
              <a:gd name="T7" fmla="*/ 335 h 752"/>
              <a:gd name="T8" fmla="*/ 144 w 860"/>
              <a:gd name="T9" fmla="*/ 476 h 752"/>
              <a:gd name="T10" fmla="*/ 149 w 860"/>
              <a:gd name="T11" fmla="*/ 484 h 752"/>
              <a:gd name="T12" fmla="*/ 430 w 860"/>
              <a:gd name="T13" fmla="*/ 645 h 752"/>
              <a:gd name="T14" fmla="*/ 573 w 860"/>
              <a:gd name="T15" fmla="*/ 611 h 752"/>
              <a:gd name="T16" fmla="*/ 573 w 860"/>
              <a:gd name="T17" fmla="*/ 528 h 752"/>
              <a:gd name="T18" fmla="*/ 430 w 860"/>
              <a:gd name="T19" fmla="*/ 573 h 752"/>
              <a:gd name="T20" fmla="*/ 215 w 860"/>
              <a:gd name="T21" fmla="*/ 456 h 752"/>
              <a:gd name="T22" fmla="*/ 215 w 860"/>
              <a:gd name="T23" fmla="*/ 376 h 752"/>
              <a:gd name="T24" fmla="*/ 430 w 860"/>
              <a:gd name="T25" fmla="*/ 502 h 752"/>
              <a:gd name="T26" fmla="*/ 553 w 860"/>
              <a:gd name="T27" fmla="*/ 430 h 752"/>
              <a:gd name="T28" fmla="*/ 483 w 860"/>
              <a:gd name="T29" fmla="*/ 388 h 752"/>
              <a:gd name="T30" fmla="*/ 430 w 860"/>
              <a:gd name="T31" fmla="*/ 419 h 752"/>
              <a:gd name="T32" fmla="*/ 143 w 860"/>
              <a:gd name="T33" fmla="*/ 251 h 752"/>
              <a:gd name="T34" fmla="*/ 430 w 860"/>
              <a:gd name="T35" fmla="*/ 83 h 752"/>
              <a:gd name="T36" fmla="*/ 718 w 860"/>
              <a:gd name="T37" fmla="*/ 251 h 752"/>
              <a:gd name="T38" fmla="*/ 624 w 860"/>
              <a:gd name="T39" fmla="*/ 306 h 752"/>
              <a:gd name="T40" fmla="*/ 454 w 860"/>
              <a:gd name="T41" fmla="*/ 205 h 752"/>
              <a:gd name="T42" fmla="*/ 391 w 860"/>
              <a:gd name="T43" fmla="*/ 247 h 752"/>
              <a:gd name="T44" fmla="*/ 390 w 860"/>
              <a:gd name="T45" fmla="*/ 250 h 752"/>
              <a:gd name="T46" fmla="*/ 645 w 860"/>
              <a:gd name="T47" fmla="*/ 401 h 752"/>
              <a:gd name="T48" fmla="*/ 645 w 860"/>
              <a:gd name="T49" fmla="*/ 752 h 752"/>
              <a:gd name="T50" fmla="*/ 717 w 860"/>
              <a:gd name="T51" fmla="*/ 752 h 752"/>
              <a:gd name="T52" fmla="*/ 717 w 860"/>
              <a:gd name="T53" fmla="*/ 361 h 752"/>
              <a:gd name="T54" fmla="*/ 694 w 860"/>
              <a:gd name="T55" fmla="*/ 347 h 752"/>
              <a:gd name="T56" fmla="*/ 860 w 860"/>
              <a:gd name="T57" fmla="*/ 25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860" h="752">
                <a:moveTo>
                  <a:pt x="860" y="251"/>
                </a:moveTo>
                <a:lnTo>
                  <a:pt x="430" y="0"/>
                </a:lnTo>
                <a:lnTo>
                  <a:pt x="0" y="251"/>
                </a:lnTo>
                <a:lnTo>
                  <a:pt x="144" y="335"/>
                </a:lnTo>
                <a:lnTo>
                  <a:pt x="144" y="476"/>
                </a:lnTo>
                <a:lnTo>
                  <a:pt x="149" y="484"/>
                </a:lnTo>
                <a:cubicBezTo>
                  <a:pt x="207" y="583"/>
                  <a:pt x="315" y="645"/>
                  <a:pt x="430" y="645"/>
                </a:cubicBezTo>
                <a:cubicBezTo>
                  <a:pt x="481" y="645"/>
                  <a:pt x="529" y="632"/>
                  <a:pt x="573" y="611"/>
                </a:cubicBezTo>
                <a:lnTo>
                  <a:pt x="573" y="528"/>
                </a:lnTo>
                <a:cubicBezTo>
                  <a:pt x="532" y="557"/>
                  <a:pt x="482" y="573"/>
                  <a:pt x="430" y="573"/>
                </a:cubicBezTo>
                <a:cubicBezTo>
                  <a:pt x="343" y="573"/>
                  <a:pt x="262" y="528"/>
                  <a:pt x="215" y="456"/>
                </a:cubicBezTo>
                <a:lnTo>
                  <a:pt x="215" y="376"/>
                </a:lnTo>
                <a:lnTo>
                  <a:pt x="430" y="502"/>
                </a:lnTo>
                <a:lnTo>
                  <a:pt x="553" y="430"/>
                </a:lnTo>
                <a:lnTo>
                  <a:pt x="483" y="388"/>
                </a:lnTo>
                <a:lnTo>
                  <a:pt x="430" y="419"/>
                </a:lnTo>
                <a:lnTo>
                  <a:pt x="143" y="251"/>
                </a:lnTo>
                <a:lnTo>
                  <a:pt x="430" y="83"/>
                </a:lnTo>
                <a:lnTo>
                  <a:pt x="718" y="251"/>
                </a:lnTo>
                <a:lnTo>
                  <a:pt x="624" y="306"/>
                </a:lnTo>
                <a:lnTo>
                  <a:pt x="454" y="205"/>
                </a:lnTo>
                <a:lnTo>
                  <a:pt x="391" y="247"/>
                </a:lnTo>
                <a:lnTo>
                  <a:pt x="390" y="250"/>
                </a:lnTo>
                <a:lnTo>
                  <a:pt x="645" y="401"/>
                </a:lnTo>
                <a:lnTo>
                  <a:pt x="645" y="752"/>
                </a:lnTo>
                <a:lnTo>
                  <a:pt x="717" y="752"/>
                </a:lnTo>
                <a:lnTo>
                  <a:pt x="717" y="361"/>
                </a:lnTo>
                <a:lnTo>
                  <a:pt x="694" y="347"/>
                </a:lnTo>
                <a:lnTo>
                  <a:pt x="860" y="25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7" name="Freeform 10"/>
          <p:cNvSpPr>
            <a:spLocks noEditPoints="1"/>
          </p:cNvSpPr>
          <p:nvPr/>
        </p:nvSpPr>
        <p:spPr bwMode="auto">
          <a:xfrm>
            <a:off x="7614768" y="2782742"/>
            <a:ext cx="391642" cy="346149"/>
          </a:xfrm>
          <a:custGeom>
            <a:avLst/>
            <a:gdLst>
              <a:gd name="T0" fmla="*/ 608 w 859"/>
              <a:gd name="T1" fmla="*/ 0 h 752"/>
              <a:gd name="T2" fmla="*/ 250 w 859"/>
              <a:gd name="T3" fmla="*/ 0 h 752"/>
              <a:gd name="T4" fmla="*/ 250 w 859"/>
              <a:gd name="T5" fmla="*/ 72 h 752"/>
              <a:gd name="T6" fmla="*/ 608 w 859"/>
              <a:gd name="T7" fmla="*/ 72 h 752"/>
              <a:gd name="T8" fmla="*/ 608 w 859"/>
              <a:gd name="T9" fmla="*/ 0 h 752"/>
              <a:gd name="T10" fmla="*/ 608 w 859"/>
              <a:gd name="T11" fmla="*/ 394 h 752"/>
              <a:gd name="T12" fmla="*/ 608 w 859"/>
              <a:gd name="T13" fmla="*/ 322 h 752"/>
              <a:gd name="T14" fmla="*/ 537 w 859"/>
              <a:gd name="T15" fmla="*/ 322 h 752"/>
              <a:gd name="T16" fmla="*/ 537 w 859"/>
              <a:gd name="T17" fmla="*/ 394 h 752"/>
              <a:gd name="T18" fmla="*/ 322 w 859"/>
              <a:gd name="T19" fmla="*/ 394 h 752"/>
              <a:gd name="T20" fmla="*/ 322 w 859"/>
              <a:gd name="T21" fmla="*/ 322 h 752"/>
              <a:gd name="T22" fmla="*/ 250 w 859"/>
              <a:gd name="T23" fmla="*/ 322 h 752"/>
              <a:gd name="T24" fmla="*/ 250 w 859"/>
              <a:gd name="T25" fmla="*/ 394 h 752"/>
              <a:gd name="T26" fmla="*/ 71 w 859"/>
              <a:gd name="T27" fmla="*/ 394 h 752"/>
              <a:gd name="T28" fmla="*/ 71 w 859"/>
              <a:gd name="T29" fmla="*/ 215 h 752"/>
              <a:gd name="T30" fmla="*/ 787 w 859"/>
              <a:gd name="T31" fmla="*/ 215 h 752"/>
              <a:gd name="T32" fmla="*/ 787 w 859"/>
              <a:gd name="T33" fmla="*/ 394 h 752"/>
              <a:gd name="T34" fmla="*/ 608 w 859"/>
              <a:gd name="T35" fmla="*/ 394 h 752"/>
              <a:gd name="T36" fmla="*/ 0 w 859"/>
              <a:gd name="T37" fmla="*/ 143 h 752"/>
              <a:gd name="T38" fmla="*/ 0 w 859"/>
              <a:gd name="T39" fmla="*/ 376 h 752"/>
              <a:gd name="T40" fmla="*/ 71 w 859"/>
              <a:gd name="T41" fmla="*/ 466 h 752"/>
              <a:gd name="T42" fmla="*/ 250 w 859"/>
              <a:gd name="T43" fmla="*/ 466 h 752"/>
              <a:gd name="T44" fmla="*/ 250 w 859"/>
              <a:gd name="T45" fmla="*/ 537 h 752"/>
              <a:gd name="T46" fmla="*/ 322 w 859"/>
              <a:gd name="T47" fmla="*/ 537 h 752"/>
              <a:gd name="T48" fmla="*/ 322 w 859"/>
              <a:gd name="T49" fmla="*/ 466 h 752"/>
              <a:gd name="T50" fmla="*/ 537 w 859"/>
              <a:gd name="T51" fmla="*/ 466 h 752"/>
              <a:gd name="T52" fmla="*/ 537 w 859"/>
              <a:gd name="T53" fmla="*/ 537 h 752"/>
              <a:gd name="T54" fmla="*/ 608 w 859"/>
              <a:gd name="T55" fmla="*/ 537 h 752"/>
              <a:gd name="T56" fmla="*/ 608 w 859"/>
              <a:gd name="T57" fmla="*/ 466 h 752"/>
              <a:gd name="T58" fmla="*/ 788 w 859"/>
              <a:gd name="T59" fmla="*/ 466 h 752"/>
              <a:gd name="T60" fmla="*/ 859 w 859"/>
              <a:gd name="T61" fmla="*/ 376 h 752"/>
              <a:gd name="T62" fmla="*/ 859 w 859"/>
              <a:gd name="T63" fmla="*/ 143 h 752"/>
              <a:gd name="T64" fmla="*/ 0 w 859"/>
              <a:gd name="T65" fmla="*/ 143 h 752"/>
              <a:gd name="T66" fmla="*/ 716 w 859"/>
              <a:gd name="T67" fmla="*/ 681 h 752"/>
              <a:gd name="T68" fmla="*/ 143 w 859"/>
              <a:gd name="T69" fmla="*/ 681 h 752"/>
              <a:gd name="T70" fmla="*/ 143 w 859"/>
              <a:gd name="T71" fmla="*/ 502 h 752"/>
              <a:gd name="T72" fmla="*/ 71 w 859"/>
              <a:gd name="T73" fmla="*/ 502 h 752"/>
              <a:gd name="T74" fmla="*/ 71 w 859"/>
              <a:gd name="T75" fmla="*/ 668 h 752"/>
              <a:gd name="T76" fmla="*/ 143 w 859"/>
              <a:gd name="T77" fmla="*/ 752 h 752"/>
              <a:gd name="T78" fmla="*/ 716 w 859"/>
              <a:gd name="T79" fmla="*/ 752 h 752"/>
              <a:gd name="T80" fmla="*/ 787 w 859"/>
              <a:gd name="T81" fmla="*/ 668 h 752"/>
              <a:gd name="T82" fmla="*/ 787 w 859"/>
              <a:gd name="T83" fmla="*/ 502 h 752"/>
              <a:gd name="T84" fmla="*/ 716 w 859"/>
              <a:gd name="T85" fmla="*/ 502 h 752"/>
              <a:gd name="T86" fmla="*/ 716 w 859"/>
              <a:gd name="T87" fmla="*/ 68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859" h="752">
                <a:moveTo>
                  <a:pt x="608" y="0"/>
                </a:moveTo>
                <a:lnTo>
                  <a:pt x="250" y="0"/>
                </a:lnTo>
                <a:lnTo>
                  <a:pt x="250" y="72"/>
                </a:lnTo>
                <a:lnTo>
                  <a:pt x="608" y="72"/>
                </a:lnTo>
                <a:lnTo>
                  <a:pt x="608" y="0"/>
                </a:lnTo>
                <a:close/>
                <a:moveTo>
                  <a:pt x="608" y="394"/>
                </a:moveTo>
                <a:lnTo>
                  <a:pt x="608" y="322"/>
                </a:lnTo>
                <a:lnTo>
                  <a:pt x="537" y="322"/>
                </a:lnTo>
                <a:lnTo>
                  <a:pt x="537" y="394"/>
                </a:lnTo>
                <a:lnTo>
                  <a:pt x="322" y="394"/>
                </a:lnTo>
                <a:lnTo>
                  <a:pt x="322" y="322"/>
                </a:lnTo>
                <a:lnTo>
                  <a:pt x="250" y="322"/>
                </a:lnTo>
                <a:lnTo>
                  <a:pt x="250" y="394"/>
                </a:lnTo>
                <a:lnTo>
                  <a:pt x="71" y="394"/>
                </a:lnTo>
                <a:lnTo>
                  <a:pt x="71" y="215"/>
                </a:lnTo>
                <a:lnTo>
                  <a:pt x="787" y="215"/>
                </a:lnTo>
                <a:lnTo>
                  <a:pt x="787" y="394"/>
                </a:lnTo>
                <a:lnTo>
                  <a:pt x="608" y="394"/>
                </a:lnTo>
                <a:close/>
                <a:moveTo>
                  <a:pt x="0" y="143"/>
                </a:moveTo>
                <a:lnTo>
                  <a:pt x="0" y="376"/>
                </a:lnTo>
                <a:cubicBezTo>
                  <a:pt x="0" y="416"/>
                  <a:pt x="32" y="466"/>
                  <a:pt x="71" y="466"/>
                </a:cubicBezTo>
                <a:lnTo>
                  <a:pt x="250" y="466"/>
                </a:lnTo>
                <a:lnTo>
                  <a:pt x="250" y="537"/>
                </a:lnTo>
                <a:lnTo>
                  <a:pt x="322" y="537"/>
                </a:lnTo>
                <a:lnTo>
                  <a:pt x="322" y="466"/>
                </a:lnTo>
                <a:lnTo>
                  <a:pt x="537" y="466"/>
                </a:lnTo>
                <a:lnTo>
                  <a:pt x="537" y="537"/>
                </a:lnTo>
                <a:lnTo>
                  <a:pt x="608" y="537"/>
                </a:lnTo>
                <a:lnTo>
                  <a:pt x="608" y="466"/>
                </a:lnTo>
                <a:lnTo>
                  <a:pt x="788" y="466"/>
                </a:lnTo>
                <a:cubicBezTo>
                  <a:pt x="827" y="466"/>
                  <a:pt x="859" y="416"/>
                  <a:pt x="859" y="376"/>
                </a:cubicBezTo>
                <a:lnTo>
                  <a:pt x="859" y="143"/>
                </a:lnTo>
                <a:lnTo>
                  <a:pt x="0" y="143"/>
                </a:lnTo>
                <a:close/>
                <a:moveTo>
                  <a:pt x="716" y="681"/>
                </a:moveTo>
                <a:lnTo>
                  <a:pt x="143" y="681"/>
                </a:lnTo>
                <a:lnTo>
                  <a:pt x="143" y="502"/>
                </a:lnTo>
                <a:lnTo>
                  <a:pt x="71" y="502"/>
                </a:lnTo>
                <a:lnTo>
                  <a:pt x="71" y="668"/>
                </a:lnTo>
                <a:cubicBezTo>
                  <a:pt x="71" y="704"/>
                  <a:pt x="104" y="752"/>
                  <a:pt x="143" y="752"/>
                </a:cubicBezTo>
                <a:lnTo>
                  <a:pt x="716" y="752"/>
                </a:lnTo>
                <a:cubicBezTo>
                  <a:pt x="755" y="752"/>
                  <a:pt x="787" y="704"/>
                  <a:pt x="787" y="668"/>
                </a:cubicBezTo>
                <a:lnTo>
                  <a:pt x="787" y="502"/>
                </a:lnTo>
                <a:lnTo>
                  <a:pt x="716" y="502"/>
                </a:lnTo>
                <a:lnTo>
                  <a:pt x="716" y="68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4" name="Прямоугольник 23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0" y="6516869"/>
            <a:ext cx="12192000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ГК «Просвещение», 2021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948970" y="108504"/>
            <a:ext cx="436940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ЕГЭ 2021 физика (Анализ 2020) </a:t>
            </a:r>
            <a:endParaRPr kumimoji="0" lang="ru-RU" sz="24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4133670" y="560153"/>
            <a:ext cx="403681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Задания, которые получаются хорошо</a:t>
            </a:r>
          </a:p>
        </p:txBody>
      </p:sp>
      <p:graphicFrame>
        <p:nvGraphicFramePr>
          <p:cNvPr id="12" name="Содержимое 7"/>
          <p:cNvGraphicFramePr>
            <a:graphicFrameLocks/>
          </p:cNvGraphicFramePr>
          <p:nvPr>
            <p:extLst/>
          </p:nvPr>
        </p:nvGraphicFramePr>
        <p:xfrm>
          <a:off x="640833" y="1168262"/>
          <a:ext cx="10835148" cy="4626492"/>
        </p:xfrm>
        <a:graphic>
          <a:graphicData uri="http://schemas.openxmlformats.org/drawingml/2006/table">
            <a:tbl>
              <a:tblPr firstRow="1" bandRow="1">
                <a:tableStyleId>{B301B821-A1FF-4177-AEE7-76D212191A09}</a:tableStyleId>
              </a:tblPr>
              <a:tblGrid>
                <a:gridCol w="80999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906777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95737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85541">
                <a:tc>
                  <a:txBody>
                    <a:bodyPr/>
                    <a:lstStyle/>
                    <a:p>
                      <a:pPr algn="ctr"/>
                      <a:r>
                        <a:rPr lang="ru-RU" sz="1800" dirty="0" smtClean="0"/>
                        <a:t>№</a:t>
                      </a:r>
                      <a:endParaRPr lang="ru-RU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dirty="0" smtClean="0"/>
                        <a:t>Тема</a:t>
                      </a:r>
                      <a:endParaRPr lang="ru-RU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dirty="0" smtClean="0"/>
                        <a:t>%</a:t>
                      </a:r>
                      <a:endParaRPr lang="ru-RU" sz="1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85541">
                <a:tc>
                  <a:txBody>
                    <a:bodyPr/>
                    <a:lstStyle/>
                    <a:p>
                      <a:pPr algn="ctr"/>
                      <a:r>
                        <a:rPr lang="ru-RU" sz="1800" dirty="0" smtClean="0"/>
                        <a:t>1</a:t>
                      </a:r>
                      <a:endParaRPr lang="ru-RU" sz="1800" dirty="0">
                        <a:solidFill>
                          <a:schemeClr val="accent6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800" kern="1200" baseline="0" dirty="0" smtClean="0"/>
                        <a:t>Механическое движение</a:t>
                      </a:r>
                      <a:endParaRPr lang="ru-RU" sz="1800" kern="1200" baseline="0" dirty="0" smtClean="0">
                        <a:solidFill>
                          <a:schemeClr val="accent6">
                            <a:lumMod val="1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dirty="0" smtClean="0">
                          <a:solidFill>
                            <a:schemeClr val="accent6">
                              <a:lumMod val="10000"/>
                            </a:schemeClr>
                          </a:solidFill>
                        </a:rPr>
                        <a:t>74</a:t>
                      </a:r>
                      <a:endParaRPr lang="ru-RU" sz="1800" dirty="0">
                        <a:solidFill>
                          <a:schemeClr val="accent6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85541">
                <a:tc>
                  <a:txBody>
                    <a:bodyPr/>
                    <a:lstStyle/>
                    <a:p>
                      <a:pPr algn="ctr"/>
                      <a:r>
                        <a:rPr lang="ru-RU" sz="1800" dirty="0" smtClean="0"/>
                        <a:t>2</a:t>
                      </a:r>
                      <a:endParaRPr lang="ru-RU" sz="1800" dirty="0">
                        <a:solidFill>
                          <a:schemeClr val="accent6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800" kern="1200" baseline="0" dirty="0" smtClean="0"/>
                        <a:t>Законы Ньютона, силы в механике	</a:t>
                      </a:r>
                      <a:endParaRPr lang="ru-RU" sz="1800" kern="1200" baseline="0" dirty="0" smtClean="0">
                        <a:solidFill>
                          <a:schemeClr val="accent6">
                            <a:lumMod val="1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dirty="0" smtClean="0">
                          <a:solidFill>
                            <a:schemeClr val="accent6">
                              <a:lumMod val="10000"/>
                            </a:schemeClr>
                          </a:solidFill>
                        </a:rPr>
                        <a:t>75</a:t>
                      </a:r>
                      <a:endParaRPr lang="ru-RU" sz="1800" dirty="0">
                        <a:solidFill>
                          <a:schemeClr val="accent6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85541">
                <a:tc>
                  <a:txBody>
                    <a:bodyPr/>
                    <a:lstStyle/>
                    <a:p>
                      <a:pPr algn="ctr"/>
                      <a:r>
                        <a:rPr lang="ru-RU" sz="1800" dirty="0" smtClean="0"/>
                        <a:t>3</a:t>
                      </a:r>
                      <a:endParaRPr lang="ru-RU" sz="1800" dirty="0">
                        <a:solidFill>
                          <a:schemeClr val="accent6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800" kern="1200" baseline="0" dirty="0" smtClean="0"/>
                        <a:t>Закон сохранения</a:t>
                      </a:r>
                      <a:endParaRPr lang="ru-RU" sz="1800" dirty="0">
                        <a:solidFill>
                          <a:schemeClr val="accent6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dirty="0" smtClean="0">
                          <a:solidFill>
                            <a:schemeClr val="accent6">
                              <a:lumMod val="10000"/>
                            </a:schemeClr>
                          </a:solidFill>
                        </a:rPr>
                        <a:t>76</a:t>
                      </a:r>
                      <a:endParaRPr lang="ru-RU" sz="1800" dirty="0">
                        <a:solidFill>
                          <a:schemeClr val="accent6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85541">
                <a:tc>
                  <a:txBody>
                    <a:bodyPr/>
                    <a:lstStyle/>
                    <a:p>
                      <a:pPr algn="ctr"/>
                      <a:r>
                        <a:rPr lang="ru-RU" sz="1800" dirty="0" smtClean="0"/>
                        <a:t>5</a:t>
                      </a:r>
                      <a:endParaRPr lang="ru-RU" sz="1800" dirty="0">
                        <a:solidFill>
                          <a:schemeClr val="accent6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800" kern="1200" baseline="0" dirty="0" smtClean="0"/>
                        <a:t>Механика (объяснение явлений) </a:t>
                      </a:r>
                      <a:endParaRPr lang="ru-RU" sz="1800" dirty="0">
                        <a:solidFill>
                          <a:schemeClr val="accent6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dirty="0" smtClean="0">
                          <a:solidFill>
                            <a:schemeClr val="accent6">
                              <a:lumMod val="10000"/>
                            </a:schemeClr>
                          </a:solidFill>
                        </a:rPr>
                        <a:t>68</a:t>
                      </a:r>
                      <a:endParaRPr lang="ru-RU" sz="1800" dirty="0">
                        <a:solidFill>
                          <a:schemeClr val="accent6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85541">
                <a:tc>
                  <a:txBody>
                    <a:bodyPr/>
                    <a:lstStyle/>
                    <a:p>
                      <a:pPr algn="ctr"/>
                      <a:r>
                        <a:rPr lang="ru-RU" sz="1800" dirty="0" smtClean="0"/>
                        <a:t>9</a:t>
                      </a:r>
                      <a:endParaRPr lang="ru-RU" sz="1800" dirty="0">
                        <a:solidFill>
                          <a:schemeClr val="accent6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800" dirty="0" smtClean="0"/>
                        <a:t>Работа в термодинамике, КПД</a:t>
                      </a:r>
                      <a:endParaRPr lang="ru-RU" sz="1800" dirty="0">
                        <a:solidFill>
                          <a:schemeClr val="accent6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dirty="0" smtClean="0">
                          <a:solidFill>
                            <a:schemeClr val="accent6">
                              <a:lumMod val="10000"/>
                            </a:schemeClr>
                          </a:solidFill>
                        </a:rPr>
                        <a:t>70</a:t>
                      </a:r>
                      <a:endParaRPr lang="ru-RU" sz="1800" dirty="0">
                        <a:solidFill>
                          <a:schemeClr val="accent6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85541">
                <a:tc>
                  <a:txBody>
                    <a:bodyPr/>
                    <a:lstStyle/>
                    <a:p>
                      <a:pPr algn="ctr"/>
                      <a:r>
                        <a:rPr lang="ru-RU" sz="1800" dirty="0" smtClean="0">
                          <a:solidFill>
                            <a:schemeClr val="accent6">
                              <a:lumMod val="10000"/>
                            </a:schemeClr>
                          </a:solidFill>
                        </a:rPr>
                        <a:t>10</a:t>
                      </a:r>
                      <a:endParaRPr lang="ru-RU" sz="1800" dirty="0">
                        <a:solidFill>
                          <a:schemeClr val="accent6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800" dirty="0" smtClean="0">
                          <a:solidFill>
                            <a:schemeClr val="accent6">
                              <a:lumMod val="10000"/>
                            </a:schemeClr>
                          </a:solidFill>
                        </a:rPr>
                        <a:t>Относительная влажность, количество теплоты</a:t>
                      </a:r>
                      <a:endParaRPr lang="ru-RU" sz="1800" dirty="0">
                        <a:solidFill>
                          <a:schemeClr val="accent6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dirty="0" smtClean="0">
                          <a:solidFill>
                            <a:schemeClr val="accent6">
                              <a:lumMod val="10000"/>
                            </a:schemeClr>
                          </a:solidFill>
                        </a:rPr>
                        <a:t>69</a:t>
                      </a:r>
                      <a:endParaRPr lang="ru-RU" sz="1800" dirty="0">
                        <a:solidFill>
                          <a:schemeClr val="accent6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85541">
                <a:tc>
                  <a:txBody>
                    <a:bodyPr/>
                    <a:lstStyle/>
                    <a:p>
                      <a:pPr algn="ctr"/>
                      <a:r>
                        <a:rPr lang="ru-RU" sz="1800" dirty="0" smtClean="0">
                          <a:solidFill>
                            <a:schemeClr val="accent6">
                              <a:lumMod val="10000"/>
                            </a:schemeClr>
                          </a:solidFill>
                        </a:rPr>
                        <a:t>11</a:t>
                      </a:r>
                      <a:endParaRPr lang="ru-RU" sz="1800" dirty="0">
                        <a:solidFill>
                          <a:schemeClr val="accent6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800" dirty="0" smtClean="0">
                          <a:solidFill>
                            <a:schemeClr val="accent6">
                              <a:lumMod val="10000"/>
                            </a:schemeClr>
                          </a:solidFill>
                        </a:rPr>
                        <a:t>МКТ и термодинамика</a:t>
                      </a:r>
                      <a:r>
                        <a:rPr lang="ru-RU" sz="1800" baseline="0" dirty="0" smtClean="0">
                          <a:solidFill>
                            <a:schemeClr val="accent6">
                              <a:lumMod val="10000"/>
                            </a:schemeClr>
                          </a:solidFill>
                        </a:rPr>
                        <a:t> (объяснение явлений)</a:t>
                      </a:r>
                      <a:endParaRPr lang="ru-RU" sz="1800" dirty="0">
                        <a:solidFill>
                          <a:schemeClr val="accent6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dirty="0" smtClean="0">
                          <a:solidFill>
                            <a:schemeClr val="accent6">
                              <a:lumMod val="10000"/>
                            </a:schemeClr>
                          </a:solidFill>
                        </a:rPr>
                        <a:t>68</a:t>
                      </a:r>
                      <a:endParaRPr lang="ru-RU" sz="1800" dirty="0">
                        <a:solidFill>
                          <a:schemeClr val="accent6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85541">
                <a:tc>
                  <a:txBody>
                    <a:bodyPr/>
                    <a:lstStyle/>
                    <a:p>
                      <a:pPr algn="ctr"/>
                      <a:r>
                        <a:rPr lang="ru-RU" sz="1800" dirty="0" smtClean="0">
                          <a:solidFill>
                            <a:schemeClr val="accent6">
                              <a:lumMod val="10000"/>
                            </a:schemeClr>
                          </a:solidFill>
                        </a:rPr>
                        <a:t>19</a:t>
                      </a:r>
                      <a:endParaRPr lang="ru-RU" sz="1800" dirty="0">
                        <a:solidFill>
                          <a:schemeClr val="accent6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800" dirty="0" smtClean="0">
                          <a:solidFill>
                            <a:schemeClr val="accent6">
                              <a:lumMod val="10000"/>
                            </a:schemeClr>
                          </a:solidFill>
                        </a:rPr>
                        <a:t>Модель атома и модель ядра</a:t>
                      </a:r>
                      <a:endParaRPr lang="ru-RU" sz="1800" dirty="0">
                        <a:solidFill>
                          <a:schemeClr val="accent6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dirty="0" smtClean="0">
                          <a:solidFill>
                            <a:schemeClr val="accent6">
                              <a:lumMod val="10000"/>
                            </a:schemeClr>
                          </a:solidFill>
                        </a:rPr>
                        <a:t>78</a:t>
                      </a:r>
                      <a:endParaRPr lang="ru-RU" sz="1800" dirty="0">
                        <a:solidFill>
                          <a:schemeClr val="accent6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85541">
                <a:tc>
                  <a:txBody>
                    <a:bodyPr/>
                    <a:lstStyle/>
                    <a:p>
                      <a:pPr algn="ctr"/>
                      <a:r>
                        <a:rPr lang="ru-RU" sz="1800" dirty="0" smtClean="0"/>
                        <a:t>20</a:t>
                      </a:r>
                      <a:endParaRPr lang="ru-RU" sz="1800" dirty="0">
                        <a:solidFill>
                          <a:schemeClr val="accent6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800" dirty="0" smtClean="0"/>
                        <a:t>Фотоны,</a:t>
                      </a:r>
                      <a:r>
                        <a:rPr lang="ru-RU" sz="1800" baseline="0" dirty="0" smtClean="0"/>
                        <a:t> линейчатые спектры, закон радиоактивного распада</a:t>
                      </a:r>
                      <a:endParaRPr lang="ru-RU" sz="1800" dirty="0">
                        <a:solidFill>
                          <a:schemeClr val="accent6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dirty="0" smtClean="0">
                          <a:solidFill>
                            <a:schemeClr val="accent6">
                              <a:lumMod val="10000"/>
                            </a:schemeClr>
                          </a:solidFill>
                        </a:rPr>
                        <a:t>69</a:t>
                      </a:r>
                      <a:endParaRPr lang="ru-RU" sz="1800" dirty="0">
                        <a:solidFill>
                          <a:schemeClr val="accent6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385541">
                <a:tc>
                  <a:txBody>
                    <a:bodyPr/>
                    <a:lstStyle/>
                    <a:p>
                      <a:pPr algn="ctr"/>
                      <a:r>
                        <a:rPr lang="ru-RU" sz="1800" dirty="0" smtClean="0"/>
                        <a:t>22</a:t>
                      </a:r>
                      <a:endParaRPr lang="ru-RU" sz="1800" dirty="0">
                        <a:solidFill>
                          <a:schemeClr val="accent6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800" kern="1200" baseline="0" dirty="0" smtClean="0"/>
                        <a:t>Механика – квантовая физика (методы научного познания)</a:t>
                      </a:r>
                      <a:endParaRPr lang="ru-RU" sz="1800" kern="1200" baseline="0" dirty="0" smtClean="0">
                        <a:solidFill>
                          <a:schemeClr val="accent6">
                            <a:lumMod val="1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dirty="0" smtClean="0">
                          <a:solidFill>
                            <a:schemeClr val="accent6">
                              <a:lumMod val="10000"/>
                            </a:schemeClr>
                          </a:solidFill>
                        </a:rPr>
                        <a:t>70</a:t>
                      </a:r>
                      <a:endParaRPr lang="ru-RU" sz="1800" dirty="0">
                        <a:solidFill>
                          <a:schemeClr val="accent6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385541">
                <a:tc>
                  <a:txBody>
                    <a:bodyPr/>
                    <a:lstStyle/>
                    <a:p>
                      <a:pPr algn="ctr"/>
                      <a:r>
                        <a:rPr lang="ru-RU" sz="1800" dirty="0" smtClean="0"/>
                        <a:t>23</a:t>
                      </a:r>
                      <a:endParaRPr lang="ru-RU" sz="1800" dirty="0">
                        <a:solidFill>
                          <a:schemeClr val="accent6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kern="1200" baseline="0" dirty="0" smtClean="0"/>
                        <a:t>Механика – квантовая физика (методы научного познания)</a:t>
                      </a:r>
                      <a:endParaRPr lang="ru-RU" sz="1800" kern="1200" baseline="0" dirty="0" smtClean="0">
                        <a:solidFill>
                          <a:schemeClr val="accent6">
                            <a:lumMod val="10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dirty="0" smtClean="0">
                          <a:solidFill>
                            <a:schemeClr val="accent6">
                              <a:lumMod val="10000"/>
                            </a:schemeClr>
                          </a:solidFill>
                        </a:rPr>
                        <a:t>73</a:t>
                      </a:r>
                      <a:endParaRPr lang="ru-RU" sz="1800" dirty="0">
                        <a:solidFill>
                          <a:schemeClr val="accent6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228648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48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cxnSp>
        <p:nvCxnSpPr>
          <p:cNvPr id="68" name="Прямая соединительная линия 67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Freeform 8"/>
          <p:cNvSpPr>
            <a:spLocks/>
          </p:cNvSpPr>
          <p:nvPr/>
        </p:nvSpPr>
        <p:spPr bwMode="auto">
          <a:xfrm>
            <a:off x="7596965" y="3958541"/>
            <a:ext cx="391642" cy="348126"/>
          </a:xfrm>
          <a:custGeom>
            <a:avLst/>
            <a:gdLst>
              <a:gd name="T0" fmla="*/ 860 w 860"/>
              <a:gd name="T1" fmla="*/ 251 h 752"/>
              <a:gd name="T2" fmla="*/ 430 w 860"/>
              <a:gd name="T3" fmla="*/ 0 h 752"/>
              <a:gd name="T4" fmla="*/ 0 w 860"/>
              <a:gd name="T5" fmla="*/ 251 h 752"/>
              <a:gd name="T6" fmla="*/ 144 w 860"/>
              <a:gd name="T7" fmla="*/ 335 h 752"/>
              <a:gd name="T8" fmla="*/ 144 w 860"/>
              <a:gd name="T9" fmla="*/ 476 h 752"/>
              <a:gd name="T10" fmla="*/ 149 w 860"/>
              <a:gd name="T11" fmla="*/ 484 h 752"/>
              <a:gd name="T12" fmla="*/ 430 w 860"/>
              <a:gd name="T13" fmla="*/ 645 h 752"/>
              <a:gd name="T14" fmla="*/ 573 w 860"/>
              <a:gd name="T15" fmla="*/ 611 h 752"/>
              <a:gd name="T16" fmla="*/ 573 w 860"/>
              <a:gd name="T17" fmla="*/ 528 h 752"/>
              <a:gd name="T18" fmla="*/ 430 w 860"/>
              <a:gd name="T19" fmla="*/ 573 h 752"/>
              <a:gd name="T20" fmla="*/ 215 w 860"/>
              <a:gd name="T21" fmla="*/ 456 h 752"/>
              <a:gd name="T22" fmla="*/ 215 w 860"/>
              <a:gd name="T23" fmla="*/ 376 h 752"/>
              <a:gd name="T24" fmla="*/ 430 w 860"/>
              <a:gd name="T25" fmla="*/ 502 h 752"/>
              <a:gd name="T26" fmla="*/ 553 w 860"/>
              <a:gd name="T27" fmla="*/ 430 h 752"/>
              <a:gd name="T28" fmla="*/ 483 w 860"/>
              <a:gd name="T29" fmla="*/ 388 h 752"/>
              <a:gd name="T30" fmla="*/ 430 w 860"/>
              <a:gd name="T31" fmla="*/ 419 h 752"/>
              <a:gd name="T32" fmla="*/ 143 w 860"/>
              <a:gd name="T33" fmla="*/ 251 h 752"/>
              <a:gd name="T34" fmla="*/ 430 w 860"/>
              <a:gd name="T35" fmla="*/ 83 h 752"/>
              <a:gd name="T36" fmla="*/ 718 w 860"/>
              <a:gd name="T37" fmla="*/ 251 h 752"/>
              <a:gd name="T38" fmla="*/ 624 w 860"/>
              <a:gd name="T39" fmla="*/ 306 h 752"/>
              <a:gd name="T40" fmla="*/ 454 w 860"/>
              <a:gd name="T41" fmla="*/ 205 h 752"/>
              <a:gd name="T42" fmla="*/ 391 w 860"/>
              <a:gd name="T43" fmla="*/ 247 h 752"/>
              <a:gd name="T44" fmla="*/ 390 w 860"/>
              <a:gd name="T45" fmla="*/ 250 h 752"/>
              <a:gd name="T46" fmla="*/ 645 w 860"/>
              <a:gd name="T47" fmla="*/ 401 h 752"/>
              <a:gd name="T48" fmla="*/ 645 w 860"/>
              <a:gd name="T49" fmla="*/ 752 h 752"/>
              <a:gd name="T50" fmla="*/ 717 w 860"/>
              <a:gd name="T51" fmla="*/ 752 h 752"/>
              <a:gd name="T52" fmla="*/ 717 w 860"/>
              <a:gd name="T53" fmla="*/ 361 h 752"/>
              <a:gd name="T54" fmla="*/ 694 w 860"/>
              <a:gd name="T55" fmla="*/ 347 h 752"/>
              <a:gd name="T56" fmla="*/ 860 w 860"/>
              <a:gd name="T57" fmla="*/ 25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860" h="752">
                <a:moveTo>
                  <a:pt x="860" y="251"/>
                </a:moveTo>
                <a:lnTo>
                  <a:pt x="430" y="0"/>
                </a:lnTo>
                <a:lnTo>
                  <a:pt x="0" y="251"/>
                </a:lnTo>
                <a:lnTo>
                  <a:pt x="144" y="335"/>
                </a:lnTo>
                <a:lnTo>
                  <a:pt x="144" y="476"/>
                </a:lnTo>
                <a:lnTo>
                  <a:pt x="149" y="484"/>
                </a:lnTo>
                <a:cubicBezTo>
                  <a:pt x="207" y="583"/>
                  <a:pt x="315" y="645"/>
                  <a:pt x="430" y="645"/>
                </a:cubicBezTo>
                <a:cubicBezTo>
                  <a:pt x="481" y="645"/>
                  <a:pt x="529" y="632"/>
                  <a:pt x="573" y="611"/>
                </a:cubicBezTo>
                <a:lnTo>
                  <a:pt x="573" y="528"/>
                </a:lnTo>
                <a:cubicBezTo>
                  <a:pt x="532" y="557"/>
                  <a:pt x="482" y="573"/>
                  <a:pt x="430" y="573"/>
                </a:cubicBezTo>
                <a:cubicBezTo>
                  <a:pt x="343" y="573"/>
                  <a:pt x="262" y="528"/>
                  <a:pt x="215" y="456"/>
                </a:cubicBezTo>
                <a:lnTo>
                  <a:pt x="215" y="376"/>
                </a:lnTo>
                <a:lnTo>
                  <a:pt x="430" y="502"/>
                </a:lnTo>
                <a:lnTo>
                  <a:pt x="553" y="430"/>
                </a:lnTo>
                <a:lnTo>
                  <a:pt x="483" y="388"/>
                </a:lnTo>
                <a:lnTo>
                  <a:pt x="430" y="419"/>
                </a:lnTo>
                <a:lnTo>
                  <a:pt x="143" y="251"/>
                </a:lnTo>
                <a:lnTo>
                  <a:pt x="430" y="83"/>
                </a:lnTo>
                <a:lnTo>
                  <a:pt x="718" y="251"/>
                </a:lnTo>
                <a:lnTo>
                  <a:pt x="624" y="306"/>
                </a:lnTo>
                <a:lnTo>
                  <a:pt x="454" y="205"/>
                </a:lnTo>
                <a:lnTo>
                  <a:pt x="391" y="247"/>
                </a:lnTo>
                <a:lnTo>
                  <a:pt x="390" y="250"/>
                </a:lnTo>
                <a:lnTo>
                  <a:pt x="645" y="401"/>
                </a:lnTo>
                <a:lnTo>
                  <a:pt x="645" y="752"/>
                </a:lnTo>
                <a:lnTo>
                  <a:pt x="717" y="752"/>
                </a:lnTo>
                <a:lnTo>
                  <a:pt x="717" y="361"/>
                </a:lnTo>
                <a:lnTo>
                  <a:pt x="694" y="347"/>
                </a:lnTo>
                <a:lnTo>
                  <a:pt x="860" y="25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7" name="Freeform 10"/>
          <p:cNvSpPr>
            <a:spLocks noEditPoints="1"/>
          </p:cNvSpPr>
          <p:nvPr/>
        </p:nvSpPr>
        <p:spPr bwMode="auto">
          <a:xfrm>
            <a:off x="7614768" y="2782742"/>
            <a:ext cx="391642" cy="346149"/>
          </a:xfrm>
          <a:custGeom>
            <a:avLst/>
            <a:gdLst>
              <a:gd name="T0" fmla="*/ 608 w 859"/>
              <a:gd name="T1" fmla="*/ 0 h 752"/>
              <a:gd name="T2" fmla="*/ 250 w 859"/>
              <a:gd name="T3" fmla="*/ 0 h 752"/>
              <a:gd name="T4" fmla="*/ 250 w 859"/>
              <a:gd name="T5" fmla="*/ 72 h 752"/>
              <a:gd name="T6" fmla="*/ 608 w 859"/>
              <a:gd name="T7" fmla="*/ 72 h 752"/>
              <a:gd name="T8" fmla="*/ 608 w 859"/>
              <a:gd name="T9" fmla="*/ 0 h 752"/>
              <a:gd name="T10" fmla="*/ 608 w 859"/>
              <a:gd name="T11" fmla="*/ 394 h 752"/>
              <a:gd name="T12" fmla="*/ 608 w 859"/>
              <a:gd name="T13" fmla="*/ 322 h 752"/>
              <a:gd name="T14" fmla="*/ 537 w 859"/>
              <a:gd name="T15" fmla="*/ 322 h 752"/>
              <a:gd name="T16" fmla="*/ 537 w 859"/>
              <a:gd name="T17" fmla="*/ 394 h 752"/>
              <a:gd name="T18" fmla="*/ 322 w 859"/>
              <a:gd name="T19" fmla="*/ 394 h 752"/>
              <a:gd name="T20" fmla="*/ 322 w 859"/>
              <a:gd name="T21" fmla="*/ 322 h 752"/>
              <a:gd name="T22" fmla="*/ 250 w 859"/>
              <a:gd name="T23" fmla="*/ 322 h 752"/>
              <a:gd name="T24" fmla="*/ 250 w 859"/>
              <a:gd name="T25" fmla="*/ 394 h 752"/>
              <a:gd name="T26" fmla="*/ 71 w 859"/>
              <a:gd name="T27" fmla="*/ 394 h 752"/>
              <a:gd name="T28" fmla="*/ 71 w 859"/>
              <a:gd name="T29" fmla="*/ 215 h 752"/>
              <a:gd name="T30" fmla="*/ 787 w 859"/>
              <a:gd name="T31" fmla="*/ 215 h 752"/>
              <a:gd name="T32" fmla="*/ 787 w 859"/>
              <a:gd name="T33" fmla="*/ 394 h 752"/>
              <a:gd name="T34" fmla="*/ 608 w 859"/>
              <a:gd name="T35" fmla="*/ 394 h 752"/>
              <a:gd name="T36" fmla="*/ 0 w 859"/>
              <a:gd name="T37" fmla="*/ 143 h 752"/>
              <a:gd name="T38" fmla="*/ 0 w 859"/>
              <a:gd name="T39" fmla="*/ 376 h 752"/>
              <a:gd name="T40" fmla="*/ 71 w 859"/>
              <a:gd name="T41" fmla="*/ 466 h 752"/>
              <a:gd name="T42" fmla="*/ 250 w 859"/>
              <a:gd name="T43" fmla="*/ 466 h 752"/>
              <a:gd name="T44" fmla="*/ 250 w 859"/>
              <a:gd name="T45" fmla="*/ 537 h 752"/>
              <a:gd name="T46" fmla="*/ 322 w 859"/>
              <a:gd name="T47" fmla="*/ 537 h 752"/>
              <a:gd name="T48" fmla="*/ 322 w 859"/>
              <a:gd name="T49" fmla="*/ 466 h 752"/>
              <a:gd name="T50" fmla="*/ 537 w 859"/>
              <a:gd name="T51" fmla="*/ 466 h 752"/>
              <a:gd name="T52" fmla="*/ 537 w 859"/>
              <a:gd name="T53" fmla="*/ 537 h 752"/>
              <a:gd name="T54" fmla="*/ 608 w 859"/>
              <a:gd name="T55" fmla="*/ 537 h 752"/>
              <a:gd name="T56" fmla="*/ 608 w 859"/>
              <a:gd name="T57" fmla="*/ 466 h 752"/>
              <a:gd name="T58" fmla="*/ 788 w 859"/>
              <a:gd name="T59" fmla="*/ 466 h 752"/>
              <a:gd name="T60" fmla="*/ 859 w 859"/>
              <a:gd name="T61" fmla="*/ 376 h 752"/>
              <a:gd name="T62" fmla="*/ 859 w 859"/>
              <a:gd name="T63" fmla="*/ 143 h 752"/>
              <a:gd name="T64" fmla="*/ 0 w 859"/>
              <a:gd name="T65" fmla="*/ 143 h 752"/>
              <a:gd name="T66" fmla="*/ 716 w 859"/>
              <a:gd name="T67" fmla="*/ 681 h 752"/>
              <a:gd name="T68" fmla="*/ 143 w 859"/>
              <a:gd name="T69" fmla="*/ 681 h 752"/>
              <a:gd name="T70" fmla="*/ 143 w 859"/>
              <a:gd name="T71" fmla="*/ 502 h 752"/>
              <a:gd name="T72" fmla="*/ 71 w 859"/>
              <a:gd name="T73" fmla="*/ 502 h 752"/>
              <a:gd name="T74" fmla="*/ 71 w 859"/>
              <a:gd name="T75" fmla="*/ 668 h 752"/>
              <a:gd name="T76" fmla="*/ 143 w 859"/>
              <a:gd name="T77" fmla="*/ 752 h 752"/>
              <a:gd name="T78" fmla="*/ 716 w 859"/>
              <a:gd name="T79" fmla="*/ 752 h 752"/>
              <a:gd name="T80" fmla="*/ 787 w 859"/>
              <a:gd name="T81" fmla="*/ 668 h 752"/>
              <a:gd name="T82" fmla="*/ 787 w 859"/>
              <a:gd name="T83" fmla="*/ 502 h 752"/>
              <a:gd name="T84" fmla="*/ 716 w 859"/>
              <a:gd name="T85" fmla="*/ 502 h 752"/>
              <a:gd name="T86" fmla="*/ 716 w 859"/>
              <a:gd name="T87" fmla="*/ 68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859" h="752">
                <a:moveTo>
                  <a:pt x="608" y="0"/>
                </a:moveTo>
                <a:lnTo>
                  <a:pt x="250" y="0"/>
                </a:lnTo>
                <a:lnTo>
                  <a:pt x="250" y="72"/>
                </a:lnTo>
                <a:lnTo>
                  <a:pt x="608" y="72"/>
                </a:lnTo>
                <a:lnTo>
                  <a:pt x="608" y="0"/>
                </a:lnTo>
                <a:close/>
                <a:moveTo>
                  <a:pt x="608" y="394"/>
                </a:moveTo>
                <a:lnTo>
                  <a:pt x="608" y="322"/>
                </a:lnTo>
                <a:lnTo>
                  <a:pt x="537" y="322"/>
                </a:lnTo>
                <a:lnTo>
                  <a:pt x="537" y="394"/>
                </a:lnTo>
                <a:lnTo>
                  <a:pt x="322" y="394"/>
                </a:lnTo>
                <a:lnTo>
                  <a:pt x="322" y="322"/>
                </a:lnTo>
                <a:lnTo>
                  <a:pt x="250" y="322"/>
                </a:lnTo>
                <a:lnTo>
                  <a:pt x="250" y="394"/>
                </a:lnTo>
                <a:lnTo>
                  <a:pt x="71" y="394"/>
                </a:lnTo>
                <a:lnTo>
                  <a:pt x="71" y="215"/>
                </a:lnTo>
                <a:lnTo>
                  <a:pt x="787" y="215"/>
                </a:lnTo>
                <a:lnTo>
                  <a:pt x="787" y="394"/>
                </a:lnTo>
                <a:lnTo>
                  <a:pt x="608" y="394"/>
                </a:lnTo>
                <a:close/>
                <a:moveTo>
                  <a:pt x="0" y="143"/>
                </a:moveTo>
                <a:lnTo>
                  <a:pt x="0" y="376"/>
                </a:lnTo>
                <a:cubicBezTo>
                  <a:pt x="0" y="416"/>
                  <a:pt x="32" y="466"/>
                  <a:pt x="71" y="466"/>
                </a:cubicBezTo>
                <a:lnTo>
                  <a:pt x="250" y="466"/>
                </a:lnTo>
                <a:lnTo>
                  <a:pt x="250" y="537"/>
                </a:lnTo>
                <a:lnTo>
                  <a:pt x="322" y="537"/>
                </a:lnTo>
                <a:lnTo>
                  <a:pt x="322" y="466"/>
                </a:lnTo>
                <a:lnTo>
                  <a:pt x="537" y="466"/>
                </a:lnTo>
                <a:lnTo>
                  <a:pt x="537" y="537"/>
                </a:lnTo>
                <a:lnTo>
                  <a:pt x="608" y="537"/>
                </a:lnTo>
                <a:lnTo>
                  <a:pt x="608" y="466"/>
                </a:lnTo>
                <a:lnTo>
                  <a:pt x="788" y="466"/>
                </a:lnTo>
                <a:cubicBezTo>
                  <a:pt x="827" y="466"/>
                  <a:pt x="859" y="416"/>
                  <a:pt x="859" y="376"/>
                </a:cubicBezTo>
                <a:lnTo>
                  <a:pt x="859" y="143"/>
                </a:lnTo>
                <a:lnTo>
                  <a:pt x="0" y="143"/>
                </a:lnTo>
                <a:close/>
                <a:moveTo>
                  <a:pt x="716" y="681"/>
                </a:moveTo>
                <a:lnTo>
                  <a:pt x="143" y="681"/>
                </a:lnTo>
                <a:lnTo>
                  <a:pt x="143" y="502"/>
                </a:lnTo>
                <a:lnTo>
                  <a:pt x="71" y="502"/>
                </a:lnTo>
                <a:lnTo>
                  <a:pt x="71" y="668"/>
                </a:lnTo>
                <a:cubicBezTo>
                  <a:pt x="71" y="704"/>
                  <a:pt x="104" y="752"/>
                  <a:pt x="143" y="752"/>
                </a:cubicBezTo>
                <a:lnTo>
                  <a:pt x="716" y="752"/>
                </a:lnTo>
                <a:cubicBezTo>
                  <a:pt x="755" y="752"/>
                  <a:pt x="787" y="704"/>
                  <a:pt x="787" y="668"/>
                </a:cubicBezTo>
                <a:lnTo>
                  <a:pt x="787" y="502"/>
                </a:lnTo>
                <a:lnTo>
                  <a:pt x="716" y="502"/>
                </a:lnTo>
                <a:lnTo>
                  <a:pt x="716" y="68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4" name="Прямоугольник 23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0" y="6516869"/>
            <a:ext cx="12192000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ГК «Просвещение», 2021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948970" y="108504"/>
            <a:ext cx="436940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ЕГЭ 2021 физика (Анализ 2020) </a:t>
            </a:r>
            <a:endParaRPr kumimoji="0" lang="ru-RU" sz="24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4497463" y="517667"/>
            <a:ext cx="238796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Проблемные задания</a:t>
            </a:r>
            <a:endParaRPr kumimoji="0" lang="ru-RU" sz="18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aphicFrame>
        <p:nvGraphicFramePr>
          <p:cNvPr id="11" name="Содержимое 3"/>
          <p:cNvGraphicFramePr>
            <a:graphicFrameLocks/>
          </p:cNvGraphicFramePr>
          <p:nvPr>
            <p:extLst/>
          </p:nvPr>
        </p:nvGraphicFramePr>
        <p:xfrm>
          <a:off x="648928" y="965288"/>
          <a:ext cx="10663854" cy="4963561"/>
        </p:xfrm>
        <a:graphic>
          <a:graphicData uri="http://schemas.openxmlformats.org/drawingml/2006/table">
            <a:tbl>
              <a:tblPr firstRow="1" bandRow="1">
                <a:tableStyleId>{B301B821-A1FF-4177-AEE7-76D212191A09}</a:tableStyleId>
              </a:tblPr>
              <a:tblGrid>
                <a:gridCol w="113309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48164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04911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453384">
                <a:tc>
                  <a:txBody>
                    <a:bodyPr/>
                    <a:lstStyle/>
                    <a:p>
                      <a:pPr algn="ctr"/>
                      <a:r>
                        <a:rPr lang="ru-RU" sz="2000" dirty="0" smtClean="0"/>
                        <a:t>№</a:t>
                      </a:r>
                      <a:endParaRPr lang="ru-RU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dirty="0" smtClean="0"/>
                        <a:t>Тема</a:t>
                      </a:r>
                      <a:endParaRPr lang="ru-RU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dirty="0" smtClean="0"/>
                        <a:t>%</a:t>
                      </a:r>
                      <a:endParaRPr lang="ru-RU" sz="2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54229">
                <a:tc>
                  <a:txBody>
                    <a:bodyPr/>
                    <a:lstStyle/>
                    <a:p>
                      <a:pPr algn="ctr"/>
                      <a:r>
                        <a:rPr lang="ru-RU" sz="2000" dirty="0" smtClean="0"/>
                        <a:t>14</a:t>
                      </a:r>
                      <a:endParaRPr lang="ru-RU" sz="2000" dirty="0">
                        <a:solidFill>
                          <a:schemeClr val="accent6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2000" dirty="0" smtClean="0"/>
                        <a:t>Законы постоянного тока</a:t>
                      </a:r>
                      <a:endParaRPr lang="ru-RU" sz="2000" dirty="0">
                        <a:solidFill>
                          <a:schemeClr val="accent6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dirty="0" smtClean="0"/>
                        <a:t>53</a:t>
                      </a:r>
                      <a:endParaRPr lang="ru-RU" sz="2000" dirty="0">
                        <a:solidFill>
                          <a:schemeClr val="accent6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54229">
                <a:tc>
                  <a:txBody>
                    <a:bodyPr/>
                    <a:lstStyle/>
                    <a:p>
                      <a:pPr algn="ctr"/>
                      <a:r>
                        <a:rPr lang="ru-RU" sz="2000" dirty="0" smtClean="0"/>
                        <a:t>21</a:t>
                      </a:r>
                      <a:endParaRPr lang="ru-RU" sz="2000" dirty="0">
                        <a:solidFill>
                          <a:schemeClr val="accent6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2000" dirty="0" smtClean="0"/>
                        <a:t>Электродинамика и основы СТО</a:t>
                      </a:r>
                      <a:endParaRPr lang="ru-RU" sz="1600" dirty="0">
                        <a:solidFill>
                          <a:schemeClr val="accent6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dirty="0" smtClean="0"/>
                        <a:t>53</a:t>
                      </a:r>
                      <a:endParaRPr lang="ru-RU" sz="2000" dirty="0">
                        <a:solidFill>
                          <a:schemeClr val="accent6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54229">
                <a:tc>
                  <a:txBody>
                    <a:bodyPr/>
                    <a:lstStyle/>
                    <a:p>
                      <a:pPr algn="ctr"/>
                      <a:r>
                        <a:rPr lang="ru-RU" sz="2000" dirty="0" smtClean="0"/>
                        <a:t>25</a:t>
                      </a:r>
                      <a:endParaRPr lang="ru-RU" sz="2000" dirty="0">
                        <a:solidFill>
                          <a:schemeClr val="accent6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2000" dirty="0" smtClean="0"/>
                        <a:t>Расчётная задача (</a:t>
                      </a:r>
                      <a:r>
                        <a:rPr lang="ru-RU" sz="2000" u="none" dirty="0" smtClean="0"/>
                        <a:t>молекулярная физика, электродинамика</a:t>
                      </a:r>
                      <a:r>
                        <a:rPr lang="ru-RU" sz="2000" dirty="0" smtClean="0"/>
                        <a:t>)</a:t>
                      </a:r>
                      <a:endParaRPr lang="ru-RU" sz="2000" dirty="0">
                        <a:solidFill>
                          <a:schemeClr val="accent6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dirty="0" smtClean="0">
                          <a:solidFill>
                            <a:schemeClr val="accent6">
                              <a:lumMod val="10000"/>
                            </a:schemeClr>
                          </a:solidFill>
                        </a:rPr>
                        <a:t>30</a:t>
                      </a:r>
                      <a:endParaRPr lang="ru-RU" sz="2000" dirty="0">
                        <a:solidFill>
                          <a:schemeClr val="accent6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22116">
                <a:tc>
                  <a:txBody>
                    <a:bodyPr/>
                    <a:lstStyle/>
                    <a:p>
                      <a:pPr algn="ctr"/>
                      <a:r>
                        <a:rPr lang="ru-RU" sz="2000" dirty="0" smtClean="0"/>
                        <a:t>26</a:t>
                      </a:r>
                      <a:endParaRPr lang="ru-RU" sz="2000" dirty="0">
                        <a:solidFill>
                          <a:schemeClr val="accent6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dirty="0" smtClean="0"/>
                        <a:t>Расчётная задача (</a:t>
                      </a:r>
                      <a:r>
                        <a:rPr lang="ru-RU" sz="2000" u="none" dirty="0" smtClean="0"/>
                        <a:t>электродинамика, квантовая физика</a:t>
                      </a:r>
                      <a:r>
                        <a:rPr lang="ru-RU" sz="2000" dirty="0" smtClean="0"/>
                        <a:t>)</a:t>
                      </a:r>
                      <a:endParaRPr lang="ru-RU" sz="2000" dirty="0" smtClean="0">
                        <a:solidFill>
                          <a:schemeClr val="accent6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dirty="0" smtClean="0">
                          <a:solidFill>
                            <a:schemeClr val="accent6">
                              <a:lumMod val="10000"/>
                            </a:schemeClr>
                          </a:solidFill>
                        </a:rPr>
                        <a:t>25</a:t>
                      </a:r>
                      <a:endParaRPr lang="ru-RU" sz="2000" dirty="0">
                        <a:solidFill>
                          <a:schemeClr val="accent6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54229">
                <a:tc>
                  <a:txBody>
                    <a:bodyPr/>
                    <a:lstStyle/>
                    <a:p>
                      <a:pPr algn="ctr"/>
                      <a:r>
                        <a:rPr lang="ru-RU" sz="2000" dirty="0" smtClean="0"/>
                        <a:t>27</a:t>
                      </a:r>
                      <a:endParaRPr lang="ru-RU" sz="2000" b="0" dirty="0">
                        <a:solidFill>
                          <a:schemeClr val="accent6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2000" dirty="0" smtClean="0"/>
                        <a:t>Качественная задача</a:t>
                      </a:r>
                      <a:endParaRPr lang="ru-RU" sz="2000" b="0" dirty="0">
                        <a:solidFill>
                          <a:schemeClr val="accent6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dirty="0" smtClean="0">
                          <a:solidFill>
                            <a:schemeClr val="accent6">
                              <a:lumMod val="10000"/>
                            </a:schemeClr>
                          </a:solidFill>
                        </a:rPr>
                        <a:t>17</a:t>
                      </a:r>
                      <a:endParaRPr lang="ru-RU" sz="2000" dirty="0">
                        <a:solidFill>
                          <a:schemeClr val="accent6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54229">
                <a:tc>
                  <a:txBody>
                    <a:bodyPr/>
                    <a:lstStyle/>
                    <a:p>
                      <a:pPr algn="ctr"/>
                      <a:r>
                        <a:rPr lang="ru-RU" sz="2000" dirty="0" smtClean="0"/>
                        <a:t>28</a:t>
                      </a:r>
                      <a:endParaRPr lang="ru-RU" sz="2000" b="0" dirty="0">
                        <a:solidFill>
                          <a:schemeClr val="accent6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dirty="0" smtClean="0"/>
                        <a:t>Расчётная задача (механика, </a:t>
                      </a:r>
                      <a:r>
                        <a:rPr lang="ru-RU" sz="2000" u="none" dirty="0" smtClean="0"/>
                        <a:t>молекулярная физика</a:t>
                      </a:r>
                      <a:r>
                        <a:rPr lang="ru-RU" sz="2000" dirty="0" smtClean="0"/>
                        <a:t>)</a:t>
                      </a:r>
                      <a:endParaRPr lang="ru-RU" sz="2000" dirty="0" smtClean="0">
                        <a:solidFill>
                          <a:schemeClr val="accent6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dirty="0" smtClean="0">
                          <a:solidFill>
                            <a:schemeClr val="accent6">
                              <a:lumMod val="10000"/>
                            </a:schemeClr>
                          </a:solidFill>
                        </a:rPr>
                        <a:t>41</a:t>
                      </a:r>
                      <a:endParaRPr lang="ru-RU" sz="2000" dirty="0">
                        <a:solidFill>
                          <a:schemeClr val="accent6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454229">
                <a:tc>
                  <a:txBody>
                    <a:bodyPr/>
                    <a:lstStyle/>
                    <a:p>
                      <a:pPr algn="ctr"/>
                      <a:r>
                        <a:rPr lang="ru-RU" sz="2000" dirty="0" smtClean="0"/>
                        <a:t>29</a:t>
                      </a:r>
                      <a:endParaRPr lang="ru-RU" sz="2000" dirty="0">
                        <a:solidFill>
                          <a:schemeClr val="accent6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2000" dirty="0" smtClean="0"/>
                        <a:t>Механика</a:t>
                      </a:r>
                      <a:endParaRPr lang="ru-RU" sz="2000" dirty="0">
                        <a:solidFill>
                          <a:schemeClr val="accent6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dirty="0" smtClean="0">
                          <a:solidFill>
                            <a:schemeClr val="accent6">
                              <a:lumMod val="10000"/>
                            </a:schemeClr>
                          </a:solidFill>
                        </a:rPr>
                        <a:t>12</a:t>
                      </a:r>
                      <a:endParaRPr lang="ru-RU" sz="2000" dirty="0">
                        <a:solidFill>
                          <a:schemeClr val="accent6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454229">
                <a:tc>
                  <a:txBody>
                    <a:bodyPr/>
                    <a:lstStyle/>
                    <a:p>
                      <a:pPr algn="ctr"/>
                      <a:r>
                        <a:rPr lang="ru-RU" sz="2000" dirty="0" smtClean="0"/>
                        <a:t>30</a:t>
                      </a:r>
                      <a:endParaRPr lang="ru-RU" sz="2000" dirty="0">
                        <a:solidFill>
                          <a:schemeClr val="accent6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2000" dirty="0" smtClean="0"/>
                        <a:t>Молекулярная физика</a:t>
                      </a:r>
                      <a:endParaRPr lang="ru-RU" sz="2000" dirty="0">
                        <a:solidFill>
                          <a:schemeClr val="accent6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dirty="0" smtClean="0">
                          <a:solidFill>
                            <a:schemeClr val="accent6">
                              <a:lumMod val="10000"/>
                            </a:schemeClr>
                          </a:solidFill>
                        </a:rPr>
                        <a:t>13</a:t>
                      </a:r>
                      <a:endParaRPr lang="ru-RU" sz="2000" dirty="0">
                        <a:solidFill>
                          <a:schemeClr val="accent6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454229">
                <a:tc>
                  <a:txBody>
                    <a:bodyPr/>
                    <a:lstStyle/>
                    <a:p>
                      <a:pPr algn="ctr"/>
                      <a:r>
                        <a:rPr lang="ru-RU" sz="2000" dirty="0" smtClean="0"/>
                        <a:t>31</a:t>
                      </a:r>
                      <a:endParaRPr lang="ru-RU" sz="2000" dirty="0">
                        <a:solidFill>
                          <a:schemeClr val="accent6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2000" dirty="0" smtClean="0"/>
                        <a:t>Электродинамика</a:t>
                      </a:r>
                      <a:endParaRPr lang="ru-RU" sz="2000" dirty="0">
                        <a:solidFill>
                          <a:schemeClr val="accent6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dirty="0" smtClean="0">
                          <a:solidFill>
                            <a:schemeClr val="accent6">
                              <a:lumMod val="10000"/>
                            </a:schemeClr>
                          </a:solidFill>
                        </a:rPr>
                        <a:t>14</a:t>
                      </a:r>
                      <a:endParaRPr lang="ru-RU" sz="2000" dirty="0">
                        <a:solidFill>
                          <a:schemeClr val="accent6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454229">
                <a:tc>
                  <a:txBody>
                    <a:bodyPr/>
                    <a:lstStyle/>
                    <a:p>
                      <a:pPr algn="ctr"/>
                      <a:r>
                        <a:rPr lang="ru-RU" sz="2000" dirty="0" smtClean="0"/>
                        <a:t>32</a:t>
                      </a:r>
                      <a:endParaRPr lang="ru-RU" sz="2000" dirty="0">
                        <a:solidFill>
                          <a:schemeClr val="accent6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2000" dirty="0" smtClean="0"/>
                        <a:t>Электродинамика, квантовая физика</a:t>
                      </a:r>
                      <a:endParaRPr lang="ru-RU" sz="2000" dirty="0">
                        <a:solidFill>
                          <a:schemeClr val="accent6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dirty="0" smtClean="0">
                          <a:solidFill>
                            <a:schemeClr val="accent6">
                              <a:lumMod val="10000"/>
                            </a:schemeClr>
                          </a:solidFill>
                        </a:rPr>
                        <a:t>14</a:t>
                      </a:r>
                      <a:endParaRPr lang="ru-RU" sz="2000" dirty="0">
                        <a:solidFill>
                          <a:schemeClr val="accent6">
                            <a:lumMod val="10000"/>
                          </a:schemeClr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</a:tbl>
          </a:graphicData>
        </a:graphic>
      </p:graphicFrame>
      <p:cxnSp>
        <p:nvCxnSpPr>
          <p:cNvPr id="6" name="Прямая соединительная линия 5"/>
          <p:cNvCxnSpPr/>
          <p:nvPr/>
        </p:nvCxnSpPr>
        <p:spPr>
          <a:xfrm>
            <a:off x="629265" y="2320413"/>
            <a:ext cx="10683518" cy="9832"/>
          </a:xfrm>
          <a:prstGeom prst="line">
            <a:avLst/>
          </a:prstGeom>
          <a:ln w="4762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484139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48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cxnSp>
        <p:nvCxnSpPr>
          <p:cNvPr id="68" name="Прямая соединительная линия 67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Freeform 8"/>
          <p:cNvSpPr>
            <a:spLocks/>
          </p:cNvSpPr>
          <p:nvPr/>
        </p:nvSpPr>
        <p:spPr bwMode="auto">
          <a:xfrm>
            <a:off x="7596965" y="3958541"/>
            <a:ext cx="391642" cy="348126"/>
          </a:xfrm>
          <a:custGeom>
            <a:avLst/>
            <a:gdLst>
              <a:gd name="T0" fmla="*/ 860 w 860"/>
              <a:gd name="T1" fmla="*/ 251 h 752"/>
              <a:gd name="T2" fmla="*/ 430 w 860"/>
              <a:gd name="T3" fmla="*/ 0 h 752"/>
              <a:gd name="T4" fmla="*/ 0 w 860"/>
              <a:gd name="T5" fmla="*/ 251 h 752"/>
              <a:gd name="T6" fmla="*/ 144 w 860"/>
              <a:gd name="T7" fmla="*/ 335 h 752"/>
              <a:gd name="T8" fmla="*/ 144 w 860"/>
              <a:gd name="T9" fmla="*/ 476 h 752"/>
              <a:gd name="T10" fmla="*/ 149 w 860"/>
              <a:gd name="T11" fmla="*/ 484 h 752"/>
              <a:gd name="T12" fmla="*/ 430 w 860"/>
              <a:gd name="T13" fmla="*/ 645 h 752"/>
              <a:gd name="T14" fmla="*/ 573 w 860"/>
              <a:gd name="T15" fmla="*/ 611 h 752"/>
              <a:gd name="T16" fmla="*/ 573 w 860"/>
              <a:gd name="T17" fmla="*/ 528 h 752"/>
              <a:gd name="T18" fmla="*/ 430 w 860"/>
              <a:gd name="T19" fmla="*/ 573 h 752"/>
              <a:gd name="T20" fmla="*/ 215 w 860"/>
              <a:gd name="T21" fmla="*/ 456 h 752"/>
              <a:gd name="T22" fmla="*/ 215 w 860"/>
              <a:gd name="T23" fmla="*/ 376 h 752"/>
              <a:gd name="T24" fmla="*/ 430 w 860"/>
              <a:gd name="T25" fmla="*/ 502 h 752"/>
              <a:gd name="T26" fmla="*/ 553 w 860"/>
              <a:gd name="T27" fmla="*/ 430 h 752"/>
              <a:gd name="T28" fmla="*/ 483 w 860"/>
              <a:gd name="T29" fmla="*/ 388 h 752"/>
              <a:gd name="T30" fmla="*/ 430 w 860"/>
              <a:gd name="T31" fmla="*/ 419 h 752"/>
              <a:gd name="T32" fmla="*/ 143 w 860"/>
              <a:gd name="T33" fmla="*/ 251 h 752"/>
              <a:gd name="T34" fmla="*/ 430 w 860"/>
              <a:gd name="T35" fmla="*/ 83 h 752"/>
              <a:gd name="T36" fmla="*/ 718 w 860"/>
              <a:gd name="T37" fmla="*/ 251 h 752"/>
              <a:gd name="T38" fmla="*/ 624 w 860"/>
              <a:gd name="T39" fmla="*/ 306 h 752"/>
              <a:gd name="T40" fmla="*/ 454 w 860"/>
              <a:gd name="T41" fmla="*/ 205 h 752"/>
              <a:gd name="T42" fmla="*/ 391 w 860"/>
              <a:gd name="T43" fmla="*/ 247 h 752"/>
              <a:gd name="T44" fmla="*/ 390 w 860"/>
              <a:gd name="T45" fmla="*/ 250 h 752"/>
              <a:gd name="T46" fmla="*/ 645 w 860"/>
              <a:gd name="T47" fmla="*/ 401 h 752"/>
              <a:gd name="T48" fmla="*/ 645 w 860"/>
              <a:gd name="T49" fmla="*/ 752 h 752"/>
              <a:gd name="T50" fmla="*/ 717 w 860"/>
              <a:gd name="T51" fmla="*/ 752 h 752"/>
              <a:gd name="T52" fmla="*/ 717 w 860"/>
              <a:gd name="T53" fmla="*/ 361 h 752"/>
              <a:gd name="T54" fmla="*/ 694 w 860"/>
              <a:gd name="T55" fmla="*/ 347 h 752"/>
              <a:gd name="T56" fmla="*/ 860 w 860"/>
              <a:gd name="T57" fmla="*/ 25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860" h="752">
                <a:moveTo>
                  <a:pt x="860" y="251"/>
                </a:moveTo>
                <a:lnTo>
                  <a:pt x="430" y="0"/>
                </a:lnTo>
                <a:lnTo>
                  <a:pt x="0" y="251"/>
                </a:lnTo>
                <a:lnTo>
                  <a:pt x="144" y="335"/>
                </a:lnTo>
                <a:lnTo>
                  <a:pt x="144" y="476"/>
                </a:lnTo>
                <a:lnTo>
                  <a:pt x="149" y="484"/>
                </a:lnTo>
                <a:cubicBezTo>
                  <a:pt x="207" y="583"/>
                  <a:pt x="315" y="645"/>
                  <a:pt x="430" y="645"/>
                </a:cubicBezTo>
                <a:cubicBezTo>
                  <a:pt x="481" y="645"/>
                  <a:pt x="529" y="632"/>
                  <a:pt x="573" y="611"/>
                </a:cubicBezTo>
                <a:lnTo>
                  <a:pt x="573" y="528"/>
                </a:lnTo>
                <a:cubicBezTo>
                  <a:pt x="532" y="557"/>
                  <a:pt x="482" y="573"/>
                  <a:pt x="430" y="573"/>
                </a:cubicBezTo>
                <a:cubicBezTo>
                  <a:pt x="343" y="573"/>
                  <a:pt x="262" y="528"/>
                  <a:pt x="215" y="456"/>
                </a:cubicBezTo>
                <a:lnTo>
                  <a:pt x="215" y="376"/>
                </a:lnTo>
                <a:lnTo>
                  <a:pt x="430" y="502"/>
                </a:lnTo>
                <a:lnTo>
                  <a:pt x="553" y="430"/>
                </a:lnTo>
                <a:lnTo>
                  <a:pt x="483" y="388"/>
                </a:lnTo>
                <a:lnTo>
                  <a:pt x="430" y="419"/>
                </a:lnTo>
                <a:lnTo>
                  <a:pt x="143" y="251"/>
                </a:lnTo>
                <a:lnTo>
                  <a:pt x="430" y="83"/>
                </a:lnTo>
                <a:lnTo>
                  <a:pt x="718" y="251"/>
                </a:lnTo>
                <a:lnTo>
                  <a:pt x="624" y="306"/>
                </a:lnTo>
                <a:lnTo>
                  <a:pt x="454" y="205"/>
                </a:lnTo>
                <a:lnTo>
                  <a:pt x="391" y="247"/>
                </a:lnTo>
                <a:lnTo>
                  <a:pt x="390" y="250"/>
                </a:lnTo>
                <a:lnTo>
                  <a:pt x="645" y="401"/>
                </a:lnTo>
                <a:lnTo>
                  <a:pt x="645" y="752"/>
                </a:lnTo>
                <a:lnTo>
                  <a:pt x="717" y="752"/>
                </a:lnTo>
                <a:lnTo>
                  <a:pt x="717" y="361"/>
                </a:lnTo>
                <a:lnTo>
                  <a:pt x="694" y="347"/>
                </a:lnTo>
                <a:lnTo>
                  <a:pt x="860" y="25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7" name="Freeform 10"/>
          <p:cNvSpPr>
            <a:spLocks noEditPoints="1"/>
          </p:cNvSpPr>
          <p:nvPr/>
        </p:nvSpPr>
        <p:spPr bwMode="auto">
          <a:xfrm>
            <a:off x="7614768" y="2782742"/>
            <a:ext cx="391642" cy="346149"/>
          </a:xfrm>
          <a:custGeom>
            <a:avLst/>
            <a:gdLst>
              <a:gd name="T0" fmla="*/ 608 w 859"/>
              <a:gd name="T1" fmla="*/ 0 h 752"/>
              <a:gd name="T2" fmla="*/ 250 w 859"/>
              <a:gd name="T3" fmla="*/ 0 h 752"/>
              <a:gd name="T4" fmla="*/ 250 w 859"/>
              <a:gd name="T5" fmla="*/ 72 h 752"/>
              <a:gd name="T6" fmla="*/ 608 w 859"/>
              <a:gd name="T7" fmla="*/ 72 h 752"/>
              <a:gd name="T8" fmla="*/ 608 w 859"/>
              <a:gd name="T9" fmla="*/ 0 h 752"/>
              <a:gd name="T10" fmla="*/ 608 w 859"/>
              <a:gd name="T11" fmla="*/ 394 h 752"/>
              <a:gd name="T12" fmla="*/ 608 w 859"/>
              <a:gd name="T13" fmla="*/ 322 h 752"/>
              <a:gd name="T14" fmla="*/ 537 w 859"/>
              <a:gd name="T15" fmla="*/ 322 h 752"/>
              <a:gd name="T16" fmla="*/ 537 w 859"/>
              <a:gd name="T17" fmla="*/ 394 h 752"/>
              <a:gd name="T18" fmla="*/ 322 w 859"/>
              <a:gd name="T19" fmla="*/ 394 h 752"/>
              <a:gd name="T20" fmla="*/ 322 w 859"/>
              <a:gd name="T21" fmla="*/ 322 h 752"/>
              <a:gd name="T22" fmla="*/ 250 w 859"/>
              <a:gd name="T23" fmla="*/ 322 h 752"/>
              <a:gd name="T24" fmla="*/ 250 w 859"/>
              <a:gd name="T25" fmla="*/ 394 h 752"/>
              <a:gd name="T26" fmla="*/ 71 w 859"/>
              <a:gd name="T27" fmla="*/ 394 h 752"/>
              <a:gd name="T28" fmla="*/ 71 w 859"/>
              <a:gd name="T29" fmla="*/ 215 h 752"/>
              <a:gd name="T30" fmla="*/ 787 w 859"/>
              <a:gd name="T31" fmla="*/ 215 h 752"/>
              <a:gd name="T32" fmla="*/ 787 w 859"/>
              <a:gd name="T33" fmla="*/ 394 h 752"/>
              <a:gd name="T34" fmla="*/ 608 w 859"/>
              <a:gd name="T35" fmla="*/ 394 h 752"/>
              <a:gd name="T36" fmla="*/ 0 w 859"/>
              <a:gd name="T37" fmla="*/ 143 h 752"/>
              <a:gd name="T38" fmla="*/ 0 w 859"/>
              <a:gd name="T39" fmla="*/ 376 h 752"/>
              <a:gd name="T40" fmla="*/ 71 w 859"/>
              <a:gd name="T41" fmla="*/ 466 h 752"/>
              <a:gd name="T42" fmla="*/ 250 w 859"/>
              <a:gd name="T43" fmla="*/ 466 h 752"/>
              <a:gd name="T44" fmla="*/ 250 w 859"/>
              <a:gd name="T45" fmla="*/ 537 h 752"/>
              <a:gd name="T46" fmla="*/ 322 w 859"/>
              <a:gd name="T47" fmla="*/ 537 h 752"/>
              <a:gd name="T48" fmla="*/ 322 w 859"/>
              <a:gd name="T49" fmla="*/ 466 h 752"/>
              <a:gd name="T50" fmla="*/ 537 w 859"/>
              <a:gd name="T51" fmla="*/ 466 h 752"/>
              <a:gd name="T52" fmla="*/ 537 w 859"/>
              <a:gd name="T53" fmla="*/ 537 h 752"/>
              <a:gd name="T54" fmla="*/ 608 w 859"/>
              <a:gd name="T55" fmla="*/ 537 h 752"/>
              <a:gd name="T56" fmla="*/ 608 w 859"/>
              <a:gd name="T57" fmla="*/ 466 h 752"/>
              <a:gd name="T58" fmla="*/ 788 w 859"/>
              <a:gd name="T59" fmla="*/ 466 h 752"/>
              <a:gd name="T60" fmla="*/ 859 w 859"/>
              <a:gd name="T61" fmla="*/ 376 h 752"/>
              <a:gd name="T62" fmla="*/ 859 w 859"/>
              <a:gd name="T63" fmla="*/ 143 h 752"/>
              <a:gd name="T64" fmla="*/ 0 w 859"/>
              <a:gd name="T65" fmla="*/ 143 h 752"/>
              <a:gd name="T66" fmla="*/ 716 w 859"/>
              <a:gd name="T67" fmla="*/ 681 h 752"/>
              <a:gd name="T68" fmla="*/ 143 w 859"/>
              <a:gd name="T69" fmla="*/ 681 h 752"/>
              <a:gd name="T70" fmla="*/ 143 w 859"/>
              <a:gd name="T71" fmla="*/ 502 h 752"/>
              <a:gd name="T72" fmla="*/ 71 w 859"/>
              <a:gd name="T73" fmla="*/ 502 h 752"/>
              <a:gd name="T74" fmla="*/ 71 w 859"/>
              <a:gd name="T75" fmla="*/ 668 h 752"/>
              <a:gd name="T76" fmla="*/ 143 w 859"/>
              <a:gd name="T77" fmla="*/ 752 h 752"/>
              <a:gd name="T78" fmla="*/ 716 w 859"/>
              <a:gd name="T79" fmla="*/ 752 h 752"/>
              <a:gd name="T80" fmla="*/ 787 w 859"/>
              <a:gd name="T81" fmla="*/ 668 h 752"/>
              <a:gd name="T82" fmla="*/ 787 w 859"/>
              <a:gd name="T83" fmla="*/ 502 h 752"/>
              <a:gd name="T84" fmla="*/ 716 w 859"/>
              <a:gd name="T85" fmla="*/ 502 h 752"/>
              <a:gd name="T86" fmla="*/ 716 w 859"/>
              <a:gd name="T87" fmla="*/ 68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859" h="752">
                <a:moveTo>
                  <a:pt x="608" y="0"/>
                </a:moveTo>
                <a:lnTo>
                  <a:pt x="250" y="0"/>
                </a:lnTo>
                <a:lnTo>
                  <a:pt x="250" y="72"/>
                </a:lnTo>
                <a:lnTo>
                  <a:pt x="608" y="72"/>
                </a:lnTo>
                <a:lnTo>
                  <a:pt x="608" y="0"/>
                </a:lnTo>
                <a:close/>
                <a:moveTo>
                  <a:pt x="608" y="394"/>
                </a:moveTo>
                <a:lnTo>
                  <a:pt x="608" y="322"/>
                </a:lnTo>
                <a:lnTo>
                  <a:pt x="537" y="322"/>
                </a:lnTo>
                <a:lnTo>
                  <a:pt x="537" y="394"/>
                </a:lnTo>
                <a:lnTo>
                  <a:pt x="322" y="394"/>
                </a:lnTo>
                <a:lnTo>
                  <a:pt x="322" y="322"/>
                </a:lnTo>
                <a:lnTo>
                  <a:pt x="250" y="322"/>
                </a:lnTo>
                <a:lnTo>
                  <a:pt x="250" y="394"/>
                </a:lnTo>
                <a:lnTo>
                  <a:pt x="71" y="394"/>
                </a:lnTo>
                <a:lnTo>
                  <a:pt x="71" y="215"/>
                </a:lnTo>
                <a:lnTo>
                  <a:pt x="787" y="215"/>
                </a:lnTo>
                <a:lnTo>
                  <a:pt x="787" y="394"/>
                </a:lnTo>
                <a:lnTo>
                  <a:pt x="608" y="394"/>
                </a:lnTo>
                <a:close/>
                <a:moveTo>
                  <a:pt x="0" y="143"/>
                </a:moveTo>
                <a:lnTo>
                  <a:pt x="0" y="376"/>
                </a:lnTo>
                <a:cubicBezTo>
                  <a:pt x="0" y="416"/>
                  <a:pt x="32" y="466"/>
                  <a:pt x="71" y="466"/>
                </a:cubicBezTo>
                <a:lnTo>
                  <a:pt x="250" y="466"/>
                </a:lnTo>
                <a:lnTo>
                  <a:pt x="250" y="537"/>
                </a:lnTo>
                <a:lnTo>
                  <a:pt x="322" y="537"/>
                </a:lnTo>
                <a:lnTo>
                  <a:pt x="322" y="466"/>
                </a:lnTo>
                <a:lnTo>
                  <a:pt x="537" y="466"/>
                </a:lnTo>
                <a:lnTo>
                  <a:pt x="537" y="537"/>
                </a:lnTo>
                <a:lnTo>
                  <a:pt x="608" y="537"/>
                </a:lnTo>
                <a:lnTo>
                  <a:pt x="608" y="466"/>
                </a:lnTo>
                <a:lnTo>
                  <a:pt x="788" y="466"/>
                </a:lnTo>
                <a:cubicBezTo>
                  <a:pt x="827" y="466"/>
                  <a:pt x="859" y="416"/>
                  <a:pt x="859" y="376"/>
                </a:cubicBezTo>
                <a:lnTo>
                  <a:pt x="859" y="143"/>
                </a:lnTo>
                <a:lnTo>
                  <a:pt x="0" y="143"/>
                </a:lnTo>
                <a:close/>
                <a:moveTo>
                  <a:pt x="716" y="681"/>
                </a:moveTo>
                <a:lnTo>
                  <a:pt x="143" y="681"/>
                </a:lnTo>
                <a:lnTo>
                  <a:pt x="143" y="502"/>
                </a:lnTo>
                <a:lnTo>
                  <a:pt x="71" y="502"/>
                </a:lnTo>
                <a:lnTo>
                  <a:pt x="71" y="668"/>
                </a:lnTo>
                <a:cubicBezTo>
                  <a:pt x="71" y="704"/>
                  <a:pt x="104" y="752"/>
                  <a:pt x="143" y="752"/>
                </a:cubicBezTo>
                <a:lnTo>
                  <a:pt x="716" y="752"/>
                </a:lnTo>
                <a:cubicBezTo>
                  <a:pt x="755" y="752"/>
                  <a:pt x="787" y="704"/>
                  <a:pt x="787" y="668"/>
                </a:cubicBezTo>
                <a:lnTo>
                  <a:pt x="787" y="502"/>
                </a:lnTo>
                <a:lnTo>
                  <a:pt x="716" y="502"/>
                </a:lnTo>
                <a:lnTo>
                  <a:pt x="716" y="68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4" name="Прямоугольник 23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0" y="6516869"/>
            <a:ext cx="12192000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ГК «Просвещение», 2021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948970" y="108504"/>
            <a:ext cx="436940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ЕГЭ 2021 физика (Анализ 2020) </a:t>
            </a:r>
            <a:endParaRPr kumimoji="0" lang="ru-RU" sz="24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4497463" y="517667"/>
            <a:ext cx="238796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Основные дефициты</a:t>
            </a:r>
          </a:p>
        </p:txBody>
      </p:sp>
      <p:sp>
        <p:nvSpPr>
          <p:cNvPr id="5" name="Скругленный прямоугольник 4">
            <a:hlinkClick r:id="rId4" action="ppaction://hlinksldjump"/>
          </p:cNvPr>
          <p:cNvSpPr/>
          <p:nvPr/>
        </p:nvSpPr>
        <p:spPr>
          <a:xfrm>
            <a:off x="1002891" y="1012722"/>
            <a:ext cx="2733367" cy="570271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Применение формул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422787" y="1628797"/>
            <a:ext cx="6096000" cy="2308324"/>
          </a:xfrm>
          <a:prstGeom prst="rect">
            <a:avLst/>
          </a:prstGeom>
        </p:spPr>
        <p:txBody>
          <a:bodyPr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Гармонические колебания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Удельная теплота парообразования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Основное уравнение МКТ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Закон </a:t>
            </a: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Кулона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Закон сохранения электрического заряда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Закон Ома для участка цепи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Энергия электромагнитных колебаний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Закон радиоактивного </a:t>
            </a: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распада</a:t>
            </a: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Скругленный прямоугольник 14"/>
          <p:cNvSpPr/>
          <p:nvPr/>
        </p:nvSpPr>
        <p:spPr>
          <a:xfrm>
            <a:off x="447367" y="4124789"/>
            <a:ext cx="3844413" cy="698091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Определение направления векторных физических величин</a:t>
            </a:r>
          </a:p>
        </p:txBody>
      </p:sp>
      <p:sp>
        <p:nvSpPr>
          <p:cNvPr id="9" name="Прямоугольник 8"/>
          <p:cNvSpPr/>
          <p:nvPr/>
        </p:nvSpPr>
        <p:spPr>
          <a:xfrm>
            <a:off x="422787" y="4903829"/>
            <a:ext cx="4411761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Суммарный вектор магнитной индукции двух проводников</a:t>
            </a:r>
          </a:p>
        </p:txBody>
      </p:sp>
      <p:sp>
        <p:nvSpPr>
          <p:cNvPr id="18" name="Скругленный прямоугольник 17"/>
          <p:cNvSpPr/>
          <p:nvPr/>
        </p:nvSpPr>
        <p:spPr>
          <a:xfrm>
            <a:off x="7341326" y="1012721"/>
            <a:ext cx="3715818" cy="570271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Изменение физических величин</a:t>
            </a:r>
          </a:p>
        </p:txBody>
      </p:sp>
      <p:sp>
        <p:nvSpPr>
          <p:cNvPr id="12" name="Прямоугольник 11"/>
          <p:cNvSpPr/>
          <p:nvPr/>
        </p:nvSpPr>
        <p:spPr>
          <a:xfrm>
            <a:off x="7154513" y="1721202"/>
            <a:ext cx="3366778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Плавание тел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Явление 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фотоэффекта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Излучение 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света атомом</a:t>
            </a:r>
          </a:p>
        </p:txBody>
      </p:sp>
      <p:sp>
        <p:nvSpPr>
          <p:cNvPr id="22" name="Скругленный прямоугольник 21"/>
          <p:cNvSpPr/>
          <p:nvPr/>
        </p:nvSpPr>
        <p:spPr>
          <a:xfrm>
            <a:off x="7341326" y="2843755"/>
            <a:ext cx="3715818" cy="570271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Установление соответствий</a:t>
            </a:r>
          </a:p>
        </p:txBody>
      </p:sp>
      <p:sp>
        <p:nvSpPr>
          <p:cNvPr id="16" name="Прямоугольник 15"/>
          <p:cNvSpPr/>
          <p:nvPr/>
        </p:nvSpPr>
        <p:spPr>
          <a:xfrm>
            <a:off x="7157156" y="3449269"/>
            <a:ext cx="4084158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Абсолютно неупругий удар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Торможение 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автомобиля</a:t>
            </a:r>
          </a:p>
        </p:txBody>
      </p:sp>
      <p:sp>
        <p:nvSpPr>
          <p:cNvPr id="25" name="Скругленный прямоугольник 24"/>
          <p:cNvSpPr/>
          <p:nvPr/>
        </p:nvSpPr>
        <p:spPr>
          <a:xfrm>
            <a:off x="7341326" y="4184986"/>
            <a:ext cx="3715818" cy="570271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Решение задач</a:t>
            </a:r>
          </a:p>
        </p:txBody>
      </p:sp>
      <p:sp>
        <p:nvSpPr>
          <p:cNvPr id="17" name="Прямоугольник 16"/>
          <p:cNvSpPr/>
          <p:nvPr/>
        </p:nvSpPr>
        <p:spPr>
          <a:xfrm>
            <a:off x="7154513" y="4822880"/>
            <a:ext cx="4792068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Расчётные задачи повышенного уровня сложности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Расчётные 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задачи высокого уровня сложности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Качественные 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задачи</a:t>
            </a:r>
          </a:p>
        </p:txBody>
      </p:sp>
    </p:spTree>
    <p:extLst>
      <p:ext uri="{BB962C8B-B14F-4D97-AF65-F5344CB8AC3E}">
        <p14:creationId xmlns:p14="http://schemas.microsoft.com/office/powerpoint/2010/main" val="38667905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48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cxnSp>
        <p:nvCxnSpPr>
          <p:cNvPr id="68" name="Прямая соединительная линия 67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Freeform 8"/>
          <p:cNvSpPr>
            <a:spLocks/>
          </p:cNvSpPr>
          <p:nvPr/>
        </p:nvSpPr>
        <p:spPr bwMode="auto">
          <a:xfrm>
            <a:off x="7596965" y="3958541"/>
            <a:ext cx="391642" cy="348126"/>
          </a:xfrm>
          <a:custGeom>
            <a:avLst/>
            <a:gdLst>
              <a:gd name="T0" fmla="*/ 860 w 860"/>
              <a:gd name="T1" fmla="*/ 251 h 752"/>
              <a:gd name="T2" fmla="*/ 430 w 860"/>
              <a:gd name="T3" fmla="*/ 0 h 752"/>
              <a:gd name="T4" fmla="*/ 0 w 860"/>
              <a:gd name="T5" fmla="*/ 251 h 752"/>
              <a:gd name="T6" fmla="*/ 144 w 860"/>
              <a:gd name="T7" fmla="*/ 335 h 752"/>
              <a:gd name="T8" fmla="*/ 144 w 860"/>
              <a:gd name="T9" fmla="*/ 476 h 752"/>
              <a:gd name="T10" fmla="*/ 149 w 860"/>
              <a:gd name="T11" fmla="*/ 484 h 752"/>
              <a:gd name="T12" fmla="*/ 430 w 860"/>
              <a:gd name="T13" fmla="*/ 645 h 752"/>
              <a:gd name="T14" fmla="*/ 573 w 860"/>
              <a:gd name="T15" fmla="*/ 611 h 752"/>
              <a:gd name="T16" fmla="*/ 573 w 860"/>
              <a:gd name="T17" fmla="*/ 528 h 752"/>
              <a:gd name="T18" fmla="*/ 430 w 860"/>
              <a:gd name="T19" fmla="*/ 573 h 752"/>
              <a:gd name="T20" fmla="*/ 215 w 860"/>
              <a:gd name="T21" fmla="*/ 456 h 752"/>
              <a:gd name="T22" fmla="*/ 215 w 860"/>
              <a:gd name="T23" fmla="*/ 376 h 752"/>
              <a:gd name="T24" fmla="*/ 430 w 860"/>
              <a:gd name="T25" fmla="*/ 502 h 752"/>
              <a:gd name="T26" fmla="*/ 553 w 860"/>
              <a:gd name="T27" fmla="*/ 430 h 752"/>
              <a:gd name="T28" fmla="*/ 483 w 860"/>
              <a:gd name="T29" fmla="*/ 388 h 752"/>
              <a:gd name="T30" fmla="*/ 430 w 860"/>
              <a:gd name="T31" fmla="*/ 419 h 752"/>
              <a:gd name="T32" fmla="*/ 143 w 860"/>
              <a:gd name="T33" fmla="*/ 251 h 752"/>
              <a:gd name="T34" fmla="*/ 430 w 860"/>
              <a:gd name="T35" fmla="*/ 83 h 752"/>
              <a:gd name="T36" fmla="*/ 718 w 860"/>
              <a:gd name="T37" fmla="*/ 251 h 752"/>
              <a:gd name="T38" fmla="*/ 624 w 860"/>
              <a:gd name="T39" fmla="*/ 306 h 752"/>
              <a:gd name="T40" fmla="*/ 454 w 860"/>
              <a:gd name="T41" fmla="*/ 205 h 752"/>
              <a:gd name="T42" fmla="*/ 391 w 860"/>
              <a:gd name="T43" fmla="*/ 247 h 752"/>
              <a:gd name="T44" fmla="*/ 390 w 860"/>
              <a:gd name="T45" fmla="*/ 250 h 752"/>
              <a:gd name="T46" fmla="*/ 645 w 860"/>
              <a:gd name="T47" fmla="*/ 401 h 752"/>
              <a:gd name="T48" fmla="*/ 645 w 860"/>
              <a:gd name="T49" fmla="*/ 752 h 752"/>
              <a:gd name="T50" fmla="*/ 717 w 860"/>
              <a:gd name="T51" fmla="*/ 752 h 752"/>
              <a:gd name="T52" fmla="*/ 717 w 860"/>
              <a:gd name="T53" fmla="*/ 361 h 752"/>
              <a:gd name="T54" fmla="*/ 694 w 860"/>
              <a:gd name="T55" fmla="*/ 347 h 752"/>
              <a:gd name="T56" fmla="*/ 860 w 860"/>
              <a:gd name="T57" fmla="*/ 25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860" h="752">
                <a:moveTo>
                  <a:pt x="860" y="251"/>
                </a:moveTo>
                <a:lnTo>
                  <a:pt x="430" y="0"/>
                </a:lnTo>
                <a:lnTo>
                  <a:pt x="0" y="251"/>
                </a:lnTo>
                <a:lnTo>
                  <a:pt x="144" y="335"/>
                </a:lnTo>
                <a:lnTo>
                  <a:pt x="144" y="476"/>
                </a:lnTo>
                <a:lnTo>
                  <a:pt x="149" y="484"/>
                </a:lnTo>
                <a:cubicBezTo>
                  <a:pt x="207" y="583"/>
                  <a:pt x="315" y="645"/>
                  <a:pt x="430" y="645"/>
                </a:cubicBezTo>
                <a:cubicBezTo>
                  <a:pt x="481" y="645"/>
                  <a:pt x="529" y="632"/>
                  <a:pt x="573" y="611"/>
                </a:cubicBezTo>
                <a:lnTo>
                  <a:pt x="573" y="528"/>
                </a:lnTo>
                <a:cubicBezTo>
                  <a:pt x="532" y="557"/>
                  <a:pt x="482" y="573"/>
                  <a:pt x="430" y="573"/>
                </a:cubicBezTo>
                <a:cubicBezTo>
                  <a:pt x="343" y="573"/>
                  <a:pt x="262" y="528"/>
                  <a:pt x="215" y="456"/>
                </a:cubicBezTo>
                <a:lnTo>
                  <a:pt x="215" y="376"/>
                </a:lnTo>
                <a:lnTo>
                  <a:pt x="430" y="502"/>
                </a:lnTo>
                <a:lnTo>
                  <a:pt x="553" y="430"/>
                </a:lnTo>
                <a:lnTo>
                  <a:pt x="483" y="388"/>
                </a:lnTo>
                <a:lnTo>
                  <a:pt x="430" y="419"/>
                </a:lnTo>
                <a:lnTo>
                  <a:pt x="143" y="251"/>
                </a:lnTo>
                <a:lnTo>
                  <a:pt x="430" y="83"/>
                </a:lnTo>
                <a:lnTo>
                  <a:pt x="718" y="251"/>
                </a:lnTo>
                <a:lnTo>
                  <a:pt x="624" y="306"/>
                </a:lnTo>
                <a:lnTo>
                  <a:pt x="454" y="205"/>
                </a:lnTo>
                <a:lnTo>
                  <a:pt x="391" y="247"/>
                </a:lnTo>
                <a:lnTo>
                  <a:pt x="390" y="250"/>
                </a:lnTo>
                <a:lnTo>
                  <a:pt x="645" y="401"/>
                </a:lnTo>
                <a:lnTo>
                  <a:pt x="645" y="752"/>
                </a:lnTo>
                <a:lnTo>
                  <a:pt x="717" y="752"/>
                </a:lnTo>
                <a:lnTo>
                  <a:pt x="717" y="361"/>
                </a:lnTo>
                <a:lnTo>
                  <a:pt x="694" y="347"/>
                </a:lnTo>
                <a:lnTo>
                  <a:pt x="860" y="25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7" name="Freeform 10"/>
          <p:cNvSpPr>
            <a:spLocks noEditPoints="1"/>
          </p:cNvSpPr>
          <p:nvPr/>
        </p:nvSpPr>
        <p:spPr bwMode="auto">
          <a:xfrm>
            <a:off x="7614768" y="2782742"/>
            <a:ext cx="391642" cy="346149"/>
          </a:xfrm>
          <a:custGeom>
            <a:avLst/>
            <a:gdLst>
              <a:gd name="T0" fmla="*/ 608 w 859"/>
              <a:gd name="T1" fmla="*/ 0 h 752"/>
              <a:gd name="T2" fmla="*/ 250 w 859"/>
              <a:gd name="T3" fmla="*/ 0 h 752"/>
              <a:gd name="T4" fmla="*/ 250 w 859"/>
              <a:gd name="T5" fmla="*/ 72 h 752"/>
              <a:gd name="T6" fmla="*/ 608 w 859"/>
              <a:gd name="T7" fmla="*/ 72 h 752"/>
              <a:gd name="T8" fmla="*/ 608 w 859"/>
              <a:gd name="T9" fmla="*/ 0 h 752"/>
              <a:gd name="T10" fmla="*/ 608 w 859"/>
              <a:gd name="T11" fmla="*/ 394 h 752"/>
              <a:gd name="T12" fmla="*/ 608 w 859"/>
              <a:gd name="T13" fmla="*/ 322 h 752"/>
              <a:gd name="T14" fmla="*/ 537 w 859"/>
              <a:gd name="T15" fmla="*/ 322 h 752"/>
              <a:gd name="T16" fmla="*/ 537 w 859"/>
              <a:gd name="T17" fmla="*/ 394 h 752"/>
              <a:gd name="T18" fmla="*/ 322 w 859"/>
              <a:gd name="T19" fmla="*/ 394 h 752"/>
              <a:gd name="T20" fmla="*/ 322 w 859"/>
              <a:gd name="T21" fmla="*/ 322 h 752"/>
              <a:gd name="T22" fmla="*/ 250 w 859"/>
              <a:gd name="T23" fmla="*/ 322 h 752"/>
              <a:gd name="T24" fmla="*/ 250 w 859"/>
              <a:gd name="T25" fmla="*/ 394 h 752"/>
              <a:gd name="T26" fmla="*/ 71 w 859"/>
              <a:gd name="T27" fmla="*/ 394 h 752"/>
              <a:gd name="T28" fmla="*/ 71 w 859"/>
              <a:gd name="T29" fmla="*/ 215 h 752"/>
              <a:gd name="T30" fmla="*/ 787 w 859"/>
              <a:gd name="T31" fmla="*/ 215 h 752"/>
              <a:gd name="T32" fmla="*/ 787 w 859"/>
              <a:gd name="T33" fmla="*/ 394 h 752"/>
              <a:gd name="T34" fmla="*/ 608 w 859"/>
              <a:gd name="T35" fmla="*/ 394 h 752"/>
              <a:gd name="T36" fmla="*/ 0 w 859"/>
              <a:gd name="T37" fmla="*/ 143 h 752"/>
              <a:gd name="T38" fmla="*/ 0 w 859"/>
              <a:gd name="T39" fmla="*/ 376 h 752"/>
              <a:gd name="T40" fmla="*/ 71 w 859"/>
              <a:gd name="T41" fmla="*/ 466 h 752"/>
              <a:gd name="T42" fmla="*/ 250 w 859"/>
              <a:gd name="T43" fmla="*/ 466 h 752"/>
              <a:gd name="T44" fmla="*/ 250 w 859"/>
              <a:gd name="T45" fmla="*/ 537 h 752"/>
              <a:gd name="T46" fmla="*/ 322 w 859"/>
              <a:gd name="T47" fmla="*/ 537 h 752"/>
              <a:gd name="T48" fmla="*/ 322 w 859"/>
              <a:gd name="T49" fmla="*/ 466 h 752"/>
              <a:gd name="T50" fmla="*/ 537 w 859"/>
              <a:gd name="T51" fmla="*/ 466 h 752"/>
              <a:gd name="T52" fmla="*/ 537 w 859"/>
              <a:gd name="T53" fmla="*/ 537 h 752"/>
              <a:gd name="T54" fmla="*/ 608 w 859"/>
              <a:gd name="T55" fmla="*/ 537 h 752"/>
              <a:gd name="T56" fmla="*/ 608 w 859"/>
              <a:gd name="T57" fmla="*/ 466 h 752"/>
              <a:gd name="T58" fmla="*/ 788 w 859"/>
              <a:gd name="T59" fmla="*/ 466 h 752"/>
              <a:gd name="T60" fmla="*/ 859 w 859"/>
              <a:gd name="T61" fmla="*/ 376 h 752"/>
              <a:gd name="T62" fmla="*/ 859 w 859"/>
              <a:gd name="T63" fmla="*/ 143 h 752"/>
              <a:gd name="T64" fmla="*/ 0 w 859"/>
              <a:gd name="T65" fmla="*/ 143 h 752"/>
              <a:gd name="T66" fmla="*/ 716 w 859"/>
              <a:gd name="T67" fmla="*/ 681 h 752"/>
              <a:gd name="T68" fmla="*/ 143 w 859"/>
              <a:gd name="T69" fmla="*/ 681 h 752"/>
              <a:gd name="T70" fmla="*/ 143 w 859"/>
              <a:gd name="T71" fmla="*/ 502 h 752"/>
              <a:gd name="T72" fmla="*/ 71 w 859"/>
              <a:gd name="T73" fmla="*/ 502 h 752"/>
              <a:gd name="T74" fmla="*/ 71 w 859"/>
              <a:gd name="T75" fmla="*/ 668 h 752"/>
              <a:gd name="T76" fmla="*/ 143 w 859"/>
              <a:gd name="T77" fmla="*/ 752 h 752"/>
              <a:gd name="T78" fmla="*/ 716 w 859"/>
              <a:gd name="T79" fmla="*/ 752 h 752"/>
              <a:gd name="T80" fmla="*/ 787 w 859"/>
              <a:gd name="T81" fmla="*/ 668 h 752"/>
              <a:gd name="T82" fmla="*/ 787 w 859"/>
              <a:gd name="T83" fmla="*/ 502 h 752"/>
              <a:gd name="T84" fmla="*/ 716 w 859"/>
              <a:gd name="T85" fmla="*/ 502 h 752"/>
              <a:gd name="T86" fmla="*/ 716 w 859"/>
              <a:gd name="T87" fmla="*/ 68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859" h="752">
                <a:moveTo>
                  <a:pt x="608" y="0"/>
                </a:moveTo>
                <a:lnTo>
                  <a:pt x="250" y="0"/>
                </a:lnTo>
                <a:lnTo>
                  <a:pt x="250" y="72"/>
                </a:lnTo>
                <a:lnTo>
                  <a:pt x="608" y="72"/>
                </a:lnTo>
                <a:lnTo>
                  <a:pt x="608" y="0"/>
                </a:lnTo>
                <a:close/>
                <a:moveTo>
                  <a:pt x="608" y="394"/>
                </a:moveTo>
                <a:lnTo>
                  <a:pt x="608" y="322"/>
                </a:lnTo>
                <a:lnTo>
                  <a:pt x="537" y="322"/>
                </a:lnTo>
                <a:lnTo>
                  <a:pt x="537" y="394"/>
                </a:lnTo>
                <a:lnTo>
                  <a:pt x="322" y="394"/>
                </a:lnTo>
                <a:lnTo>
                  <a:pt x="322" y="322"/>
                </a:lnTo>
                <a:lnTo>
                  <a:pt x="250" y="322"/>
                </a:lnTo>
                <a:lnTo>
                  <a:pt x="250" y="394"/>
                </a:lnTo>
                <a:lnTo>
                  <a:pt x="71" y="394"/>
                </a:lnTo>
                <a:lnTo>
                  <a:pt x="71" y="215"/>
                </a:lnTo>
                <a:lnTo>
                  <a:pt x="787" y="215"/>
                </a:lnTo>
                <a:lnTo>
                  <a:pt x="787" y="394"/>
                </a:lnTo>
                <a:lnTo>
                  <a:pt x="608" y="394"/>
                </a:lnTo>
                <a:close/>
                <a:moveTo>
                  <a:pt x="0" y="143"/>
                </a:moveTo>
                <a:lnTo>
                  <a:pt x="0" y="376"/>
                </a:lnTo>
                <a:cubicBezTo>
                  <a:pt x="0" y="416"/>
                  <a:pt x="32" y="466"/>
                  <a:pt x="71" y="466"/>
                </a:cubicBezTo>
                <a:lnTo>
                  <a:pt x="250" y="466"/>
                </a:lnTo>
                <a:lnTo>
                  <a:pt x="250" y="537"/>
                </a:lnTo>
                <a:lnTo>
                  <a:pt x="322" y="537"/>
                </a:lnTo>
                <a:lnTo>
                  <a:pt x="322" y="466"/>
                </a:lnTo>
                <a:lnTo>
                  <a:pt x="537" y="466"/>
                </a:lnTo>
                <a:lnTo>
                  <a:pt x="537" y="537"/>
                </a:lnTo>
                <a:lnTo>
                  <a:pt x="608" y="537"/>
                </a:lnTo>
                <a:lnTo>
                  <a:pt x="608" y="466"/>
                </a:lnTo>
                <a:lnTo>
                  <a:pt x="788" y="466"/>
                </a:lnTo>
                <a:cubicBezTo>
                  <a:pt x="827" y="466"/>
                  <a:pt x="859" y="416"/>
                  <a:pt x="859" y="376"/>
                </a:cubicBezTo>
                <a:lnTo>
                  <a:pt x="859" y="143"/>
                </a:lnTo>
                <a:lnTo>
                  <a:pt x="0" y="143"/>
                </a:lnTo>
                <a:close/>
                <a:moveTo>
                  <a:pt x="716" y="681"/>
                </a:moveTo>
                <a:lnTo>
                  <a:pt x="143" y="681"/>
                </a:lnTo>
                <a:lnTo>
                  <a:pt x="143" y="502"/>
                </a:lnTo>
                <a:lnTo>
                  <a:pt x="71" y="502"/>
                </a:lnTo>
                <a:lnTo>
                  <a:pt x="71" y="668"/>
                </a:lnTo>
                <a:cubicBezTo>
                  <a:pt x="71" y="704"/>
                  <a:pt x="104" y="752"/>
                  <a:pt x="143" y="752"/>
                </a:cubicBezTo>
                <a:lnTo>
                  <a:pt x="716" y="752"/>
                </a:lnTo>
                <a:cubicBezTo>
                  <a:pt x="755" y="752"/>
                  <a:pt x="787" y="704"/>
                  <a:pt x="787" y="668"/>
                </a:cubicBezTo>
                <a:lnTo>
                  <a:pt x="787" y="502"/>
                </a:lnTo>
                <a:lnTo>
                  <a:pt x="716" y="502"/>
                </a:lnTo>
                <a:lnTo>
                  <a:pt x="716" y="68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4" name="Прямоугольник 23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0" y="6516869"/>
            <a:ext cx="12192000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ГК «Просвещение», 2021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948970" y="108504"/>
            <a:ext cx="245862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ВПР 2021 физика</a:t>
            </a:r>
            <a:endParaRPr kumimoji="0" lang="ru-RU" sz="24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" name="Объект 2"/>
          <p:cNvSpPr txBox="1">
            <a:spLocks/>
          </p:cNvSpPr>
          <p:nvPr/>
        </p:nvSpPr>
        <p:spPr>
          <a:xfrm>
            <a:off x="315304" y="752791"/>
            <a:ext cx="11654626" cy="3377406"/>
          </a:xfrm>
          <a:prstGeom prst="rect">
            <a:avLst/>
          </a:prstGeom>
        </p:spPr>
        <p:txBody>
          <a:bodyPr vert="horz" lIns="91425" tIns="91425" rIns="91425" bIns="91425" rtlCol="0" anchor="t" anchorCtr="0">
            <a:normAutofit/>
          </a:bodyPr>
          <a:lstStyle>
            <a:lvl1pPr marL="228600" lvl="0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lvl="1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lvl="2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lvl="3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lvl="4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lvl="5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lvl="6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lvl="7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lvl="8" indent="-22860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indent="-2286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Times New Roman"/>
              </a:rPr>
              <a:t>П</a:t>
            </a:r>
            <a:r>
              <a: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Calibri"/>
                <a:cs typeface="Times New Roman"/>
              </a:rPr>
              <a:t>редназначены для оценки индивидуальной общеобразовательной подготовки по предмету в конце каждого класса обучения (материалы для промежуточной аттестации)</a:t>
            </a:r>
          </a:p>
          <a:p>
            <a:pPr marL="228600" marR="0" lvl="0" indent="-2286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Calibri"/>
                <a:cs typeface="Times New Roman"/>
              </a:rPr>
              <a:t>Механизм объективной самооценки ОО за счет использования единых измерительных материалов</a:t>
            </a:r>
          </a:p>
          <a:p>
            <a:pPr marL="228600" marR="0" lvl="0" indent="-2286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Calibri"/>
                <a:cs typeface="Times New Roman"/>
              </a:rPr>
              <a:t>Процедура: единый день проведения, </a:t>
            </a:r>
            <a:br>
              <a: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Calibri"/>
                <a:cs typeface="Times New Roman"/>
              </a:rPr>
            </a:br>
            <a:r>
              <a: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Calibri"/>
                <a:cs typeface="Times New Roman"/>
              </a:rPr>
              <a:t>     варианты по часовым зонам, проверка </a:t>
            </a:r>
            <a:br>
              <a: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Calibri"/>
                <a:cs typeface="Times New Roman"/>
              </a:rPr>
            </a:br>
            <a:r>
              <a: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Calibri"/>
                <a:cs typeface="Times New Roman"/>
              </a:rPr>
              <a:t>     силами учителей по единым критериям</a:t>
            </a:r>
          </a:p>
          <a:p>
            <a:pPr marL="228600" marR="0" lvl="0" indent="-2286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ru-RU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Calibri"/>
                <a:cs typeface="Times New Roman"/>
              </a:rPr>
              <a:t>7, 8, 11 классы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ru-RU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21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53687" y="2574411"/>
            <a:ext cx="6022294" cy="3290344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4623611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48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cxnSp>
        <p:nvCxnSpPr>
          <p:cNvPr id="68" name="Прямая соединительная линия 67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Freeform 8"/>
          <p:cNvSpPr>
            <a:spLocks/>
          </p:cNvSpPr>
          <p:nvPr/>
        </p:nvSpPr>
        <p:spPr bwMode="auto">
          <a:xfrm>
            <a:off x="7596965" y="3958541"/>
            <a:ext cx="391642" cy="348126"/>
          </a:xfrm>
          <a:custGeom>
            <a:avLst/>
            <a:gdLst>
              <a:gd name="T0" fmla="*/ 860 w 860"/>
              <a:gd name="T1" fmla="*/ 251 h 752"/>
              <a:gd name="T2" fmla="*/ 430 w 860"/>
              <a:gd name="T3" fmla="*/ 0 h 752"/>
              <a:gd name="T4" fmla="*/ 0 w 860"/>
              <a:gd name="T5" fmla="*/ 251 h 752"/>
              <a:gd name="T6" fmla="*/ 144 w 860"/>
              <a:gd name="T7" fmla="*/ 335 h 752"/>
              <a:gd name="T8" fmla="*/ 144 w 860"/>
              <a:gd name="T9" fmla="*/ 476 h 752"/>
              <a:gd name="T10" fmla="*/ 149 w 860"/>
              <a:gd name="T11" fmla="*/ 484 h 752"/>
              <a:gd name="T12" fmla="*/ 430 w 860"/>
              <a:gd name="T13" fmla="*/ 645 h 752"/>
              <a:gd name="T14" fmla="*/ 573 w 860"/>
              <a:gd name="T15" fmla="*/ 611 h 752"/>
              <a:gd name="T16" fmla="*/ 573 w 860"/>
              <a:gd name="T17" fmla="*/ 528 h 752"/>
              <a:gd name="T18" fmla="*/ 430 w 860"/>
              <a:gd name="T19" fmla="*/ 573 h 752"/>
              <a:gd name="T20" fmla="*/ 215 w 860"/>
              <a:gd name="T21" fmla="*/ 456 h 752"/>
              <a:gd name="T22" fmla="*/ 215 w 860"/>
              <a:gd name="T23" fmla="*/ 376 h 752"/>
              <a:gd name="T24" fmla="*/ 430 w 860"/>
              <a:gd name="T25" fmla="*/ 502 h 752"/>
              <a:gd name="T26" fmla="*/ 553 w 860"/>
              <a:gd name="T27" fmla="*/ 430 h 752"/>
              <a:gd name="T28" fmla="*/ 483 w 860"/>
              <a:gd name="T29" fmla="*/ 388 h 752"/>
              <a:gd name="T30" fmla="*/ 430 w 860"/>
              <a:gd name="T31" fmla="*/ 419 h 752"/>
              <a:gd name="T32" fmla="*/ 143 w 860"/>
              <a:gd name="T33" fmla="*/ 251 h 752"/>
              <a:gd name="T34" fmla="*/ 430 w 860"/>
              <a:gd name="T35" fmla="*/ 83 h 752"/>
              <a:gd name="T36" fmla="*/ 718 w 860"/>
              <a:gd name="T37" fmla="*/ 251 h 752"/>
              <a:gd name="T38" fmla="*/ 624 w 860"/>
              <a:gd name="T39" fmla="*/ 306 h 752"/>
              <a:gd name="T40" fmla="*/ 454 w 860"/>
              <a:gd name="T41" fmla="*/ 205 h 752"/>
              <a:gd name="T42" fmla="*/ 391 w 860"/>
              <a:gd name="T43" fmla="*/ 247 h 752"/>
              <a:gd name="T44" fmla="*/ 390 w 860"/>
              <a:gd name="T45" fmla="*/ 250 h 752"/>
              <a:gd name="T46" fmla="*/ 645 w 860"/>
              <a:gd name="T47" fmla="*/ 401 h 752"/>
              <a:gd name="T48" fmla="*/ 645 w 860"/>
              <a:gd name="T49" fmla="*/ 752 h 752"/>
              <a:gd name="T50" fmla="*/ 717 w 860"/>
              <a:gd name="T51" fmla="*/ 752 h 752"/>
              <a:gd name="T52" fmla="*/ 717 w 860"/>
              <a:gd name="T53" fmla="*/ 361 h 752"/>
              <a:gd name="T54" fmla="*/ 694 w 860"/>
              <a:gd name="T55" fmla="*/ 347 h 752"/>
              <a:gd name="T56" fmla="*/ 860 w 860"/>
              <a:gd name="T57" fmla="*/ 25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860" h="752">
                <a:moveTo>
                  <a:pt x="860" y="251"/>
                </a:moveTo>
                <a:lnTo>
                  <a:pt x="430" y="0"/>
                </a:lnTo>
                <a:lnTo>
                  <a:pt x="0" y="251"/>
                </a:lnTo>
                <a:lnTo>
                  <a:pt x="144" y="335"/>
                </a:lnTo>
                <a:lnTo>
                  <a:pt x="144" y="476"/>
                </a:lnTo>
                <a:lnTo>
                  <a:pt x="149" y="484"/>
                </a:lnTo>
                <a:cubicBezTo>
                  <a:pt x="207" y="583"/>
                  <a:pt x="315" y="645"/>
                  <a:pt x="430" y="645"/>
                </a:cubicBezTo>
                <a:cubicBezTo>
                  <a:pt x="481" y="645"/>
                  <a:pt x="529" y="632"/>
                  <a:pt x="573" y="611"/>
                </a:cubicBezTo>
                <a:lnTo>
                  <a:pt x="573" y="528"/>
                </a:lnTo>
                <a:cubicBezTo>
                  <a:pt x="532" y="557"/>
                  <a:pt x="482" y="573"/>
                  <a:pt x="430" y="573"/>
                </a:cubicBezTo>
                <a:cubicBezTo>
                  <a:pt x="343" y="573"/>
                  <a:pt x="262" y="528"/>
                  <a:pt x="215" y="456"/>
                </a:cubicBezTo>
                <a:lnTo>
                  <a:pt x="215" y="376"/>
                </a:lnTo>
                <a:lnTo>
                  <a:pt x="430" y="502"/>
                </a:lnTo>
                <a:lnTo>
                  <a:pt x="553" y="430"/>
                </a:lnTo>
                <a:lnTo>
                  <a:pt x="483" y="388"/>
                </a:lnTo>
                <a:lnTo>
                  <a:pt x="430" y="419"/>
                </a:lnTo>
                <a:lnTo>
                  <a:pt x="143" y="251"/>
                </a:lnTo>
                <a:lnTo>
                  <a:pt x="430" y="83"/>
                </a:lnTo>
                <a:lnTo>
                  <a:pt x="718" y="251"/>
                </a:lnTo>
                <a:lnTo>
                  <a:pt x="624" y="306"/>
                </a:lnTo>
                <a:lnTo>
                  <a:pt x="454" y="205"/>
                </a:lnTo>
                <a:lnTo>
                  <a:pt x="391" y="247"/>
                </a:lnTo>
                <a:lnTo>
                  <a:pt x="390" y="250"/>
                </a:lnTo>
                <a:lnTo>
                  <a:pt x="645" y="401"/>
                </a:lnTo>
                <a:lnTo>
                  <a:pt x="645" y="752"/>
                </a:lnTo>
                <a:lnTo>
                  <a:pt x="717" y="752"/>
                </a:lnTo>
                <a:lnTo>
                  <a:pt x="717" y="361"/>
                </a:lnTo>
                <a:lnTo>
                  <a:pt x="694" y="347"/>
                </a:lnTo>
                <a:lnTo>
                  <a:pt x="860" y="25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7" name="Freeform 10"/>
          <p:cNvSpPr>
            <a:spLocks noEditPoints="1"/>
          </p:cNvSpPr>
          <p:nvPr/>
        </p:nvSpPr>
        <p:spPr bwMode="auto">
          <a:xfrm>
            <a:off x="7614768" y="2782742"/>
            <a:ext cx="391642" cy="346149"/>
          </a:xfrm>
          <a:custGeom>
            <a:avLst/>
            <a:gdLst>
              <a:gd name="T0" fmla="*/ 608 w 859"/>
              <a:gd name="T1" fmla="*/ 0 h 752"/>
              <a:gd name="T2" fmla="*/ 250 w 859"/>
              <a:gd name="T3" fmla="*/ 0 h 752"/>
              <a:gd name="T4" fmla="*/ 250 w 859"/>
              <a:gd name="T5" fmla="*/ 72 h 752"/>
              <a:gd name="T6" fmla="*/ 608 w 859"/>
              <a:gd name="T7" fmla="*/ 72 h 752"/>
              <a:gd name="T8" fmla="*/ 608 w 859"/>
              <a:gd name="T9" fmla="*/ 0 h 752"/>
              <a:gd name="T10" fmla="*/ 608 w 859"/>
              <a:gd name="T11" fmla="*/ 394 h 752"/>
              <a:gd name="T12" fmla="*/ 608 w 859"/>
              <a:gd name="T13" fmla="*/ 322 h 752"/>
              <a:gd name="T14" fmla="*/ 537 w 859"/>
              <a:gd name="T15" fmla="*/ 322 h 752"/>
              <a:gd name="T16" fmla="*/ 537 w 859"/>
              <a:gd name="T17" fmla="*/ 394 h 752"/>
              <a:gd name="T18" fmla="*/ 322 w 859"/>
              <a:gd name="T19" fmla="*/ 394 h 752"/>
              <a:gd name="T20" fmla="*/ 322 w 859"/>
              <a:gd name="T21" fmla="*/ 322 h 752"/>
              <a:gd name="T22" fmla="*/ 250 w 859"/>
              <a:gd name="T23" fmla="*/ 322 h 752"/>
              <a:gd name="T24" fmla="*/ 250 w 859"/>
              <a:gd name="T25" fmla="*/ 394 h 752"/>
              <a:gd name="T26" fmla="*/ 71 w 859"/>
              <a:gd name="T27" fmla="*/ 394 h 752"/>
              <a:gd name="T28" fmla="*/ 71 w 859"/>
              <a:gd name="T29" fmla="*/ 215 h 752"/>
              <a:gd name="T30" fmla="*/ 787 w 859"/>
              <a:gd name="T31" fmla="*/ 215 h 752"/>
              <a:gd name="T32" fmla="*/ 787 w 859"/>
              <a:gd name="T33" fmla="*/ 394 h 752"/>
              <a:gd name="T34" fmla="*/ 608 w 859"/>
              <a:gd name="T35" fmla="*/ 394 h 752"/>
              <a:gd name="T36" fmla="*/ 0 w 859"/>
              <a:gd name="T37" fmla="*/ 143 h 752"/>
              <a:gd name="T38" fmla="*/ 0 w 859"/>
              <a:gd name="T39" fmla="*/ 376 h 752"/>
              <a:gd name="T40" fmla="*/ 71 w 859"/>
              <a:gd name="T41" fmla="*/ 466 h 752"/>
              <a:gd name="T42" fmla="*/ 250 w 859"/>
              <a:gd name="T43" fmla="*/ 466 h 752"/>
              <a:gd name="T44" fmla="*/ 250 w 859"/>
              <a:gd name="T45" fmla="*/ 537 h 752"/>
              <a:gd name="T46" fmla="*/ 322 w 859"/>
              <a:gd name="T47" fmla="*/ 537 h 752"/>
              <a:gd name="T48" fmla="*/ 322 w 859"/>
              <a:gd name="T49" fmla="*/ 466 h 752"/>
              <a:gd name="T50" fmla="*/ 537 w 859"/>
              <a:gd name="T51" fmla="*/ 466 h 752"/>
              <a:gd name="T52" fmla="*/ 537 w 859"/>
              <a:gd name="T53" fmla="*/ 537 h 752"/>
              <a:gd name="T54" fmla="*/ 608 w 859"/>
              <a:gd name="T55" fmla="*/ 537 h 752"/>
              <a:gd name="T56" fmla="*/ 608 w 859"/>
              <a:gd name="T57" fmla="*/ 466 h 752"/>
              <a:gd name="T58" fmla="*/ 788 w 859"/>
              <a:gd name="T59" fmla="*/ 466 h 752"/>
              <a:gd name="T60" fmla="*/ 859 w 859"/>
              <a:gd name="T61" fmla="*/ 376 h 752"/>
              <a:gd name="T62" fmla="*/ 859 w 859"/>
              <a:gd name="T63" fmla="*/ 143 h 752"/>
              <a:gd name="T64" fmla="*/ 0 w 859"/>
              <a:gd name="T65" fmla="*/ 143 h 752"/>
              <a:gd name="T66" fmla="*/ 716 w 859"/>
              <a:gd name="T67" fmla="*/ 681 h 752"/>
              <a:gd name="T68" fmla="*/ 143 w 859"/>
              <a:gd name="T69" fmla="*/ 681 h 752"/>
              <a:gd name="T70" fmla="*/ 143 w 859"/>
              <a:gd name="T71" fmla="*/ 502 h 752"/>
              <a:gd name="T72" fmla="*/ 71 w 859"/>
              <a:gd name="T73" fmla="*/ 502 h 752"/>
              <a:gd name="T74" fmla="*/ 71 w 859"/>
              <a:gd name="T75" fmla="*/ 668 h 752"/>
              <a:gd name="T76" fmla="*/ 143 w 859"/>
              <a:gd name="T77" fmla="*/ 752 h 752"/>
              <a:gd name="T78" fmla="*/ 716 w 859"/>
              <a:gd name="T79" fmla="*/ 752 h 752"/>
              <a:gd name="T80" fmla="*/ 787 w 859"/>
              <a:gd name="T81" fmla="*/ 668 h 752"/>
              <a:gd name="T82" fmla="*/ 787 w 859"/>
              <a:gd name="T83" fmla="*/ 502 h 752"/>
              <a:gd name="T84" fmla="*/ 716 w 859"/>
              <a:gd name="T85" fmla="*/ 502 h 752"/>
              <a:gd name="T86" fmla="*/ 716 w 859"/>
              <a:gd name="T87" fmla="*/ 68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859" h="752">
                <a:moveTo>
                  <a:pt x="608" y="0"/>
                </a:moveTo>
                <a:lnTo>
                  <a:pt x="250" y="0"/>
                </a:lnTo>
                <a:lnTo>
                  <a:pt x="250" y="72"/>
                </a:lnTo>
                <a:lnTo>
                  <a:pt x="608" y="72"/>
                </a:lnTo>
                <a:lnTo>
                  <a:pt x="608" y="0"/>
                </a:lnTo>
                <a:close/>
                <a:moveTo>
                  <a:pt x="608" y="394"/>
                </a:moveTo>
                <a:lnTo>
                  <a:pt x="608" y="322"/>
                </a:lnTo>
                <a:lnTo>
                  <a:pt x="537" y="322"/>
                </a:lnTo>
                <a:lnTo>
                  <a:pt x="537" y="394"/>
                </a:lnTo>
                <a:lnTo>
                  <a:pt x="322" y="394"/>
                </a:lnTo>
                <a:lnTo>
                  <a:pt x="322" y="322"/>
                </a:lnTo>
                <a:lnTo>
                  <a:pt x="250" y="322"/>
                </a:lnTo>
                <a:lnTo>
                  <a:pt x="250" y="394"/>
                </a:lnTo>
                <a:lnTo>
                  <a:pt x="71" y="394"/>
                </a:lnTo>
                <a:lnTo>
                  <a:pt x="71" y="215"/>
                </a:lnTo>
                <a:lnTo>
                  <a:pt x="787" y="215"/>
                </a:lnTo>
                <a:lnTo>
                  <a:pt x="787" y="394"/>
                </a:lnTo>
                <a:lnTo>
                  <a:pt x="608" y="394"/>
                </a:lnTo>
                <a:close/>
                <a:moveTo>
                  <a:pt x="0" y="143"/>
                </a:moveTo>
                <a:lnTo>
                  <a:pt x="0" y="376"/>
                </a:lnTo>
                <a:cubicBezTo>
                  <a:pt x="0" y="416"/>
                  <a:pt x="32" y="466"/>
                  <a:pt x="71" y="466"/>
                </a:cubicBezTo>
                <a:lnTo>
                  <a:pt x="250" y="466"/>
                </a:lnTo>
                <a:lnTo>
                  <a:pt x="250" y="537"/>
                </a:lnTo>
                <a:lnTo>
                  <a:pt x="322" y="537"/>
                </a:lnTo>
                <a:lnTo>
                  <a:pt x="322" y="466"/>
                </a:lnTo>
                <a:lnTo>
                  <a:pt x="537" y="466"/>
                </a:lnTo>
                <a:lnTo>
                  <a:pt x="537" y="537"/>
                </a:lnTo>
                <a:lnTo>
                  <a:pt x="608" y="537"/>
                </a:lnTo>
                <a:lnTo>
                  <a:pt x="608" y="466"/>
                </a:lnTo>
                <a:lnTo>
                  <a:pt x="788" y="466"/>
                </a:lnTo>
                <a:cubicBezTo>
                  <a:pt x="827" y="466"/>
                  <a:pt x="859" y="416"/>
                  <a:pt x="859" y="376"/>
                </a:cubicBezTo>
                <a:lnTo>
                  <a:pt x="859" y="143"/>
                </a:lnTo>
                <a:lnTo>
                  <a:pt x="0" y="143"/>
                </a:lnTo>
                <a:close/>
                <a:moveTo>
                  <a:pt x="716" y="681"/>
                </a:moveTo>
                <a:lnTo>
                  <a:pt x="143" y="681"/>
                </a:lnTo>
                <a:lnTo>
                  <a:pt x="143" y="502"/>
                </a:lnTo>
                <a:lnTo>
                  <a:pt x="71" y="502"/>
                </a:lnTo>
                <a:lnTo>
                  <a:pt x="71" y="668"/>
                </a:lnTo>
                <a:cubicBezTo>
                  <a:pt x="71" y="704"/>
                  <a:pt x="104" y="752"/>
                  <a:pt x="143" y="752"/>
                </a:cubicBezTo>
                <a:lnTo>
                  <a:pt x="716" y="752"/>
                </a:lnTo>
                <a:cubicBezTo>
                  <a:pt x="755" y="752"/>
                  <a:pt x="787" y="704"/>
                  <a:pt x="787" y="668"/>
                </a:cubicBezTo>
                <a:lnTo>
                  <a:pt x="787" y="502"/>
                </a:lnTo>
                <a:lnTo>
                  <a:pt x="716" y="502"/>
                </a:lnTo>
                <a:lnTo>
                  <a:pt x="716" y="68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4" name="Прямоугольник 23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0" y="6516869"/>
            <a:ext cx="12192000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ГК «Просвещение», 2021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948970" y="108504"/>
            <a:ext cx="245862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ВПР 2021 физика</a:t>
            </a:r>
            <a:endParaRPr kumimoji="0" lang="ru-RU" sz="24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1" name="Рисунок 1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15304" y="855417"/>
            <a:ext cx="6945467" cy="1286985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2" name="Рисунок 1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802572" y="2229488"/>
            <a:ext cx="6972601" cy="1729721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3" name="Рисунок 12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69408" y="4046295"/>
            <a:ext cx="6562725" cy="1447800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4" name="Рисунок 13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802572" y="5586876"/>
            <a:ext cx="6397839" cy="737723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3" name="TextBox 2"/>
          <p:cNvSpPr txBox="1"/>
          <p:nvPr/>
        </p:nvSpPr>
        <p:spPr>
          <a:xfrm>
            <a:off x="4407592" y="159117"/>
            <a:ext cx="97347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7 класс</a:t>
            </a:r>
            <a:endParaRPr kumimoji="0" lang="ru-RU" sz="20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92716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48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cxnSp>
        <p:nvCxnSpPr>
          <p:cNvPr id="68" name="Прямая соединительная линия 67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Freeform 8"/>
          <p:cNvSpPr>
            <a:spLocks/>
          </p:cNvSpPr>
          <p:nvPr/>
        </p:nvSpPr>
        <p:spPr bwMode="auto">
          <a:xfrm>
            <a:off x="7596965" y="3958541"/>
            <a:ext cx="391642" cy="348126"/>
          </a:xfrm>
          <a:custGeom>
            <a:avLst/>
            <a:gdLst>
              <a:gd name="T0" fmla="*/ 860 w 860"/>
              <a:gd name="T1" fmla="*/ 251 h 752"/>
              <a:gd name="T2" fmla="*/ 430 w 860"/>
              <a:gd name="T3" fmla="*/ 0 h 752"/>
              <a:gd name="T4" fmla="*/ 0 w 860"/>
              <a:gd name="T5" fmla="*/ 251 h 752"/>
              <a:gd name="T6" fmla="*/ 144 w 860"/>
              <a:gd name="T7" fmla="*/ 335 h 752"/>
              <a:gd name="T8" fmla="*/ 144 w 860"/>
              <a:gd name="T9" fmla="*/ 476 h 752"/>
              <a:gd name="T10" fmla="*/ 149 w 860"/>
              <a:gd name="T11" fmla="*/ 484 h 752"/>
              <a:gd name="T12" fmla="*/ 430 w 860"/>
              <a:gd name="T13" fmla="*/ 645 h 752"/>
              <a:gd name="T14" fmla="*/ 573 w 860"/>
              <a:gd name="T15" fmla="*/ 611 h 752"/>
              <a:gd name="T16" fmla="*/ 573 w 860"/>
              <a:gd name="T17" fmla="*/ 528 h 752"/>
              <a:gd name="T18" fmla="*/ 430 w 860"/>
              <a:gd name="T19" fmla="*/ 573 h 752"/>
              <a:gd name="T20" fmla="*/ 215 w 860"/>
              <a:gd name="T21" fmla="*/ 456 h 752"/>
              <a:gd name="T22" fmla="*/ 215 w 860"/>
              <a:gd name="T23" fmla="*/ 376 h 752"/>
              <a:gd name="T24" fmla="*/ 430 w 860"/>
              <a:gd name="T25" fmla="*/ 502 h 752"/>
              <a:gd name="T26" fmla="*/ 553 w 860"/>
              <a:gd name="T27" fmla="*/ 430 h 752"/>
              <a:gd name="T28" fmla="*/ 483 w 860"/>
              <a:gd name="T29" fmla="*/ 388 h 752"/>
              <a:gd name="T30" fmla="*/ 430 w 860"/>
              <a:gd name="T31" fmla="*/ 419 h 752"/>
              <a:gd name="T32" fmla="*/ 143 w 860"/>
              <a:gd name="T33" fmla="*/ 251 h 752"/>
              <a:gd name="T34" fmla="*/ 430 w 860"/>
              <a:gd name="T35" fmla="*/ 83 h 752"/>
              <a:gd name="T36" fmla="*/ 718 w 860"/>
              <a:gd name="T37" fmla="*/ 251 h 752"/>
              <a:gd name="T38" fmla="*/ 624 w 860"/>
              <a:gd name="T39" fmla="*/ 306 h 752"/>
              <a:gd name="T40" fmla="*/ 454 w 860"/>
              <a:gd name="T41" fmla="*/ 205 h 752"/>
              <a:gd name="T42" fmla="*/ 391 w 860"/>
              <a:gd name="T43" fmla="*/ 247 h 752"/>
              <a:gd name="T44" fmla="*/ 390 w 860"/>
              <a:gd name="T45" fmla="*/ 250 h 752"/>
              <a:gd name="T46" fmla="*/ 645 w 860"/>
              <a:gd name="T47" fmla="*/ 401 h 752"/>
              <a:gd name="T48" fmla="*/ 645 w 860"/>
              <a:gd name="T49" fmla="*/ 752 h 752"/>
              <a:gd name="T50" fmla="*/ 717 w 860"/>
              <a:gd name="T51" fmla="*/ 752 h 752"/>
              <a:gd name="T52" fmla="*/ 717 w 860"/>
              <a:gd name="T53" fmla="*/ 361 h 752"/>
              <a:gd name="T54" fmla="*/ 694 w 860"/>
              <a:gd name="T55" fmla="*/ 347 h 752"/>
              <a:gd name="T56" fmla="*/ 860 w 860"/>
              <a:gd name="T57" fmla="*/ 25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860" h="752">
                <a:moveTo>
                  <a:pt x="860" y="251"/>
                </a:moveTo>
                <a:lnTo>
                  <a:pt x="430" y="0"/>
                </a:lnTo>
                <a:lnTo>
                  <a:pt x="0" y="251"/>
                </a:lnTo>
                <a:lnTo>
                  <a:pt x="144" y="335"/>
                </a:lnTo>
                <a:lnTo>
                  <a:pt x="144" y="476"/>
                </a:lnTo>
                <a:lnTo>
                  <a:pt x="149" y="484"/>
                </a:lnTo>
                <a:cubicBezTo>
                  <a:pt x="207" y="583"/>
                  <a:pt x="315" y="645"/>
                  <a:pt x="430" y="645"/>
                </a:cubicBezTo>
                <a:cubicBezTo>
                  <a:pt x="481" y="645"/>
                  <a:pt x="529" y="632"/>
                  <a:pt x="573" y="611"/>
                </a:cubicBezTo>
                <a:lnTo>
                  <a:pt x="573" y="528"/>
                </a:lnTo>
                <a:cubicBezTo>
                  <a:pt x="532" y="557"/>
                  <a:pt x="482" y="573"/>
                  <a:pt x="430" y="573"/>
                </a:cubicBezTo>
                <a:cubicBezTo>
                  <a:pt x="343" y="573"/>
                  <a:pt x="262" y="528"/>
                  <a:pt x="215" y="456"/>
                </a:cubicBezTo>
                <a:lnTo>
                  <a:pt x="215" y="376"/>
                </a:lnTo>
                <a:lnTo>
                  <a:pt x="430" y="502"/>
                </a:lnTo>
                <a:lnTo>
                  <a:pt x="553" y="430"/>
                </a:lnTo>
                <a:lnTo>
                  <a:pt x="483" y="388"/>
                </a:lnTo>
                <a:lnTo>
                  <a:pt x="430" y="419"/>
                </a:lnTo>
                <a:lnTo>
                  <a:pt x="143" y="251"/>
                </a:lnTo>
                <a:lnTo>
                  <a:pt x="430" y="83"/>
                </a:lnTo>
                <a:lnTo>
                  <a:pt x="718" y="251"/>
                </a:lnTo>
                <a:lnTo>
                  <a:pt x="624" y="306"/>
                </a:lnTo>
                <a:lnTo>
                  <a:pt x="454" y="205"/>
                </a:lnTo>
                <a:lnTo>
                  <a:pt x="391" y="247"/>
                </a:lnTo>
                <a:lnTo>
                  <a:pt x="390" y="250"/>
                </a:lnTo>
                <a:lnTo>
                  <a:pt x="645" y="401"/>
                </a:lnTo>
                <a:lnTo>
                  <a:pt x="645" y="752"/>
                </a:lnTo>
                <a:lnTo>
                  <a:pt x="717" y="752"/>
                </a:lnTo>
                <a:lnTo>
                  <a:pt x="717" y="361"/>
                </a:lnTo>
                <a:lnTo>
                  <a:pt x="694" y="347"/>
                </a:lnTo>
                <a:lnTo>
                  <a:pt x="860" y="25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7" name="Freeform 10"/>
          <p:cNvSpPr>
            <a:spLocks noEditPoints="1"/>
          </p:cNvSpPr>
          <p:nvPr/>
        </p:nvSpPr>
        <p:spPr bwMode="auto">
          <a:xfrm>
            <a:off x="7614768" y="2782742"/>
            <a:ext cx="391642" cy="346149"/>
          </a:xfrm>
          <a:custGeom>
            <a:avLst/>
            <a:gdLst>
              <a:gd name="T0" fmla="*/ 608 w 859"/>
              <a:gd name="T1" fmla="*/ 0 h 752"/>
              <a:gd name="T2" fmla="*/ 250 w 859"/>
              <a:gd name="T3" fmla="*/ 0 h 752"/>
              <a:gd name="T4" fmla="*/ 250 w 859"/>
              <a:gd name="T5" fmla="*/ 72 h 752"/>
              <a:gd name="T6" fmla="*/ 608 w 859"/>
              <a:gd name="T7" fmla="*/ 72 h 752"/>
              <a:gd name="T8" fmla="*/ 608 w 859"/>
              <a:gd name="T9" fmla="*/ 0 h 752"/>
              <a:gd name="T10" fmla="*/ 608 w 859"/>
              <a:gd name="T11" fmla="*/ 394 h 752"/>
              <a:gd name="T12" fmla="*/ 608 w 859"/>
              <a:gd name="T13" fmla="*/ 322 h 752"/>
              <a:gd name="T14" fmla="*/ 537 w 859"/>
              <a:gd name="T15" fmla="*/ 322 h 752"/>
              <a:gd name="T16" fmla="*/ 537 w 859"/>
              <a:gd name="T17" fmla="*/ 394 h 752"/>
              <a:gd name="T18" fmla="*/ 322 w 859"/>
              <a:gd name="T19" fmla="*/ 394 h 752"/>
              <a:gd name="T20" fmla="*/ 322 w 859"/>
              <a:gd name="T21" fmla="*/ 322 h 752"/>
              <a:gd name="T22" fmla="*/ 250 w 859"/>
              <a:gd name="T23" fmla="*/ 322 h 752"/>
              <a:gd name="T24" fmla="*/ 250 w 859"/>
              <a:gd name="T25" fmla="*/ 394 h 752"/>
              <a:gd name="T26" fmla="*/ 71 w 859"/>
              <a:gd name="T27" fmla="*/ 394 h 752"/>
              <a:gd name="T28" fmla="*/ 71 w 859"/>
              <a:gd name="T29" fmla="*/ 215 h 752"/>
              <a:gd name="T30" fmla="*/ 787 w 859"/>
              <a:gd name="T31" fmla="*/ 215 h 752"/>
              <a:gd name="T32" fmla="*/ 787 w 859"/>
              <a:gd name="T33" fmla="*/ 394 h 752"/>
              <a:gd name="T34" fmla="*/ 608 w 859"/>
              <a:gd name="T35" fmla="*/ 394 h 752"/>
              <a:gd name="T36" fmla="*/ 0 w 859"/>
              <a:gd name="T37" fmla="*/ 143 h 752"/>
              <a:gd name="T38" fmla="*/ 0 w 859"/>
              <a:gd name="T39" fmla="*/ 376 h 752"/>
              <a:gd name="T40" fmla="*/ 71 w 859"/>
              <a:gd name="T41" fmla="*/ 466 h 752"/>
              <a:gd name="T42" fmla="*/ 250 w 859"/>
              <a:gd name="T43" fmla="*/ 466 h 752"/>
              <a:gd name="T44" fmla="*/ 250 w 859"/>
              <a:gd name="T45" fmla="*/ 537 h 752"/>
              <a:gd name="T46" fmla="*/ 322 w 859"/>
              <a:gd name="T47" fmla="*/ 537 h 752"/>
              <a:gd name="T48" fmla="*/ 322 w 859"/>
              <a:gd name="T49" fmla="*/ 466 h 752"/>
              <a:gd name="T50" fmla="*/ 537 w 859"/>
              <a:gd name="T51" fmla="*/ 466 h 752"/>
              <a:gd name="T52" fmla="*/ 537 w 859"/>
              <a:gd name="T53" fmla="*/ 537 h 752"/>
              <a:gd name="T54" fmla="*/ 608 w 859"/>
              <a:gd name="T55" fmla="*/ 537 h 752"/>
              <a:gd name="T56" fmla="*/ 608 w 859"/>
              <a:gd name="T57" fmla="*/ 466 h 752"/>
              <a:gd name="T58" fmla="*/ 788 w 859"/>
              <a:gd name="T59" fmla="*/ 466 h 752"/>
              <a:gd name="T60" fmla="*/ 859 w 859"/>
              <a:gd name="T61" fmla="*/ 376 h 752"/>
              <a:gd name="T62" fmla="*/ 859 w 859"/>
              <a:gd name="T63" fmla="*/ 143 h 752"/>
              <a:gd name="T64" fmla="*/ 0 w 859"/>
              <a:gd name="T65" fmla="*/ 143 h 752"/>
              <a:gd name="T66" fmla="*/ 716 w 859"/>
              <a:gd name="T67" fmla="*/ 681 h 752"/>
              <a:gd name="T68" fmla="*/ 143 w 859"/>
              <a:gd name="T69" fmla="*/ 681 h 752"/>
              <a:gd name="T70" fmla="*/ 143 w 859"/>
              <a:gd name="T71" fmla="*/ 502 h 752"/>
              <a:gd name="T72" fmla="*/ 71 w 859"/>
              <a:gd name="T73" fmla="*/ 502 h 752"/>
              <a:gd name="T74" fmla="*/ 71 w 859"/>
              <a:gd name="T75" fmla="*/ 668 h 752"/>
              <a:gd name="T76" fmla="*/ 143 w 859"/>
              <a:gd name="T77" fmla="*/ 752 h 752"/>
              <a:gd name="T78" fmla="*/ 716 w 859"/>
              <a:gd name="T79" fmla="*/ 752 h 752"/>
              <a:gd name="T80" fmla="*/ 787 w 859"/>
              <a:gd name="T81" fmla="*/ 668 h 752"/>
              <a:gd name="T82" fmla="*/ 787 w 859"/>
              <a:gd name="T83" fmla="*/ 502 h 752"/>
              <a:gd name="T84" fmla="*/ 716 w 859"/>
              <a:gd name="T85" fmla="*/ 502 h 752"/>
              <a:gd name="T86" fmla="*/ 716 w 859"/>
              <a:gd name="T87" fmla="*/ 68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859" h="752">
                <a:moveTo>
                  <a:pt x="608" y="0"/>
                </a:moveTo>
                <a:lnTo>
                  <a:pt x="250" y="0"/>
                </a:lnTo>
                <a:lnTo>
                  <a:pt x="250" y="72"/>
                </a:lnTo>
                <a:lnTo>
                  <a:pt x="608" y="72"/>
                </a:lnTo>
                <a:lnTo>
                  <a:pt x="608" y="0"/>
                </a:lnTo>
                <a:close/>
                <a:moveTo>
                  <a:pt x="608" y="394"/>
                </a:moveTo>
                <a:lnTo>
                  <a:pt x="608" y="322"/>
                </a:lnTo>
                <a:lnTo>
                  <a:pt x="537" y="322"/>
                </a:lnTo>
                <a:lnTo>
                  <a:pt x="537" y="394"/>
                </a:lnTo>
                <a:lnTo>
                  <a:pt x="322" y="394"/>
                </a:lnTo>
                <a:lnTo>
                  <a:pt x="322" y="322"/>
                </a:lnTo>
                <a:lnTo>
                  <a:pt x="250" y="322"/>
                </a:lnTo>
                <a:lnTo>
                  <a:pt x="250" y="394"/>
                </a:lnTo>
                <a:lnTo>
                  <a:pt x="71" y="394"/>
                </a:lnTo>
                <a:lnTo>
                  <a:pt x="71" y="215"/>
                </a:lnTo>
                <a:lnTo>
                  <a:pt x="787" y="215"/>
                </a:lnTo>
                <a:lnTo>
                  <a:pt x="787" y="394"/>
                </a:lnTo>
                <a:lnTo>
                  <a:pt x="608" y="394"/>
                </a:lnTo>
                <a:close/>
                <a:moveTo>
                  <a:pt x="0" y="143"/>
                </a:moveTo>
                <a:lnTo>
                  <a:pt x="0" y="376"/>
                </a:lnTo>
                <a:cubicBezTo>
                  <a:pt x="0" y="416"/>
                  <a:pt x="32" y="466"/>
                  <a:pt x="71" y="466"/>
                </a:cubicBezTo>
                <a:lnTo>
                  <a:pt x="250" y="466"/>
                </a:lnTo>
                <a:lnTo>
                  <a:pt x="250" y="537"/>
                </a:lnTo>
                <a:lnTo>
                  <a:pt x="322" y="537"/>
                </a:lnTo>
                <a:lnTo>
                  <a:pt x="322" y="466"/>
                </a:lnTo>
                <a:lnTo>
                  <a:pt x="537" y="466"/>
                </a:lnTo>
                <a:lnTo>
                  <a:pt x="537" y="537"/>
                </a:lnTo>
                <a:lnTo>
                  <a:pt x="608" y="537"/>
                </a:lnTo>
                <a:lnTo>
                  <a:pt x="608" y="466"/>
                </a:lnTo>
                <a:lnTo>
                  <a:pt x="788" y="466"/>
                </a:lnTo>
                <a:cubicBezTo>
                  <a:pt x="827" y="466"/>
                  <a:pt x="859" y="416"/>
                  <a:pt x="859" y="376"/>
                </a:cubicBezTo>
                <a:lnTo>
                  <a:pt x="859" y="143"/>
                </a:lnTo>
                <a:lnTo>
                  <a:pt x="0" y="143"/>
                </a:lnTo>
                <a:close/>
                <a:moveTo>
                  <a:pt x="716" y="681"/>
                </a:moveTo>
                <a:lnTo>
                  <a:pt x="143" y="681"/>
                </a:lnTo>
                <a:lnTo>
                  <a:pt x="143" y="502"/>
                </a:lnTo>
                <a:lnTo>
                  <a:pt x="71" y="502"/>
                </a:lnTo>
                <a:lnTo>
                  <a:pt x="71" y="668"/>
                </a:lnTo>
                <a:cubicBezTo>
                  <a:pt x="71" y="704"/>
                  <a:pt x="104" y="752"/>
                  <a:pt x="143" y="752"/>
                </a:cubicBezTo>
                <a:lnTo>
                  <a:pt x="716" y="752"/>
                </a:lnTo>
                <a:cubicBezTo>
                  <a:pt x="755" y="752"/>
                  <a:pt x="787" y="704"/>
                  <a:pt x="787" y="668"/>
                </a:cubicBezTo>
                <a:lnTo>
                  <a:pt x="787" y="502"/>
                </a:lnTo>
                <a:lnTo>
                  <a:pt x="716" y="502"/>
                </a:lnTo>
                <a:lnTo>
                  <a:pt x="716" y="68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4" name="Прямоугольник 23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0" y="6516869"/>
            <a:ext cx="12192000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ГК «Просвещение», 2021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948970" y="108504"/>
            <a:ext cx="245862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ВПР 2021 физика</a:t>
            </a:r>
            <a:endParaRPr kumimoji="0" lang="ru-RU" sz="24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5" name="Рисунок 14">
            <a:hlinkClick r:id="rId4" action="ppaction://hlinksldjump"/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15304" y="728008"/>
            <a:ext cx="7900528" cy="1416478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6" name="Рисунок 15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070451" y="2220687"/>
            <a:ext cx="8214313" cy="4125685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7" name="TextBox 16"/>
          <p:cNvSpPr txBox="1"/>
          <p:nvPr/>
        </p:nvSpPr>
        <p:spPr>
          <a:xfrm>
            <a:off x="4407592" y="159117"/>
            <a:ext cx="97347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8</a:t>
            </a: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класс</a:t>
            </a:r>
            <a:endParaRPr kumimoji="0" lang="ru-RU" sz="20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302817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48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cxnSp>
        <p:nvCxnSpPr>
          <p:cNvPr id="68" name="Прямая соединительная линия 67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Freeform 8"/>
          <p:cNvSpPr>
            <a:spLocks/>
          </p:cNvSpPr>
          <p:nvPr/>
        </p:nvSpPr>
        <p:spPr bwMode="auto">
          <a:xfrm>
            <a:off x="7596965" y="3958541"/>
            <a:ext cx="391642" cy="348126"/>
          </a:xfrm>
          <a:custGeom>
            <a:avLst/>
            <a:gdLst>
              <a:gd name="T0" fmla="*/ 860 w 860"/>
              <a:gd name="T1" fmla="*/ 251 h 752"/>
              <a:gd name="T2" fmla="*/ 430 w 860"/>
              <a:gd name="T3" fmla="*/ 0 h 752"/>
              <a:gd name="T4" fmla="*/ 0 w 860"/>
              <a:gd name="T5" fmla="*/ 251 h 752"/>
              <a:gd name="T6" fmla="*/ 144 w 860"/>
              <a:gd name="T7" fmla="*/ 335 h 752"/>
              <a:gd name="T8" fmla="*/ 144 w 860"/>
              <a:gd name="T9" fmla="*/ 476 h 752"/>
              <a:gd name="T10" fmla="*/ 149 w 860"/>
              <a:gd name="T11" fmla="*/ 484 h 752"/>
              <a:gd name="T12" fmla="*/ 430 w 860"/>
              <a:gd name="T13" fmla="*/ 645 h 752"/>
              <a:gd name="T14" fmla="*/ 573 w 860"/>
              <a:gd name="T15" fmla="*/ 611 h 752"/>
              <a:gd name="T16" fmla="*/ 573 w 860"/>
              <a:gd name="T17" fmla="*/ 528 h 752"/>
              <a:gd name="T18" fmla="*/ 430 w 860"/>
              <a:gd name="T19" fmla="*/ 573 h 752"/>
              <a:gd name="T20" fmla="*/ 215 w 860"/>
              <a:gd name="T21" fmla="*/ 456 h 752"/>
              <a:gd name="T22" fmla="*/ 215 w 860"/>
              <a:gd name="T23" fmla="*/ 376 h 752"/>
              <a:gd name="T24" fmla="*/ 430 w 860"/>
              <a:gd name="T25" fmla="*/ 502 h 752"/>
              <a:gd name="T26" fmla="*/ 553 w 860"/>
              <a:gd name="T27" fmla="*/ 430 h 752"/>
              <a:gd name="T28" fmla="*/ 483 w 860"/>
              <a:gd name="T29" fmla="*/ 388 h 752"/>
              <a:gd name="T30" fmla="*/ 430 w 860"/>
              <a:gd name="T31" fmla="*/ 419 h 752"/>
              <a:gd name="T32" fmla="*/ 143 w 860"/>
              <a:gd name="T33" fmla="*/ 251 h 752"/>
              <a:gd name="T34" fmla="*/ 430 w 860"/>
              <a:gd name="T35" fmla="*/ 83 h 752"/>
              <a:gd name="T36" fmla="*/ 718 w 860"/>
              <a:gd name="T37" fmla="*/ 251 h 752"/>
              <a:gd name="T38" fmla="*/ 624 w 860"/>
              <a:gd name="T39" fmla="*/ 306 h 752"/>
              <a:gd name="T40" fmla="*/ 454 w 860"/>
              <a:gd name="T41" fmla="*/ 205 h 752"/>
              <a:gd name="T42" fmla="*/ 391 w 860"/>
              <a:gd name="T43" fmla="*/ 247 h 752"/>
              <a:gd name="T44" fmla="*/ 390 w 860"/>
              <a:gd name="T45" fmla="*/ 250 h 752"/>
              <a:gd name="T46" fmla="*/ 645 w 860"/>
              <a:gd name="T47" fmla="*/ 401 h 752"/>
              <a:gd name="T48" fmla="*/ 645 w 860"/>
              <a:gd name="T49" fmla="*/ 752 h 752"/>
              <a:gd name="T50" fmla="*/ 717 w 860"/>
              <a:gd name="T51" fmla="*/ 752 h 752"/>
              <a:gd name="T52" fmla="*/ 717 w 860"/>
              <a:gd name="T53" fmla="*/ 361 h 752"/>
              <a:gd name="T54" fmla="*/ 694 w 860"/>
              <a:gd name="T55" fmla="*/ 347 h 752"/>
              <a:gd name="T56" fmla="*/ 860 w 860"/>
              <a:gd name="T57" fmla="*/ 25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860" h="752">
                <a:moveTo>
                  <a:pt x="860" y="251"/>
                </a:moveTo>
                <a:lnTo>
                  <a:pt x="430" y="0"/>
                </a:lnTo>
                <a:lnTo>
                  <a:pt x="0" y="251"/>
                </a:lnTo>
                <a:lnTo>
                  <a:pt x="144" y="335"/>
                </a:lnTo>
                <a:lnTo>
                  <a:pt x="144" y="476"/>
                </a:lnTo>
                <a:lnTo>
                  <a:pt x="149" y="484"/>
                </a:lnTo>
                <a:cubicBezTo>
                  <a:pt x="207" y="583"/>
                  <a:pt x="315" y="645"/>
                  <a:pt x="430" y="645"/>
                </a:cubicBezTo>
                <a:cubicBezTo>
                  <a:pt x="481" y="645"/>
                  <a:pt x="529" y="632"/>
                  <a:pt x="573" y="611"/>
                </a:cubicBezTo>
                <a:lnTo>
                  <a:pt x="573" y="528"/>
                </a:lnTo>
                <a:cubicBezTo>
                  <a:pt x="532" y="557"/>
                  <a:pt x="482" y="573"/>
                  <a:pt x="430" y="573"/>
                </a:cubicBezTo>
                <a:cubicBezTo>
                  <a:pt x="343" y="573"/>
                  <a:pt x="262" y="528"/>
                  <a:pt x="215" y="456"/>
                </a:cubicBezTo>
                <a:lnTo>
                  <a:pt x="215" y="376"/>
                </a:lnTo>
                <a:lnTo>
                  <a:pt x="430" y="502"/>
                </a:lnTo>
                <a:lnTo>
                  <a:pt x="553" y="430"/>
                </a:lnTo>
                <a:lnTo>
                  <a:pt x="483" y="388"/>
                </a:lnTo>
                <a:lnTo>
                  <a:pt x="430" y="419"/>
                </a:lnTo>
                <a:lnTo>
                  <a:pt x="143" y="251"/>
                </a:lnTo>
                <a:lnTo>
                  <a:pt x="430" y="83"/>
                </a:lnTo>
                <a:lnTo>
                  <a:pt x="718" y="251"/>
                </a:lnTo>
                <a:lnTo>
                  <a:pt x="624" y="306"/>
                </a:lnTo>
                <a:lnTo>
                  <a:pt x="454" y="205"/>
                </a:lnTo>
                <a:lnTo>
                  <a:pt x="391" y="247"/>
                </a:lnTo>
                <a:lnTo>
                  <a:pt x="390" y="250"/>
                </a:lnTo>
                <a:lnTo>
                  <a:pt x="645" y="401"/>
                </a:lnTo>
                <a:lnTo>
                  <a:pt x="645" y="752"/>
                </a:lnTo>
                <a:lnTo>
                  <a:pt x="717" y="752"/>
                </a:lnTo>
                <a:lnTo>
                  <a:pt x="717" y="361"/>
                </a:lnTo>
                <a:lnTo>
                  <a:pt x="694" y="347"/>
                </a:lnTo>
                <a:lnTo>
                  <a:pt x="860" y="25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7" name="Freeform 10"/>
          <p:cNvSpPr>
            <a:spLocks noEditPoints="1"/>
          </p:cNvSpPr>
          <p:nvPr/>
        </p:nvSpPr>
        <p:spPr bwMode="auto">
          <a:xfrm>
            <a:off x="7614768" y="2782742"/>
            <a:ext cx="391642" cy="346149"/>
          </a:xfrm>
          <a:custGeom>
            <a:avLst/>
            <a:gdLst>
              <a:gd name="T0" fmla="*/ 608 w 859"/>
              <a:gd name="T1" fmla="*/ 0 h 752"/>
              <a:gd name="T2" fmla="*/ 250 w 859"/>
              <a:gd name="T3" fmla="*/ 0 h 752"/>
              <a:gd name="T4" fmla="*/ 250 w 859"/>
              <a:gd name="T5" fmla="*/ 72 h 752"/>
              <a:gd name="T6" fmla="*/ 608 w 859"/>
              <a:gd name="T7" fmla="*/ 72 h 752"/>
              <a:gd name="T8" fmla="*/ 608 w 859"/>
              <a:gd name="T9" fmla="*/ 0 h 752"/>
              <a:gd name="T10" fmla="*/ 608 w 859"/>
              <a:gd name="T11" fmla="*/ 394 h 752"/>
              <a:gd name="T12" fmla="*/ 608 w 859"/>
              <a:gd name="T13" fmla="*/ 322 h 752"/>
              <a:gd name="T14" fmla="*/ 537 w 859"/>
              <a:gd name="T15" fmla="*/ 322 h 752"/>
              <a:gd name="T16" fmla="*/ 537 w 859"/>
              <a:gd name="T17" fmla="*/ 394 h 752"/>
              <a:gd name="T18" fmla="*/ 322 w 859"/>
              <a:gd name="T19" fmla="*/ 394 h 752"/>
              <a:gd name="T20" fmla="*/ 322 w 859"/>
              <a:gd name="T21" fmla="*/ 322 h 752"/>
              <a:gd name="T22" fmla="*/ 250 w 859"/>
              <a:gd name="T23" fmla="*/ 322 h 752"/>
              <a:gd name="T24" fmla="*/ 250 w 859"/>
              <a:gd name="T25" fmla="*/ 394 h 752"/>
              <a:gd name="T26" fmla="*/ 71 w 859"/>
              <a:gd name="T27" fmla="*/ 394 h 752"/>
              <a:gd name="T28" fmla="*/ 71 w 859"/>
              <a:gd name="T29" fmla="*/ 215 h 752"/>
              <a:gd name="T30" fmla="*/ 787 w 859"/>
              <a:gd name="T31" fmla="*/ 215 h 752"/>
              <a:gd name="T32" fmla="*/ 787 w 859"/>
              <a:gd name="T33" fmla="*/ 394 h 752"/>
              <a:gd name="T34" fmla="*/ 608 w 859"/>
              <a:gd name="T35" fmla="*/ 394 h 752"/>
              <a:gd name="T36" fmla="*/ 0 w 859"/>
              <a:gd name="T37" fmla="*/ 143 h 752"/>
              <a:gd name="T38" fmla="*/ 0 w 859"/>
              <a:gd name="T39" fmla="*/ 376 h 752"/>
              <a:gd name="T40" fmla="*/ 71 w 859"/>
              <a:gd name="T41" fmla="*/ 466 h 752"/>
              <a:gd name="T42" fmla="*/ 250 w 859"/>
              <a:gd name="T43" fmla="*/ 466 h 752"/>
              <a:gd name="T44" fmla="*/ 250 w 859"/>
              <a:gd name="T45" fmla="*/ 537 h 752"/>
              <a:gd name="T46" fmla="*/ 322 w 859"/>
              <a:gd name="T47" fmla="*/ 537 h 752"/>
              <a:gd name="T48" fmla="*/ 322 w 859"/>
              <a:gd name="T49" fmla="*/ 466 h 752"/>
              <a:gd name="T50" fmla="*/ 537 w 859"/>
              <a:gd name="T51" fmla="*/ 466 h 752"/>
              <a:gd name="T52" fmla="*/ 537 w 859"/>
              <a:gd name="T53" fmla="*/ 537 h 752"/>
              <a:gd name="T54" fmla="*/ 608 w 859"/>
              <a:gd name="T55" fmla="*/ 537 h 752"/>
              <a:gd name="T56" fmla="*/ 608 w 859"/>
              <a:gd name="T57" fmla="*/ 466 h 752"/>
              <a:gd name="T58" fmla="*/ 788 w 859"/>
              <a:gd name="T59" fmla="*/ 466 h 752"/>
              <a:gd name="T60" fmla="*/ 859 w 859"/>
              <a:gd name="T61" fmla="*/ 376 h 752"/>
              <a:gd name="T62" fmla="*/ 859 w 859"/>
              <a:gd name="T63" fmla="*/ 143 h 752"/>
              <a:gd name="T64" fmla="*/ 0 w 859"/>
              <a:gd name="T65" fmla="*/ 143 h 752"/>
              <a:gd name="T66" fmla="*/ 716 w 859"/>
              <a:gd name="T67" fmla="*/ 681 h 752"/>
              <a:gd name="T68" fmla="*/ 143 w 859"/>
              <a:gd name="T69" fmla="*/ 681 h 752"/>
              <a:gd name="T70" fmla="*/ 143 w 859"/>
              <a:gd name="T71" fmla="*/ 502 h 752"/>
              <a:gd name="T72" fmla="*/ 71 w 859"/>
              <a:gd name="T73" fmla="*/ 502 h 752"/>
              <a:gd name="T74" fmla="*/ 71 w 859"/>
              <a:gd name="T75" fmla="*/ 668 h 752"/>
              <a:gd name="T76" fmla="*/ 143 w 859"/>
              <a:gd name="T77" fmla="*/ 752 h 752"/>
              <a:gd name="T78" fmla="*/ 716 w 859"/>
              <a:gd name="T79" fmla="*/ 752 h 752"/>
              <a:gd name="T80" fmla="*/ 787 w 859"/>
              <a:gd name="T81" fmla="*/ 668 h 752"/>
              <a:gd name="T82" fmla="*/ 787 w 859"/>
              <a:gd name="T83" fmla="*/ 502 h 752"/>
              <a:gd name="T84" fmla="*/ 716 w 859"/>
              <a:gd name="T85" fmla="*/ 502 h 752"/>
              <a:gd name="T86" fmla="*/ 716 w 859"/>
              <a:gd name="T87" fmla="*/ 68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859" h="752">
                <a:moveTo>
                  <a:pt x="608" y="0"/>
                </a:moveTo>
                <a:lnTo>
                  <a:pt x="250" y="0"/>
                </a:lnTo>
                <a:lnTo>
                  <a:pt x="250" y="72"/>
                </a:lnTo>
                <a:lnTo>
                  <a:pt x="608" y="72"/>
                </a:lnTo>
                <a:lnTo>
                  <a:pt x="608" y="0"/>
                </a:lnTo>
                <a:close/>
                <a:moveTo>
                  <a:pt x="608" y="394"/>
                </a:moveTo>
                <a:lnTo>
                  <a:pt x="608" y="322"/>
                </a:lnTo>
                <a:lnTo>
                  <a:pt x="537" y="322"/>
                </a:lnTo>
                <a:lnTo>
                  <a:pt x="537" y="394"/>
                </a:lnTo>
                <a:lnTo>
                  <a:pt x="322" y="394"/>
                </a:lnTo>
                <a:lnTo>
                  <a:pt x="322" y="322"/>
                </a:lnTo>
                <a:lnTo>
                  <a:pt x="250" y="322"/>
                </a:lnTo>
                <a:lnTo>
                  <a:pt x="250" y="394"/>
                </a:lnTo>
                <a:lnTo>
                  <a:pt x="71" y="394"/>
                </a:lnTo>
                <a:lnTo>
                  <a:pt x="71" y="215"/>
                </a:lnTo>
                <a:lnTo>
                  <a:pt x="787" y="215"/>
                </a:lnTo>
                <a:lnTo>
                  <a:pt x="787" y="394"/>
                </a:lnTo>
                <a:lnTo>
                  <a:pt x="608" y="394"/>
                </a:lnTo>
                <a:close/>
                <a:moveTo>
                  <a:pt x="0" y="143"/>
                </a:moveTo>
                <a:lnTo>
                  <a:pt x="0" y="376"/>
                </a:lnTo>
                <a:cubicBezTo>
                  <a:pt x="0" y="416"/>
                  <a:pt x="32" y="466"/>
                  <a:pt x="71" y="466"/>
                </a:cubicBezTo>
                <a:lnTo>
                  <a:pt x="250" y="466"/>
                </a:lnTo>
                <a:lnTo>
                  <a:pt x="250" y="537"/>
                </a:lnTo>
                <a:lnTo>
                  <a:pt x="322" y="537"/>
                </a:lnTo>
                <a:lnTo>
                  <a:pt x="322" y="466"/>
                </a:lnTo>
                <a:lnTo>
                  <a:pt x="537" y="466"/>
                </a:lnTo>
                <a:lnTo>
                  <a:pt x="537" y="537"/>
                </a:lnTo>
                <a:lnTo>
                  <a:pt x="608" y="537"/>
                </a:lnTo>
                <a:lnTo>
                  <a:pt x="608" y="466"/>
                </a:lnTo>
                <a:lnTo>
                  <a:pt x="788" y="466"/>
                </a:lnTo>
                <a:cubicBezTo>
                  <a:pt x="827" y="466"/>
                  <a:pt x="859" y="416"/>
                  <a:pt x="859" y="376"/>
                </a:cubicBezTo>
                <a:lnTo>
                  <a:pt x="859" y="143"/>
                </a:lnTo>
                <a:lnTo>
                  <a:pt x="0" y="143"/>
                </a:lnTo>
                <a:close/>
                <a:moveTo>
                  <a:pt x="716" y="681"/>
                </a:moveTo>
                <a:lnTo>
                  <a:pt x="143" y="681"/>
                </a:lnTo>
                <a:lnTo>
                  <a:pt x="143" y="502"/>
                </a:lnTo>
                <a:lnTo>
                  <a:pt x="71" y="502"/>
                </a:lnTo>
                <a:lnTo>
                  <a:pt x="71" y="668"/>
                </a:lnTo>
                <a:cubicBezTo>
                  <a:pt x="71" y="704"/>
                  <a:pt x="104" y="752"/>
                  <a:pt x="143" y="752"/>
                </a:cubicBezTo>
                <a:lnTo>
                  <a:pt x="716" y="752"/>
                </a:lnTo>
                <a:cubicBezTo>
                  <a:pt x="755" y="752"/>
                  <a:pt x="787" y="704"/>
                  <a:pt x="787" y="668"/>
                </a:cubicBezTo>
                <a:lnTo>
                  <a:pt x="787" y="502"/>
                </a:lnTo>
                <a:lnTo>
                  <a:pt x="716" y="502"/>
                </a:lnTo>
                <a:lnTo>
                  <a:pt x="716" y="68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4" name="Прямоугольник 23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0" y="6516869"/>
            <a:ext cx="12192000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ГК «Просвещение», 2021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931718" y="108504"/>
            <a:ext cx="472725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ОЦЕНОЧНЫЕ МЕРОПРИЯТИЯ 2021</a:t>
            </a:r>
            <a:endParaRPr kumimoji="0" lang="ru-RU" sz="24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Овал 5"/>
          <p:cNvSpPr/>
          <p:nvPr/>
        </p:nvSpPr>
        <p:spPr>
          <a:xfrm>
            <a:off x="983411" y="1155940"/>
            <a:ext cx="2518914" cy="1216324"/>
          </a:xfrm>
          <a:prstGeom prst="ellipse">
            <a:avLst/>
          </a:prstGeom>
          <a:solidFill>
            <a:schemeClr val="bg1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7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ОГЭ</a:t>
            </a:r>
            <a:endParaRPr kumimoji="0" lang="ru-RU" sz="72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1" name="Овал 20"/>
          <p:cNvSpPr/>
          <p:nvPr/>
        </p:nvSpPr>
        <p:spPr>
          <a:xfrm>
            <a:off x="7450346" y="1155940"/>
            <a:ext cx="2737450" cy="1216324"/>
          </a:xfrm>
          <a:prstGeom prst="ellipse">
            <a:avLst/>
          </a:prstGeom>
          <a:solidFill>
            <a:schemeClr val="bg1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7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ЕГЭ</a:t>
            </a:r>
            <a:endParaRPr kumimoji="0" lang="ru-RU" sz="72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2" name="Овал 21"/>
          <p:cNvSpPr/>
          <p:nvPr/>
        </p:nvSpPr>
        <p:spPr>
          <a:xfrm>
            <a:off x="983410" y="3836404"/>
            <a:ext cx="2518915" cy="1216324"/>
          </a:xfrm>
          <a:prstGeom prst="ellipse">
            <a:avLst/>
          </a:prstGeom>
          <a:solidFill>
            <a:schemeClr val="bg1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7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ВПР</a:t>
            </a:r>
            <a:endParaRPr kumimoji="0" lang="ru-RU" sz="72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3" name="Овал 22"/>
          <p:cNvSpPr/>
          <p:nvPr/>
        </p:nvSpPr>
        <p:spPr>
          <a:xfrm>
            <a:off x="7450346" y="3836404"/>
            <a:ext cx="2737450" cy="1216324"/>
          </a:xfrm>
          <a:prstGeom prst="ellipse">
            <a:avLst/>
          </a:prstGeom>
          <a:solidFill>
            <a:schemeClr val="bg1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ISA</a:t>
            </a:r>
            <a:endParaRPr kumimoji="0" lang="ru-RU" sz="72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25" name="Рисунок 24">
            <a:hlinkClick r:id="rId4" action="ppaction://hlinksldjump"/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9398" y="1083363"/>
            <a:ext cx="3628923" cy="5133170"/>
          </a:xfrm>
          <a:prstGeom prst="rect">
            <a:avLst/>
          </a:prstGeom>
        </p:spPr>
      </p:pic>
      <p:pic>
        <p:nvPicPr>
          <p:cNvPr id="26" name="Picture 3" descr="Y:\Мои файлы\ЦНО_Разные материалы\Стрелочка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4419655">
            <a:off x="6327704" y="599174"/>
            <a:ext cx="792482" cy="17816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" name="Picture 3" descr="Y:\Мои файлы\ЦНО_Разные материалы\Стрелочка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5966205">
            <a:off x="6467259" y="2808627"/>
            <a:ext cx="792482" cy="17816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" name="Picture 3" descr="Y:\Мои файлы\ЦНО_Разные материалы\Стрелочка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7861988" flipV="1">
            <a:off x="3797637" y="649975"/>
            <a:ext cx="792482" cy="16179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" name="Picture 3" descr="Y:\Мои файлы\ЦНО_Разные материалы\Стрелочка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6441745" flipV="1">
            <a:off x="3715522" y="2852821"/>
            <a:ext cx="792482" cy="16989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7577097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0" dur="2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6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5" dur="20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8" dur="20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6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3" dur="20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6" dur="20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6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31" dur="20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34" dur="20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21" grpId="0" animBg="1"/>
      <p:bldP spid="22" grpId="0" animBg="1"/>
      <p:bldP spid="23" grpId="0" animBg="1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48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cxnSp>
        <p:nvCxnSpPr>
          <p:cNvPr id="68" name="Прямая соединительная линия 67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Freeform 8"/>
          <p:cNvSpPr>
            <a:spLocks/>
          </p:cNvSpPr>
          <p:nvPr/>
        </p:nvSpPr>
        <p:spPr bwMode="auto">
          <a:xfrm>
            <a:off x="7596965" y="3958541"/>
            <a:ext cx="391642" cy="348126"/>
          </a:xfrm>
          <a:custGeom>
            <a:avLst/>
            <a:gdLst>
              <a:gd name="T0" fmla="*/ 860 w 860"/>
              <a:gd name="T1" fmla="*/ 251 h 752"/>
              <a:gd name="T2" fmla="*/ 430 w 860"/>
              <a:gd name="T3" fmla="*/ 0 h 752"/>
              <a:gd name="T4" fmla="*/ 0 w 860"/>
              <a:gd name="T5" fmla="*/ 251 h 752"/>
              <a:gd name="T6" fmla="*/ 144 w 860"/>
              <a:gd name="T7" fmla="*/ 335 h 752"/>
              <a:gd name="T8" fmla="*/ 144 w 860"/>
              <a:gd name="T9" fmla="*/ 476 h 752"/>
              <a:gd name="T10" fmla="*/ 149 w 860"/>
              <a:gd name="T11" fmla="*/ 484 h 752"/>
              <a:gd name="T12" fmla="*/ 430 w 860"/>
              <a:gd name="T13" fmla="*/ 645 h 752"/>
              <a:gd name="T14" fmla="*/ 573 w 860"/>
              <a:gd name="T15" fmla="*/ 611 h 752"/>
              <a:gd name="T16" fmla="*/ 573 w 860"/>
              <a:gd name="T17" fmla="*/ 528 h 752"/>
              <a:gd name="T18" fmla="*/ 430 w 860"/>
              <a:gd name="T19" fmla="*/ 573 h 752"/>
              <a:gd name="T20" fmla="*/ 215 w 860"/>
              <a:gd name="T21" fmla="*/ 456 h 752"/>
              <a:gd name="T22" fmla="*/ 215 w 860"/>
              <a:gd name="T23" fmla="*/ 376 h 752"/>
              <a:gd name="T24" fmla="*/ 430 w 860"/>
              <a:gd name="T25" fmla="*/ 502 h 752"/>
              <a:gd name="T26" fmla="*/ 553 w 860"/>
              <a:gd name="T27" fmla="*/ 430 h 752"/>
              <a:gd name="T28" fmla="*/ 483 w 860"/>
              <a:gd name="T29" fmla="*/ 388 h 752"/>
              <a:gd name="T30" fmla="*/ 430 w 860"/>
              <a:gd name="T31" fmla="*/ 419 h 752"/>
              <a:gd name="T32" fmla="*/ 143 w 860"/>
              <a:gd name="T33" fmla="*/ 251 h 752"/>
              <a:gd name="T34" fmla="*/ 430 w 860"/>
              <a:gd name="T35" fmla="*/ 83 h 752"/>
              <a:gd name="T36" fmla="*/ 718 w 860"/>
              <a:gd name="T37" fmla="*/ 251 h 752"/>
              <a:gd name="T38" fmla="*/ 624 w 860"/>
              <a:gd name="T39" fmla="*/ 306 h 752"/>
              <a:gd name="T40" fmla="*/ 454 w 860"/>
              <a:gd name="T41" fmla="*/ 205 h 752"/>
              <a:gd name="T42" fmla="*/ 391 w 860"/>
              <a:gd name="T43" fmla="*/ 247 h 752"/>
              <a:gd name="T44" fmla="*/ 390 w 860"/>
              <a:gd name="T45" fmla="*/ 250 h 752"/>
              <a:gd name="T46" fmla="*/ 645 w 860"/>
              <a:gd name="T47" fmla="*/ 401 h 752"/>
              <a:gd name="T48" fmla="*/ 645 w 860"/>
              <a:gd name="T49" fmla="*/ 752 h 752"/>
              <a:gd name="T50" fmla="*/ 717 w 860"/>
              <a:gd name="T51" fmla="*/ 752 h 752"/>
              <a:gd name="T52" fmla="*/ 717 w 860"/>
              <a:gd name="T53" fmla="*/ 361 h 752"/>
              <a:gd name="T54" fmla="*/ 694 w 860"/>
              <a:gd name="T55" fmla="*/ 347 h 752"/>
              <a:gd name="T56" fmla="*/ 860 w 860"/>
              <a:gd name="T57" fmla="*/ 25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860" h="752">
                <a:moveTo>
                  <a:pt x="860" y="251"/>
                </a:moveTo>
                <a:lnTo>
                  <a:pt x="430" y="0"/>
                </a:lnTo>
                <a:lnTo>
                  <a:pt x="0" y="251"/>
                </a:lnTo>
                <a:lnTo>
                  <a:pt x="144" y="335"/>
                </a:lnTo>
                <a:lnTo>
                  <a:pt x="144" y="476"/>
                </a:lnTo>
                <a:lnTo>
                  <a:pt x="149" y="484"/>
                </a:lnTo>
                <a:cubicBezTo>
                  <a:pt x="207" y="583"/>
                  <a:pt x="315" y="645"/>
                  <a:pt x="430" y="645"/>
                </a:cubicBezTo>
                <a:cubicBezTo>
                  <a:pt x="481" y="645"/>
                  <a:pt x="529" y="632"/>
                  <a:pt x="573" y="611"/>
                </a:cubicBezTo>
                <a:lnTo>
                  <a:pt x="573" y="528"/>
                </a:lnTo>
                <a:cubicBezTo>
                  <a:pt x="532" y="557"/>
                  <a:pt x="482" y="573"/>
                  <a:pt x="430" y="573"/>
                </a:cubicBezTo>
                <a:cubicBezTo>
                  <a:pt x="343" y="573"/>
                  <a:pt x="262" y="528"/>
                  <a:pt x="215" y="456"/>
                </a:cubicBezTo>
                <a:lnTo>
                  <a:pt x="215" y="376"/>
                </a:lnTo>
                <a:lnTo>
                  <a:pt x="430" y="502"/>
                </a:lnTo>
                <a:lnTo>
                  <a:pt x="553" y="430"/>
                </a:lnTo>
                <a:lnTo>
                  <a:pt x="483" y="388"/>
                </a:lnTo>
                <a:lnTo>
                  <a:pt x="430" y="419"/>
                </a:lnTo>
                <a:lnTo>
                  <a:pt x="143" y="251"/>
                </a:lnTo>
                <a:lnTo>
                  <a:pt x="430" y="83"/>
                </a:lnTo>
                <a:lnTo>
                  <a:pt x="718" y="251"/>
                </a:lnTo>
                <a:lnTo>
                  <a:pt x="624" y="306"/>
                </a:lnTo>
                <a:lnTo>
                  <a:pt x="454" y="205"/>
                </a:lnTo>
                <a:lnTo>
                  <a:pt x="391" y="247"/>
                </a:lnTo>
                <a:lnTo>
                  <a:pt x="390" y="250"/>
                </a:lnTo>
                <a:lnTo>
                  <a:pt x="645" y="401"/>
                </a:lnTo>
                <a:lnTo>
                  <a:pt x="645" y="752"/>
                </a:lnTo>
                <a:lnTo>
                  <a:pt x="717" y="752"/>
                </a:lnTo>
                <a:lnTo>
                  <a:pt x="717" y="361"/>
                </a:lnTo>
                <a:lnTo>
                  <a:pt x="694" y="347"/>
                </a:lnTo>
                <a:lnTo>
                  <a:pt x="860" y="25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7" name="Freeform 10"/>
          <p:cNvSpPr>
            <a:spLocks noEditPoints="1"/>
          </p:cNvSpPr>
          <p:nvPr/>
        </p:nvSpPr>
        <p:spPr bwMode="auto">
          <a:xfrm>
            <a:off x="7614768" y="2782742"/>
            <a:ext cx="391642" cy="346149"/>
          </a:xfrm>
          <a:custGeom>
            <a:avLst/>
            <a:gdLst>
              <a:gd name="T0" fmla="*/ 608 w 859"/>
              <a:gd name="T1" fmla="*/ 0 h 752"/>
              <a:gd name="T2" fmla="*/ 250 w 859"/>
              <a:gd name="T3" fmla="*/ 0 h 752"/>
              <a:gd name="T4" fmla="*/ 250 w 859"/>
              <a:gd name="T5" fmla="*/ 72 h 752"/>
              <a:gd name="T6" fmla="*/ 608 w 859"/>
              <a:gd name="T7" fmla="*/ 72 h 752"/>
              <a:gd name="T8" fmla="*/ 608 w 859"/>
              <a:gd name="T9" fmla="*/ 0 h 752"/>
              <a:gd name="T10" fmla="*/ 608 w 859"/>
              <a:gd name="T11" fmla="*/ 394 h 752"/>
              <a:gd name="T12" fmla="*/ 608 w 859"/>
              <a:gd name="T13" fmla="*/ 322 h 752"/>
              <a:gd name="T14" fmla="*/ 537 w 859"/>
              <a:gd name="T15" fmla="*/ 322 h 752"/>
              <a:gd name="T16" fmla="*/ 537 w 859"/>
              <a:gd name="T17" fmla="*/ 394 h 752"/>
              <a:gd name="T18" fmla="*/ 322 w 859"/>
              <a:gd name="T19" fmla="*/ 394 h 752"/>
              <a:gd name="T20" fmla="*/ 322 w 859"/>
              <a:gd name="T21" fmla="*/ 322 h 752"/>
              <a:gd name="T22" fmla="*/ 250 w 859"/>
              <a:gd name="T23" fmla="*/ 322 h 752"/>
              <a:gd name="T24" fmla="*/ 250 w 859"/>
              <a:gd name="T25" fmla="*/ 394 h 752"/>
              <a:gd name="T26" fmla="*/ 71 w 859"/>
              <a:gd name="T27" fmla="*/ 394 h 752"/>
              <a:gd name="T28" fmla="*/ 71 w 859"/>
              <a:gd name="T29" fmla="*/ 215 h 752"/>
              <a:gd name="T30" fmla="*/ 787 w 859"/>
              <a:gd name="T31" fmla="*/ 215 h 752"/>
              <a:gd name="T32" fmla="*/ 787 w 859"/>
              <a:gd name="T33" fmla="*/ 394 h 752"/>
              <a:gd name="T34" fmla="*/ 608 w 859"/>
              <a:gd name="T35" fmla="*/ 394 h 752"/>
              <a:gd name="T36" fmla="*/ 0 w 859"/>
              <a:gd name="T37" fmla="*/ 143 h 752"/>
              <a:gd name="T38" fmla="*/ 0 w 859"/>
              <a:gd name="T39" fmla="*/ 376 h 752"/>
              <a:gd name="T40" fmla="*/ 71 w 859"/>
              <a:gd name="T41" fmla="*/ 466 h 752"/>
              <a:gd name="T42" fmla="*/ 250 w 859"/>
              <a:gd name="T43" fmla="*/ 466 h 752"/>
              <a:gd name="T44" fmla="*/ 250 w 859"/>
              <a:gd name="T45" fmla="*/ 537 h 752"/>
              <a:gd name="T46" fmla="*/ 322 w 859"/>
              <a:gd name="T47" fmla="*/ 537 h 752"/>
              <a:gd name="T48" fmla="*/ 322 w 859"/>
              <a:gd name="T49" fmla="*/ 466 h 752"/>
              <a:gd name="T50" fmla="*/ 537 w 859"/>
              <a:gd name="T51" fmla="*/ 466 h 752"/>
              <a:gd name="T52" fmla="*/ 537 w 859"/>
              <a:gd name="T53" fmla="*/ 537 h 752"/>
              <a:gd name="T54" fmla="*/ 608 w 859"/>
              <a:gd name="T55" fmla="*/ 537 h 752"/>
              <a:gd name="T56" fmla="*/ 608 w 859"/>
              <a:gd name="T57" fmla="*/ 466 h 752"/>
              <a:gd name="T58" fmla="*/ 788 w 859"/>
              <a:gd name="T59" fmla="*/ 466 h 752"/>
              <a:gd name="T60" fmla="*/ 859 w 859"/>
              <a:gd name="T61" fmla="*/ 376 h 752"/>
              <a:gd name="T62" fmla="*/ 859 w 859"/>
              <a:gd name="T63" fmla="*/ 143 h 752"/>
              <a:gd name="T64" fmla="*/ 0 w 859"/>
              <a:gd name="T65" fmla="*/ 143 h 752"/>
              <a:gd name="T66" fmla="*/ 716 w 859"/>
              <a:gd name="T67" fmla="*/ 681 h 752"/>
              <a:gd name="T68" fmla="*/ 143 w 859"/>
              <a:gd name="T69" fmla="*/ 681 h 752"/>
              <a:gd name="T70" fmla="*/ 143 w 859"/>
              <a:gd name="T71" fmla="*/ 502 h 752"/>
              <a:gd name="T72" fmla="*/ 71 w 859"/>
              <a:gd name="T73" fmla="*/ 502 h 752"/>
              <a:gd name="T74" fmla="*/ 71 w 859"/>
              <a:gd name="T75" fmla="*/ 668 h 752"/>
              <a:gd name="T76" fmla="*/ 143 w 859"/>
              <a:gd name="T77" fmla="*/ 752 h 752"/>
              <a:gd name="T78" fmla="*/ 716 w 859"/>
              <a:gd name="T79" fmla="*/ 752 h 752"/>
              <a:gd name="T80" fmla="*/ 787 w 859"/>
              <a:gd name="T81" fmla="*/ 668 h 752"/>
              <a:gd name="T82" fmla="*/ 787 w 859"/>
              <a:gd name="T83" fmla="*/ 502 h 752"/>
              <a:gd name="T84" fmla="*/ 716 w 859"/>
              <a:gd name="T85" fmla="*/ 502 h 752"/>
              <a:gd name="T86" fmla="*/ 716 w 859"/>
              <a:gd name="T87" fmla="*/ 68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859" h="752">
                <a:moveTo>
                  <a:pt x="608" y="0"/>
                </a:moveTo>
                <a:lnTo>
                  <a:pt x="250" y="0"/>
                </a:lnTo>
                <a:lnTo>
                  <a:pt x="250" y="72"/>
                </a:lnTo>
                <a:lnTo>
                  <a:pt x="608" y="72"/>
                </a:lnTo>
                <a:lnTo>
                  <a:pt x="608" y="0"/>
                </a:lnTo>
                <a:close/>
                <a:moveTo>
                  <a:pt x="608" y="394"/>
                </a:moveTo>
                <a:lnTo>
                  <a:pt x="608" y="322"/>
                </a:lnTo>
                <a:lnTo>
                  <a:pt x="537" y="322"/>
                </a:lnTo>
                <a:lnTo>
                  <a:pt x="537" y="394"/>
                </a:lnTo>
                <a:lnTo>
                  <a:pt x="322" y="394"/>
                </a:lnTo>
                <a:lnTo>
                  <a:pt x="322" y="322"/>
                </a:lnTo>
                <a:lnTo>
                  <a:pt x="250" y="322"/>
                </a:lnTo>
                <a:lnTo>
                  <a:pt x="250" y="394"/>
                </a:lnTo>
                <a:lnTo>
                  <a:pt x="71" y="394"/>
                </a:lnTo>
                <a:lnTo>
                  <a:pt x="71" y="215"/>
                </a:lnTo>
                <a:lnTo>
                  <a:pt x="787" y="215"/>
                </a:lnTo>
                <a:lnTo>
                  <a:pt x="787" y="394"/>
                </a:lnTo>
                <a:lnTo>
                  <a:pt x="608" y="394"/>
                </a:lnTo>
                <a:close/>
                <a:moveTo>
                  <a:pt x="0" y="143"/>
                </a:moveTo>
                <a:lnTo>
                  <a:pt x="0" y="376"/>
                </a:lnTo>
                <a:cubicBezTo>
                  <a:pt x="0" y="416"/>
                  <a:pt x="32" y="466"/>
                  <a:pt x="71" y="466"/>
                </a:cubicBezTo>
                <a:lnTo>
                  <a:pt x="250" y="466"/>
                </a:lnTo>
                <a:lnTo>
                  <a:pt x="250" y="537"/>
                </a:lnTo>
                <a:lnTo>
                  <a:pt x="322" y="537"/>
                </a:lnTo>
                <a:lnTo>
                  <a:pt x="322" y="466"/>
                </a:lnTo>
                <a:lnTo>
                  <a:pt x="537" y="466"/>
                </a:lnTo>
                <a:lnTo>
                  <a:pt x="537" y="537"/>
                </a:lnTo>
                <a:lnTo>
                  <a:pt x="608" y="537"/>
                </a:lnTo>
                <a:lnTo>
                  <a:pt x="608" y="466"/>
                </a:lnTo>
                <a:lnTo>
                  <a:pt x="788" y="466"/>
                </a:lnTo>
                <a:cubicBezTo>
                  <a:pt x="827" y="466"/>
                  <a:pt x="859" y="416"/>
                  <a:pt x="859" y="376"/>
                </a:cubicBezTo>
                <a:lnTo>
                  <a:pt x="859" y="143"/>
                </a:lnTo>
                <a:lnTo>
                  <a:pt x="0" y="143"/>
                </a:lnTo>
                <a:close/>
                <a:moveTo>
                  <a:pt x="716" y="681"/>
                </a:moveTo>
                <a:lnTo>
                  <a:pt x="143" y="681"/>
                </a:lnTo>
                <a:lnTo>
                  <a:pt x="143" y="502"/>
                </a:lnTo>
                <a:lnTo>
                  <a:pt x="71" y="502"/>
                </a:lnTo>
                <a:lnTo>
                  <a:pt x="71" y="668"/>
                </a:lnTo>
                <a:cubicBezTo>
                  <a:pt x="71" y="704"/>
                  <a:pt x="104" y="752"/>
                  <a:pt x="143" y="752"/>
                </a:cubicBezTo>
                <a:lnTo>
                  <a:pt x="716" y="752"/>
                </a:lnTo>
                <a:cubicBezTo>
                  <a:pt x="755" y="752"/>
                  <a:pt x="787" y="704"/>
                  <a:pt x="787" y="668"/>
                </a:cubicBezTo>
                <a:lnTo>
                  <a:pt x="787" y="502"/>
                </a:lnTo>
                <a:lnTo>
                  <a:pt x="716" y="502"/>
                </a:lnTo>
                <a:lnTo>
                  <a:pt x="716" y="68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4" name="Прямоугольник 23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0" y="6516869"/>
            <a:ext cx="12192000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ГК «Просвещение», 2021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948970" y="108504"/>
            <a:ext cx="144885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ISA 2021</a:t>
            </a:r>
            <a:endParaRPr kumimoji="0" lang="ru-RU" sz="24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aphicFrame>
        <p:nvGraphicFramePr>
          <p:cNvPr id="11" name="Диаграмма 10"/>
          <p:cNvGraphicFramePr>
            <a:graphicFrameLocks/>
          </p:cNvGraphicFramePr>
          <p:nvPr>
            <p:extLst/>
          </p:nvPr>
        </p:nvGraphicFramePr>
        <p:xfrm>
          <a:off x="1569875" y="1083522"/>
          <a:ext cx="8201522" cy="54333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2" name="Стрелка: пятиугольник 27">
            <a:extLst>
              <a:ext uri="{FF2B5EF4-FFF2-40B4-BE49-F238E27FC236}">
                <a16:creationId xmlns:a16="http://schemas.microsoft.com/office/drawing/2014/main" id="{39050F66-3963-498A-9692-341E39573DA0}"/>
              </a:ext>
            </a:extLst>
          </p:cNvPr>
          <p:cNvSpPr/>
          <p:nvPr/>
        </p:nvSpPr>
        <p:spPr>
          <a:xfrm>
            <a:off x="355555" y="1453488"/>
            <a:ext cx="3598333" cy="943512"/>
          </a:xfrm>
          <a:prstGeom prst="homePlate">
            <a:avLst>
              <a:gd name="adj" fmla="val 28766"/>
            </a:avLst>
          </a:prstGeom>
          <a:solidFill>
            <a:srgbClr val="E7E6E6">
              <a:lumMod val="5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Ведущий компонент в </a:t>
            </a:r>
            <a:r>
              <a:rPr kumimoji="0" lang="ru-RU" sz="18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202</a:t>
            </a:r>
            <a:r>
              <a:rPr kumimoji="0" lang="en-US" sz="18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2</a:t>
            </a:r>
            <a:r>
              <a:rPr kumimoji="0" lang="ru-RU" sz="18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 </a:t>
            </a:r>
            <a:r>
              <a:rPr kumimoji="0" lang="ru-RU" sz="18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г. </a:t>
            </a:r>
            <a:endParaRPr kumimoji="0" lang="ru-RU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Open Sans Light" panose="020B0306030504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Стрелка: пятиугольник 27">
            <a:extLst>
              <a:ext uri="{FF2B5EF4-FFF2-40B4-BE49-F238E27FC236}">
                <a16:creationId xmlns:a16="http://schemas.microsoft.com/office/drawing/2014/main" id="{39050F66-3963-498A-9692-341E39573DA0}"/>
              </a:ext>
            </a:extLst>
          </p:cNvPr>
          <p:cNvSpPr/>
          <p:nvPr/>
        </p:nvSpPr>
        <p:spPr>
          <a:xfrm>
            <a:off x="160822" y="4072426"/>
            <a:ext cx="3364379" cy="943512"/>
          </a:xfrm>
          <a:prstGeom prst="homePlate">
            <a:avLst>
              <a:gd name="adj" fmla="val 28766"/>
            </a:avLst>
          </a:prstGeom>
          <a:solidFill>
            <a:srgbClr val="E7E6E6">
              <a:lumMod val="5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Ведущий компонент в </a:t>
            </a:r>
            <a:r>
              <a:rPr kumimoji="0" lang="ru-RU" sz="16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2024 г.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Участвуют сегодняшние </a:t>
            </a:r>
            <a:r>
              <a:rPr kumimoji="0" lang="ru-RU" sz="16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пятиклассники</a:t>
            </a:r>
          </a:p>
        </p:txBody>
      </p:sp>
      <p:sp>
        <p:nvSpPr>
          <p:cNvPr id="14" name="Стрелка: пятиугольник 27">
            <a:hlinkClick r:id="rId5" action="ppaction://hlinksldjump"/>
            <a:extLst>
              <a:ext uri="{FF2B5EF4-FFF2-40B4-BE49-F238E27FC236}">
                <a16:creationId xmlns:a16="http://schemas.microsoft.com/office/drawing/2014/main" id="{39050F66-3963-498A-9692-341E39573DA0}"/>
              </a:ext>
            </a:extLst>
          </p:cNvPr>
          <p:cNvSpPr/>
          <p:nvPr/>
        </p:nvSpPr>
        <p:spPr>
          <a:xfrm flipH="1">
            <a:off x="8150604" y="3623258"/>
            <a:ext cx="3881582" cy="943512"/>
          </a:xfrm>
          <a:prstGeom prst="homePlate">
            <a:avLst>
              <a:gd name="adj" fmla="val 28766"/>
            </a:avLst>
          </a:prstGeom>
          <a:solidFill>
            <a:srgbClr val="E7E6E6">
              <a:lumMod val="5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Ведущий компонент в</a:t>
            </a:r>
            <a:r>
              <a:rPr kumimoji="0" lang="ru-RU" sz="18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 </a:t>
            </a:r>
            <a:r>
              <a:rPr kumimoji="0" lang="ru-RU" sz="18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202</a:t>
            </a:r>
            <a:r>
              <a:rPr kumimoji="0" lang="en-US" sz="18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2</a:t>
            </a:r>
            <a:r>
              <a:rPr kumimoji="0" lang="ru-RU" sz="18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 </a:t>
            </a:r>
            <a:r>
              <a: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г. Участвуют сегодняшние </a:t>
            </a:r>
            <a:r>
              <a:rPr kumimoji="0" lang="ru-RU" sz="18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восьмиклассники</a:t>
            </a:r>
          </a:p>
        </p:txBody>
      </p:sp>
      <p:sp>
        <p:nvSpPr>
          <p:cNvPr id="17" name="Прямоугольник 16"/>
          <p:cNvSpPr/>
          <p:nvPr/>
        </p:nvSpPr>
        <p:spPr>
          <a:xfrm>
            <a:off x="3292843" y="1830054"/>
            <a:ext cx="2445471" cy="14465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Креативное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Мышление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Open Sans Light" panose="020B0306030504020204" pitchFamily="34" charset="0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Разрешение  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проблем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Глобальные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компетенции </a:t>
            </a:r>
          </a:p>
        </p:txBody>
      </p:sp>
      <p:sp>
        <p:nvSpPr>
          <p:cNvPr id="18" name="Прямоугольник 17"/>
          <p:cNvSpPr/>
          <p:nvPr/>
        </p:nvSpPr>
        <p:spPr>
          <a:xfrm>
            <a:off x="5713701" y="2014720"/>
            <a:ext cx="1770787" cy="830997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Читательская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грамотность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2009, 2018, 2027</a:t>
            </a:r>
          </a:p>
        </p:txBody>
      </p:sp>
      <p:sp>
        <p:nvSpPr>
          <p:cNvPr id="19" name="Прямоугольник 18"/>
          <p:cNvSpPr/>
          <p:nvPr/>
        </p:nvSpPr>
        <p:spPr>
          <a:xfrm>
            <a:off x="2946402" y="3758673"/>
            <a:ext cx="271835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Естественно–научная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грамотность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2006, 2015, 2024</a:t>
            </a:r>
          </a:p>
        </p:txBody>
      </p:sp>
      <p:sp>
        <p:nvSpPr>
          <p:cNvPr id="20" name="Прямоугольник 19"/>
          <p:cNvSpPr/>
          <p:nvPr/>
        </p:nvSpPr>
        <p:spPr>
          <a:xfrm>
            <a:off x="6095955" y="3725682"/>
            <a:ext cx="1916785" cy="830997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Математическая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грамотность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2003, 2012, 2021</a:t>
            </a:r>
          </a:p>
        </p:txBody>
      </p:sp>
      <p:sp>
        <p:nvSpPr>
          <p:cNvPr id="21" name="Прямоугольник 20"/>
          <p:cNvSpPr/>
          <p:nvPr/>
        </p:nvSpPr>
        <p:spPr>
          <a:xfrm>
            <a:off x="4732759" y="5054364"/>
            <a:ext cx="201111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Финансовая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грамотность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1569875" y="608924"/>
            <a:ext cx="871450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Официально тестирование </a:t>
            </a:r>
            <a:r>
              <a:rPr kumimoji="0" lang="en-US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ISA </a:t>
            </a: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перенесено на 2022 год в связи с пандемией </a:t>
            </a:r>
            <a:r>
              <a:rPr kumimoji="0" lang="en-US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ovid-19</a:t>
            </a: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760065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48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cxnSp>
        <p:nvCxnSpPr>
          <p:cNvPr id="68" name="Прямая соединительная линия 67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Freeform 8"/>
          <p:cNvSpPr>
            <a:spLocks/>
          </p:cNvSpPr>
          <p:nvPr/>
        </p:nvSpPr>
        <p:spPr bwMode="auto">
          <a:xfrm>
            <a:off x="7596965" y="3958541"/>
            <a:ext cx="391642" cy="348126"/>
          </a:xfrm>
          <a:custGeom>
            <a:avLst/>
            <a:gdLst>
              <a:gd name="T0" fmla="*/ 860 w 860"/>
              <a:gd name="T1" fmla="*/ 251 h 752"/>
              <a:gd name="T2" fmla="*/ 430 w 860"/>
              <a:gd name="T3" fmla="*/ 0 h 752"/>
              <a:gd name="T4" fmla="*/ 0 w 860"/>
              <a:gd name="T5" fmla="*/ 251 h 752"/>
              <a:gd name="T6" fmla="*/ 144 w 860"/>
              <a:gd name="T7" fmla="*/ 335 h 752"/>
              <a:gd name="T8" fmla="*/ 144 w 860"/>
              <a:gd name="T9" fmla="*/ 476 h 752"/>
              <a:gd name="T10" fmla="*/ 149 w 860"/>
              <a:gd name="T11" fmla="*/ 484 h 752"/>
              <a:gd name="T12" fmla="*/ 430 w 860"/>
              <a:gd name="T13" fmla="*/ 645 h 752"/>
              <a:gd name="T14" fmla="*/ 573 w 860"/>
              <a:gd name="T15" fmla="*/ 611 h 752"/>
              <a:gd name="T16" fmla="*/ 573 w 860"/>
              <a:gd name="T17" fmla="*/ 528 h 752"/>
              <a:gd name="T18" fmla="*/ 430 w 860"/>
              <a:gd name="T19" fmla="*/ 573 h 752"/>
              <a:gd name="T20" fmla="*/ 215 w 860"/>
              <a:gd name="T21" fmla="*/ 456 h 752"/>
              <a:gd name="T22" fmla="*/ 215 w 860"/>
              <a:gd name="T23" fmla="*/ 376 h 752"/>
              <a:gd name="T24" fmla="*/ 430 w 860"/>
              <a:gd name="T25" fmla="*/ 502 h 752"/>
              <a:gd name="T26" fmla="*/ 553 w 860"/>
              <a:gd name="T27" fmla="*/ 430 h 752"/>
              <a:gd name="T28" fmla="*/ 483 w 860"/>
              <a:gd name="T29" fmla="*/ 388 h 752"/>
              <a:gd name="T30" fmla="*/ 430 w 860"/>
              <a:gd name="T31" fmla="*/ 419 h 752"/>
              <a:gd name="T32" fmla="*/ 143 w 860"/>
              <a:gd name="T33" fmla="*/ 251 h 752"/>
              <a:gd name="T34" fmla="*/ 430 w 860"/>
              <a:gd name="T35" fmla="*/ 83 h 752"/>
              <a:gd name="T36" fmla="*/ 718 w 860"/>
              <a:gd name="T37" fmla="*/ 251 h 752"/>
              <a:gd name="T38" fmla="*/ 624 w 860"/>
              <a:gd name="T39" fmla="*/ 306 h 752"/>
              <a:gd name="T40" fmla="*/ 454 w 860"/>
              <a:gd name="T41" fmla="*/ 205 h 752"/>
              <a:gd name="T42" fmla="*/ 391 w 860"/>
              <a:gd name="T43" fmla="*/ 247 h 752"/>
              <a:gd name="T44" fmla="*/ 390 w 860"/>
              <a:gd name="T45" fmla="*/ 250 h 752"/>
              <a:gd name="T46" fmla="*/ 645 w 860"/>
              <a:gd name="T47" fmla="*/ 401 h 752"/>
              <a:gd name="T48" fmla="*/ 645 w 860"/>
              <a:gd name="T49" fmla="*/ 752 h 752"/>
              <a:gd name="T50" fmla="*/ 717 w 860"/>
              <a:gd name="T51" fmla="*/ 752 h 752"/>
              <a:gd name="T52" fmla="*/ 717 w 860"/>
              <a:gd name="T53" fmla="*/ 361 h 752"/>
              <a:gd name="T54" fmla="*/ 694 w 860"/>
              <a:gd name="T55" fmla="*/ 347 h 752"/>
              <a:gd name="T56" fmla="*/ 860 w 860"/>
              <a:gd name="T57" fmla="*/ 25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860" h="752">
                <a:moveTo>
                  <a:pt x="860" y="251"/>
                </a:moveTo>
                <a:lnTo>
                  <a:pt x="430" y="0"/>
                </a:lnTo>
                <a:lnTo>
                  <a:pt x="0" y="251"/>
                </a:lnTo>
                <a:lnTo>
                  <a:pt x="144" y="335"/>
                </a:lnTo>
                <a:lnTo>
                  <a:pt x="144" y="476"/>
                </a:lnTo>
                <a:lnTo>
                  <a:pt x="149" y="484"/>
                </a:lnTo>
                <a:cubicBezTo>
                  <a:pt x="207" y="583"/>
                  <a:pt x="315" y="645"/>
                  <a:pt x="430" y="645"/>
                </a:cubicBezTo>
                <a:cubicBezTo>
                  <a:pt x="481" y="645"/>
                  <a:pt x="529" y="632"/>
                  <a:pt x="573" y="611"/>
                </a:cubicBezTo>
                <a:lnTo>
                  <a:pt x="573" y="528"/>
                </a:lnTo>
                <a:cubicBezTo>
                  <a:pt x="532" y="557"/>
                  <a:pt x="482" y="573"/>
                  <a:pt x="430" y="573"/>
                </a:cubicBezTo>
                <a:cubicBezTo>
                  <a:pt x="343" y="573"/>
                  <a:pt x="262" y="528"/>
                  <a:pt x="215" y="456"/>
                </a:cubicBezTo>
                <a:lnTo>
                  <a:pt x="215" y="376"/>
                </a:lnTo>
                <a:lnTo>
                  <a:pt x="430" y="502"/>
                </a:lnTo>
                <a:lnTo>
                  <a:pt x="553" y="430"/>
                </a:lnTo>
                <a:lnTo>
                  <a:pt x="483" y="388"/>
                </a:lnTo>
                <a:lnTo>
                  <a:pt x="430" y="419"/>
                </a:lnTo>
                <a:lnTo>
                  <a:pt x="143" y="251"/>
                </a:lnTo>
                <a:lnTo>
                  <a:pt x="430" y="83"/>
                </a:lnTo>
                <a:lnTo>
                  <a:pt x="718" y="251"/>
                </a:lnTo>
                <a:lnTo>
                  <a:pt x="624" y="306"/>
                </a:lnTo>
                <a:lnTo>
                  <a:pt x="454" y="205"/>
                </a:lnTo>
                <a:lnTo>
                  <a:pt x="391" y="247"/>
                </a:lnTo>
                <a:lnTo>
                  <a:pt x="390" y="250"/>
                </a:lnTo>
                <a:lnTo>
                  <a:pt x="645" y="401"/>
                </a:lnTo>
                <a:lnTo>
                  <a:pt x="645" y="752"/>
                </a:lnTo>
                <a:lnTo>
                  <a:pt x="717" y="752"/>
                </a:lnTo>
                <a:lnTo>
                  <a:pt x="717" y="361"/>
                </a:lnTo>
                <a:lnTo>
                  <a:pt x="694" y="347"/>
                </a:lnTo>
                <a:lnTo>
                  <a:pt x="860" y="25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7" name="Freeform 10"/>
          <p:cNvSpPr>
            <a:spLocks noEditPoints="1"/>
          </p:cNvSpPr>
          <p:nvPr/>
        </p:nvSpPr>
        <p:spPr bwMode="auto">
          <a:xfrm>
            <a:off x="7614768" y="2782742"/>
            <a:ext cx="391642" cy="346149"/>
          </a:xfrm>
          <a:custGeom>
            <a:avLst/>
            <a:gdLst>
              <a:gd name="T0" fmla="*/ 608 w 859"/>
              <a:gd name="T1" fmla="*/ 0 h 752"/>
              <a:gd name="T2" fmla="*/ 250 w 859"/>
              <a:gd name="T3" fmla="*/ 0 h 752"/>
              <a:gd name="T4" fmla="*/ 250 w 859"/>
              <a:gd name="T5" fmla="*/ 72 h 752"/>
              <a:gd name="T6" fmla="*/ 608 w 859"/>
              <a:gd name="T7" fmla="*/ 72 h 752"/>
              <a:gd name="T8" fmla="*/ 608 w 859"/>
              <a:gd name="T9" fmla="*/ 0 h 752"/>
              <a:gd name="T10" fmla="*/ 608 w 859"/>
              <a:gd name="T11" fmla="*/ 394 h 752"/>
              <a:gd name="T12" fmla="*/ 608 w 859"/>
              <a:gd name="T13" fmla="*/ 322 h 752"/>
              <a:gd name="T14" fmla="*/ 537 w 859"/>
              <a:gd name="T15" fmla="*/ 322 h 752"/>
              <a:gd name="T16" fmla="*/ 537 w 859"/>
              <a:gd name="T17" fmla="*/ 394 h 752"/>
              <a:gd name="T18" fmla="*/ 322 w 859"/>
              <a:gd name="T19" fmla="*/ 394 h 752"/>
              <a:gd name="T20" fmla="*/ 322 w 859"/>
              <a:gd name="T21" fmla="*/ 322 h 752"/>
              <a:gd name="T22" fmla="*/ 250 w 859"/>
              <a:gd name="T23" fmla="*/ 322 h 752"/>
              <a:gd name="T24" fmla="*/ 250 w 859"/>
              <a:gd name="T25" fmla="*/ 394 h 752"/>
              <a:gd name="T26" fmla="*/ 71 w 859"/>
              <a:gd name="T27" fmla="*/ 394 h 752"/>
              <a:gd name="T28" fmla="*/ 71 w 859"/>
              <a:gd name="T29" fmla="*/ 215 h 752"/>
              <a:gd name="T30" fmla="*/ 787 w 859"/>
              <a:gd name="T31" fmla="*/ 215 h 752"/>
              <a:gd name="T32" fmla="*/ 787 w 859"/>
              <a:gd name="T33" fmla="*/ 394 h 752"/>
              <a:gd name="T34" fmla="*/ 608 w 859"/>
              <a:gd name="T35" fmla="*/ 394 h 752"/>
              <a:gd name="T36" fmla="*/ 0 w 859"/>
              <a:gd name="T37" fmla="*/ 143 h 752"/>
              <a:gd name="T38" fmla="*/ 0 w 859"/>
              <a:gd name="T39" fmla="*/ 376 h 752"/>
              <a:gd name="T40" fmla="*/ 71 w 859"/>
              <a:gd name="T41" fmla="*/ 466 h 752"/>
              <a:gd name="T42" fmla="*/ 250 w 859"/>
              <a:gd name="T43" fmla="*/ 466 h 752"/>
              <a:gd name="T44" fmla="*/ 250 w 859"/>
              <a:gd name="T45" fmla="*/ 537 h 752"/>
              <a:gd name="T46" fmla="*/ 322 w 859"/>
              <a:gd name="T47" fmla="*/ 537 h 752"/>
              <a:gd name="T48" fmla="*/ 322 w 859"/>
              <a:gd name="T49" fmla="*/ 466 h 752"/>
              <a:gd name="T50" fmla="*/ 537 w 859"/>
              <a:gd name="T51" fmla="*/ 466 h 752"/>
              <a:gd name="T52" fmla="*/ 537 w 859"/>
              <a:gd name="T53" fmla="*/ 537 h 752"/>
              <a:gd name="T54" fmla="*/ 608 w 859"/>
              <a:gd name="T55" fmla="*/ 537 h 752"/>
              <a:gd name="T56" fmla="*/ 608 w 859"/>
              <a:gd name="T57" fmla="*/ 466 h 752"/>
              <a:gd name="T58" fmla="*/ 788 w 859"/>
              <a:gd name="T59" fmla="*/ 466 h 752"/>
              <a:gd name="T60" fmla="*/ 859 w 859"/>
              <a:gd name="T61" fmla="*/ 376 h 752"/>
              <a:gd name="T62" fmla="*/ 859 w 859"/>
              <a:gd name="T63" fmla="*/ 143 h 752"/>
              <a:gd name="T64" fmla="*/ 0 w 859"/>
              <a:gd name="T65" fmla="*/ 143 h 752"/>
              <a:gd name="T66" fmla="*/ 716 w 859"/>
              <a:gd name="T67" fmla="*/ 681 h 752"/>
              <a:gd name="T68" fmla="*/ 143 w 859"/>
              <a:gd name="T69" fmla="*/ 681 h 752"/>
              <a:gd name="T70" fmla="*/ 143 w 859"/>
              <a:gd name="T71" fmla="*/ 502 h 752"/>
              <a:gd name="T72" fmla="*/ 71 w 859"/>
              <a:gd name="T73" fmla="*/ 502 h 752"/>
              <a:gd name="T74" fmla="*/ 71 w 859"/>
              <a:gd name="T75" fmla="*/ 668 h 752"/>
              <a:gd name="T76" fmla="*/ 143 w 859"/>
              <a:gd name="T77" fmla="*/ 752 h 752"/>
              <a:gd name="T78" fmla="*/ 716 w 859"/>
              <a:gd name="T79" fmla="*/ 752 h 752"/>
              <a:gd name="T80" fmla="*/ 787 w 859"/>
              <a:gd name="T81" fmla="*/ 668 h 752"/>
              <a:gd name="T82" fmla="*/ 787 w 859"/>
              <a:gd name="T83" fmla="*/ 502 h 752"/>
              <a:gd name="T84" fmla="*/ 716 w 859"/>
              <a:gd name="T85" fmla="*/ 502 h 752"/>
              <a:gd name="T86" fmla="*/ 716 w 859"/>
              <a:gd name="T87" fmla="*/ 68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859" h="752">
                <a:moveTo>
                  <a:pt x="608" y="0"/>
                </a:moveTo>
                <a:lnTo>
                  <a:pt x="250" y="0"/>
                </a:lnTo>
                <a:lnTo>
                  <a:pt x="250" y="72"/>
                </a:lnTo>
                <a:lnTo>
                  <a:pt x="608" y="72"/>
                </a:lnTo>
                <a:lnTo>
                  <a:pt x="608" y="0"/>
                </a:lnTo>
                <a:close/>
                <a:moveTo>
                  <a:pt x="608" y="394"/>
                </a:moveTo>
                <a:lnTo>
                  <a:pt x="608" y="322"/>
                </a:lnTo>
                <a:lnTo>
                  <a:pt x="537" y="322"/>
                </a:lnTo>
                <a:lnTo>
                  <a:pt x="537" y="394"/>
                </a:lnTo>
                <a:lnTo>
                  <a:pt x="322" y="394"/>
                </a:lnTo>
                <a:lnTo>
                  <a:pt x="322" y="322"/>
                </a:lnTo>
                <a:lnTo>
                  <a:pt x="250" y="322"/>
                </a:lnTo>
                <a:lnTo>
                  <a:pt x="250" y="394"/>
                </a:lnTo>
                <a:lnTo>
                  <a:pt x="71" y="394"/>
                </a:lnTo>
                <a:lnTo>
                  <a:pt x="71" y="215"/>
                </a:lnTo>
                <a:lnTo>
                  <a:pt x="787" y="215"/>
                </a:lnTo>
                <a:lnTo>
                  <a:pt x="787" y="394"/>
                </a:lnTo>
                <a:lnTo>
                  <a:pt x="608" y="394"/>
                </a:lnTo>
                <a:close/>
                <a:moveTo>
                  <a:pt x="0" y="143"/>
                </a:moveTo>
                <a:lnTo>
                  <a:pt x="0" y="376"/>
                </a:lnTo>
                <a:cubicBezTo>
                  <a:pt x="0" y="416"/>
                  <a:pt x="32" y="466"/>
                  <a:pt x="71" y="466"/>
                </a:cubicBezTo>
                <a:lnTo>
                  <a:pt x="250" y="466"/>
                </a:lnTo>
                <a:lnTo>
                  <a:pt x="250" y="537"/>
                </a:lnTo>
                <a:lnTo>
                  <a:pt x="322" y="537"/>
                </a:lnTo>
                <a:lnTo>
                  <a:pt x="322" y="466"/>
                </a:lnTo>
                <a:lnTo>
                  <a:pt x="537" y="466"/>
                </a:lnTo>
                <a:lnTo>
                  <a:pt x="537" y="537"/>
                </a:lnTo>
                <a:lnTo>
                  <a:pt x="608" y="537"/>
                </a:lnTo>
                <a:lnTo>
                  <a:pt x="608" y="466"/>
                </a:lnTo>
                <a:lnTo>
                  <a:pt x="788" y="466"/>
                </a:lnTo>
                <a:cubicBezTo>
                  <a:pt x="827" y="466"/>
                  <a:pt x="859" y="416"/>
                  <a:pt x="859" y="376"/>
                </a:cubicBezTo>
                <a:lnTo>
                  <a:pt x="859" y="143"/>
                </a:lnTo>
                <a:lnTo>
                  <a:pt x="0" y="143"/>
                </a:lnTo>
                <a:close/>
                <a:moveTo>
                  <a:pt x="716" y="681"/>
                </a:moveTo>
                <a:lnTo>
                  <a:pt x="143" y="681"/>
                </a:lnTo>
                <a:lnTo>
                  <a:pt x="143" y="502"/>
                </a:lnTo>
                <a:lnTo>
                  <a:pt x="71" y="502"/>
                </a:lnTo>
                <a:lnTo>
                  <a:pt x="71" y="668"/>
                </a:lnTo>
                <a:cubicBezTo>
                  <a:pt x="71" y="704"/>
                  <a:pt x="104" y="752"/>
                  <a:pt x="143" y="752"/>
                </a:cubicBezTo>
                <a:lnTo>
                  <a:pt x="716" y="752"/>
                </a:lnTo>
                <a:cubicBezTo>
                  <a:pt x="755" y="752"/>
                  <a:pt x="787" y="704"/>
                  <a:pt x="787" y="668"/>
                </a:cubicBezTo>
                <a:lnTo>
                  <a:pt x="787" y="502"/>
                </a:lnTo>
                <a:lnTo>
                  <a:pt x="716" y="502"/>
                </a:lnTo>
                <a:lnTo>
                  <a:pt x="716" y="68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4" name="Прямоугольник 23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0" y="6516869"/>
            <a:ext cx="12192000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ГК «Просвещение», 2021</a:t>
            </a:r>
          </a:p>
        </p:txBody>
      </p:sp>
      <p:sp>
        <p:nvSpPr>
          <p:cNvPr id="3" name="Овал 2"/>
          <p:cNvSpPr/>
          <p:nvPr/>
        </p:nvSpPr>
        <p:spPr>
          <a:xfrm>
            <a:off x="1932318" y="122842"/>
            <a:ext cx="414067" cy="439947"/>
          </a:xfrm>
          <a:prstGeom prst="ellipse">
            <a:avLst/>
          </a:prstGeom>
          <a:solidFill>
            <a:srgbClr val="002060"/>
          </a:solidFill>
          <a:ln>
            <a:solidFill>
              <a:srgbClr val="F0F8F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i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1</a:t>
            </a:r>
            <a:endParaRPr lang="ru-RU" b="1" i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2450166" y="161008"/>
            <a:ext cx="564891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 smtClean="0">
                <a:solidFill>
                  <a:srgbClr val="002060"/>
                </a:solidFill>
              </a:rPr>
              <a:t>ГДЕ НАЙТИ МЕТОДИЧЕСКИЙ МАТЕРИАЛ ДЛЯ РАБОТЫ?</a:t>
            </a:r>
            <a:endParaRPr lang="ru-RU" b="1" dirty="0">
              <a:solidFill>
                <a:srgbClr val="002060"/>
              </a:solidFill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4667494" y="619726"/>
            <a:ext cx="285090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b="1" dirty="0" smtClean="0">
                <a:solidFill>
                  <a:srgbClr val="FF0000"/>
                </a:solidFill>
              </a:rPr>
              <a:t>Нормативные документы:</a:t>
            </a:r>
            <a:endParaRPr lang="ru-RU" b="1" dirty="0">
              <a:solidFill>
                <a:srgbClr val="FF0000"/>
              </a:solidFill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793630" y="1293962"/>
            <a:ext cx="5331972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indent="-342900">
              <a:buAutoNum type="arabicPeriod"/>
            </a:pPr>
            <a:r>
              <a:rPr lang="ru-RU" dirty="0" smtClean="0">
                <a:solidFill>
                  <a:srgbClr val="002060"/>
                </a:solidFill>
              </a:rPr>
              <a:t>ФГОС для ООО и для СОО</a:t>
            </a:r>
          </a:p>
          <a:p>
            <a:pPr marL="342900" indent="-342900">
              <a:buAutoNum type="arabicPeriod"/>
            </a:pPr>
            <a:r>
              <a:rPr lang="ru-RU" dirty="0" smtClean="0">
                <a:solidFill>
                  <a:srgbClr val="002060"/>
                </a:solidFill>
              </a:rPr>
              <a:t>ПООП для ООО и для СОО</a:t>
            </a:r>
          </a:p>
          <a:p>
            <a:pPr marL="342900" indent="-342900">
              <a:buAutoNum type="arabicPeriod"/>
            </a:pPr>
            <a:r>
              <a:rPr lang="ru-RU" dirty="0" smtClean="0">
                <a:solidFill>
                  <a:srgbClr val="002060"/>
                </a:solidFill>
              </a:rPr>
              <a:t>ФПУ </a:t>
            </a:r>
            <a:r>
              <a:rPr lang="ru-RU" dirty="0" smtClean="0">
                <a:solidFill>
                  <a:srgbClr val="002060"/>
                </a:solidFill>
                <a:hlinkClick r:id="rId4"/>
              </a:rPr>
              <a:t>(приказ № 254 от 20.05.2020)</a:t>
            </a:r>
            <a:r>
              <a:rPr lang="ru-RU" dirty="0" smtClean="0">
                <a:solidFill>
                  <a:srgbClr val="002060"/>
                </a:solidFill>
              </a:rPr>
              <a:t> </a:t>
            </a:r>
          </a:p>
          <a:p>
            <a:pPr marL="342900" indent="-342900">
              <a:buAutoNum type="arabicPeriod"/>
            </a:pPr>
            <a:r>
              <a:rPr lang="ru-RU" dirty="0" smtClean="0">
                <a:solidFill>
                  <a:srgbClr val="002060"/>
                </a:solidFill>
              </a:rPr>
              <a:t>Дополнение к ФПУ </a:t>
            </a:r>
            <a:r>
              <a:rPr lang="ru-RU" dirty="0" smtClean="0">
                <a:solidFill>
                  <a:srgbClr val="002060"/>
                </a:solidFill>
                <a:hlinkClick r:id="rId5"/>
              </a:rPr>
              <a:t>(приказ № 766 от 23.12.2020)</a:t>
            </a:r>
            <a:endParaRPr lang="ru-RU" dirty="0">
              <a:solidFill>
                <a:srgbClr val="002060"/>
              </a:solidFill>
            </a:endParaRPr>
          </a:p>
        </p:txBody>
      </p:sp>
      <p:pic>
        <p:nvPicPr>
          <p:cNvPr id="17" name="Рисунок 16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93630" y="2941660"/>
            <a:ext cx="4418950" cy="3179773"/>
          </a:xfrm>
          <a:prstGeom prst="roundRect">
            <a:avLst>
              <a:gd name="adj" fmla="val 16667"/>
            </a:avLst>
          </a:prstGeom>
          <a:ln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sp>
        <p:nvSpPr>
          <p:cNvPr id="18" name="Стрелка вниз 17"/>
          <p:cNvSpPr/>
          <p:nvPr/>
        </p:nvSpPr>
        <p:spPr>
          <a:xfrm>
            <a:off x="3657601" y="2494291"/>
            <a:ext cx="198407" cy="421402"/>
          </a:xfrm>
          <a:prstGeom prst="downArrow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9" name="TextBox 18"/>
          <p:cNvSpPr txBox="1"/>
          <p:nvPr/>
        </p:nvSpPr>
        <p:spPr>
          <a:xfrm>
            <a:off x="1970354" y="6182695"/>
            <a:ext cx="206550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dirty="0" smtClean="0">
                <a:solidFill>
                  <a:srgbClr val="002060"/>
                </a:solidFill>
              </a:rPr>
              <a:t>Опубликован 02.03.2021</a:t>
            </a:r>
            <a:endParaRPr lang="ru-RU" sz="1400" dirty="0">
              <a:solidFill>
                <a:srgbClr val="002060"/>
              </a:solidFill>
            </a:endParaRPr>
          </a:p>
        </p:txBody>
      </p:sp>
      <p:pic>
        <p:nvPicPr>
          <p:cNvPr id="20" name="Рисунок 19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106954" y="1098660"/>
            <a:ext cx="4628523" cy="3401455"/>
          </a:xfrm>
          <a:prstGeom prst="roundRect">
            <a:avLst>
              <a:gd name="adj" fmla="val 16667"/>
            </a:avLst>
          </a:prstGeom>
          <a:ln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sp>
        <p:nvSpPr>
          <p:cNvPr id="21" name="Стрелка вправо 20"/>
          <p:cNvSpPr/>
          <p:nvPr/>
        </p:nvSpPr>
        <p:spPr>
          <a:xfrm>
            <a:off x="4777699" y="1894126"/>
            <a:ext cx="2252829" cy="236599"/>
          </a:xfrm>
          <a:prstGeom prst="rightArrow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7" name="TextBox 26"/>
          <p:cNvSpPr txBox="1"/>
          <p:nvPr/>
        </p:nvSpPr>
        <p:spPr>
          <a:xfrm>
            <a:off x="8388464" y="4609717"/>
            <a:ext cx="206550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dirty="0" smtClean="0">
                <a:solidFill>
                  <a:srgbClr val="002060"/>
                </a:solidFill>
              </a:rPr>
              <a:t>Опубликован 14.09.2020</a:t>
            </a:r>
            <a:endParaRPr lang="ru-RU" sz="1400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635849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Скругленный прямоугольник 2"/>
          <p:cNvSpPr/>
          <p:nvPr/>
        </p:nvSpPr>
        <p:spPr>
          <a:xfrm>
            <a:off x="3976374" y="729870"/>
            <a:ext cx="1181734" cy="334555"/>
          </a:xfrm>
          <a:prstGeom prst="roundRect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bg1"/>
              </a:solidFill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grpSp>
        <p:nvGrpSpPr>
          <p:cNvPr id="4" name="Группа 3"/>
          <p:cNvGrpSpPr/>
          <p:nvPr/>
        </p:nvGrpSpPr>
        <p:grpSpPr>
          <a:xfrm>
            <a:off x="339553" y="260649"/>
            <a:ext cx="1268960" cy="438775"/>
            <a:chOff x="254665" y="195486"/>
            <a:chExt cx="951720" cy="329081"/>
          </a:xfrm>
        </p:grpSpPr>
        <p:sp>
          <p:nvSpPr>
            <p:cNvPr id="32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33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34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35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36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37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38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39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40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41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42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43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44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45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</p:grpSp>
      <p:cxnSp>
        <p:nvCxnSpPr>
          <p:cNvPr id="47" name="Прямая соединительная линия 46"/>
          <p:cNvCxnSpPr/>
          <p:nvPr/>
        </p:nvCxnSpPr>
        <p:spPr>
          <a:xfrm>
            <a:off x="1967541" y="0"/>
            <a:ext cx="0" cy="670171"/>
          </a:xfrm>
          <a:prstGeom prst="line">
            <a:avLst/>
          </a:prstGeom>
          <a:ln w="6350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29259" y="6432715"/>
            <a:ext cx="719403" cy="356659"/>
          </a:xfrm>
        </p:spPr>
        <p:txBody>
          <a:bodyPr/>
          <a:lstStyle/>
          <a:p>
            <a:fld id="{00000000-1234-1234-1234-123412341234}" type="slidenum">
              <a:rPr lang="en" sz="1600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</a:rPr>
              <a:pPr/>
              <a:t>22</a:t>
            </a:fld>
            <a:endParaRPr lang="en" sz="1600" dirty="0">
              <a:solidFill>
                <a:schemeClr val="tx1">
                  <a:lumMod val="75000"/>
                  <a:lumOff val="25000"/>
                </a:schemeClr>
              </a:solidFill>
              <a:latin typeface="Calibri" pitchFamily="34" charset="0"/>
            </a:endParaRPr>
          </a:p>
        </p:txBody>
      </p:sp>
      <p:sp>
        <p:nvSpPr>
          <p:cNvPr id="21" name="Прямоугольник 20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335360" y="6516869"/>
            <a:ext cx="3411921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914377">
              <a:defRPr/>
            </a:pPr>
            <a:r>
              <a:rPr lang="ru-RU" sz="1200" dirty="0">
                <a:solidFill>
                  <a:prstClr val="white">
                    <a:lumMod val="65000"/>
                  </a:prstClr>
                </a:solidFill>
                <a:latin typeface="Calibri"/>
              </a:rPr>
              <a:t>© АО «Издательство «Просвещение», 20</a:t>
            </a:r>
            <a:r>
              <a:rPr lang="en-US" sz="1200" dirty="0" smtClean="0">
                <a:solidFill>
                  <a:prstClr val="white">
                    <a:lumMod val="65000"/>
                  </a:prstClr>
                </a:solidFill>
                <a:latin typeface="Calibri"/>
              </a:rPr>
              <a:t>21</a:t>
            </a:r>
            <a:endParaRPr lang="ru-RU" sz="1200" dirty="0">
              <a:solidFill>
                <a:prstClr val="white">
                  <a:lumMod val="65000"/>
                </a:prstClr>
              </a:solidFill>
              <a:latin typeface="Calibri"/>
            </a:endParaRPr>
          </a:p>
        </p:txBody>
      </p:sp>
      <p:sp>
        <p:nvSpPr>
          <p:cNvPr id="23" name="Прямоугольник 22"/>
          <p:cNvSpPr/>
          <p:nvPr/>
        </p:nvSpPr>
        <p:spPr>
          <a:xfrm>
            <a:off x="2010723" y="186216"/>
            <a:ext cx="881728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kumimoji="0" lang="ru-RU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ea typeface="Cambria" panose="02040503050406030204" pitchFamily="18" charset="0"/>
                <a:cs typeface="+mn-cs"/>
              </a:rPr>
              <a:t>КАКИЕ УМК </a:t>
            </a:r>
            <a:r>
              <a:rPr lang="ru-RU" sz="2400" b="1" dirty="0" smtClean="0">
                <a:solidFill>
                  <a:srgbClr val="002060"/>
                </a:solidFill>
                <a:ea typeface="Cambria" panose="02040503050406030204" pitchFamily="18" charset="0"/>
              </a:rPr>
              <a:t>ПО ФИЗИКЕ </a:t>
            </a:r>
            <a:r>
              <a:rPr lang="ru-RU" sz="2400" b="1" dirty="0">
                <a:solidFill>
                  <a:srgbClr val="002060"/>
                </a:solidFill>
                <a:ea typeface="Cambria" panose="02040503050406030204" pitchFamily="18" charset="0"/>
              </a:rPr>
              <a:t>ДЛЯ 7-9 </a:t>
            </a:r>
            <a:r>
              <a:rPr lang="ru-RU" sz="2400" b="1" dirty="0" smtClean="0">
                <a:solidFill>
                  <a:srgbClr val="002060"/>
                </a:solidFill>
                <a:ea typeface="Cambria" panose="02040503050406030204" pitchFamily="18" charset="0"/>
              </a:rPr>
              <a:t>КЛАССОВ </a:t>
            </a:r>
            <a:r>
              <a:rPr kumimoji="0" lang="ru-RU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ea typeface="Cambria" panose="02040503050406030204" pitchFamily="18" charset="0"/>
                <a:cs typeface="+mn-cs"/>
              </a:rPr>
              <a:t>В ФПУ?</a:t>
            </a:r>
            <a:r>
              <a:rPr kumimoji="0" lang="ru-RU" sz="2400" b="1" i="0" u="none" strike="noStrike" kern="1200" cap="none" spc="0" normalizeH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ea typeface="Cambria" panose="02040503050406030204" pitchFamily="18" charset="0"/>
                <a:cs typeface="+mn-cs"/>
              </a:rPr>
              <a:t> </a:t>
            </a:r>
            <a:endParaRPr kumimoji="0" lang="ru-RU" sz="24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ea typeface="Cambria" panose="02040503050406030204" pitchFamily="18" charset="0"/>
              <a:cs typeface="+mn-cs"/>
            </a:endParaRPr>
          </a:p>
        </p:txBody>
      </p:sp>
      <p:pic>
        <p:nvPicPr>
          <p:cNvPr id="25" name="Picture 3" descr="D:\Опаловский\7.jpg"/>
          <p:cNvPicPr>
            <a:picLocks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008223" y="3859943"/>
            <a:ext cx="1309707" cy="1736386"/>
          </a:xfrm>
          <a:prstGeom prst="rect">
            <a:avLst/>
          </a:prstGeom>
          <a:noFill/>
          <a:ln w="12700">
            <a:solidFill>
              <a:schemeClr val="bg1">
                <a:lumMod val="75000"/>
              </a:schemeClr>
            </a:solidFill>
          </a:ln>
        </p:spPr>
      </p:pic>
      <p:pic>
        <p:nvPicPr>
          <p:cNvPr id="28" name="Picture 10" descr="Физика. 7 класс: учебник в 2 ч. Ч. 1"/>
          <p:cNvPicPr>
            <a:picLocks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540684" y="994918"/>
            <a:ext cx="1276185" cy="1687036"/>
          </a:xfrm>
          <a:prstGeom prst="rect">
            <a:avLst/>
          </a:prstGeom>
          <a:noFill/>
          <a:ln w="12700">
            <a:solidFill>
              <a:schemeClr val="bg1">
                <a:lumMod val="75000"/>
              </a:schemeClr>
            </a:solidFill>
          </a:ln>
        </p:spPr>
      </p:pic>
      <p:sp>
        <p:nvSpPr>
          <p:cNvPr id="29" name="TextBox 28"/>
          <p:cNvSpPr txBox="1"/>
          <p:nvPr/>
        </p:nvSpPr>
        <p:spPr>
          <a:xfrm>
            <a:off x="5527262" y="3211539"/>
            <a:ext cx="156157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ea typeface="Cambria" panose="02040503050406030204" pitchFamily="18" charset="0"/>
                <a:cs typeface="Open Sans Condensed" pitchFamily="34" charset="0"/>
              </a:rPr>
              <a:t>В ФПУ</a:t>
            </a:r>
          </a:p>
          <a:p>
            <a:pPr marL="0" marR="0" lvl="0" indent="0" algn="ctr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ea typeface="Cambria" panose="02040503050406030204" pitchFamily="18" charset="0"/>
                <a:cs typeface="Open Sans Condensed" pitchFamily="34" charset="0"/>
              </a:rPr>
              <a:t>1.1.2.5.1.4.1-3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ea typeface="Cambria" panose="02040503050406030204" pitchFamily="18" charset="0"/>
              <a:cs typeface="Open Sans Condensed" pitchFamily="34" charset="0"/>
            </a:endParaRPr>
          </a:p>
        </p:txBody>
      </p:sp>
      <p:sp>
        <p:nvSpPr>
          <p:cNvPr id="30" name="Прямоугольник 29"/>
          <p:cNvSpPr/>
          <p:nvPr/>
        </p:nvSpPr>
        <p:spPr>
          <a:xfrm>
            <a:off x="3830100" y="6040436"/>
            <a:ext cx="165342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ea typeface="Cambria" panose="02040503050406030204" pitchFamily="18" charset="0"/>
                <a:cs typeface="Calibri" panose="020F0502020204030204" pitchFamily="34" charset="0"/>
              </a:rPr>
              <a:t>В ФПУ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ea typeface="Cambria" panose="02040503050406030204" pitchFamily="18" charset="0"/>
                <a:cs typeface="Calibri" panose="020F0502020204030204" pitchFamily="34" charset="0"/>
              </a:rPr>
              <a:t>1.1.2.5.1.8.1-3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ea typeface="Cambria" panose="02040503050406030204" pitchFamily="18" charset="0"/>
              <a:cs typeface="Calibri" panose="020F0502020204030204" pitchFamily="34" charset="0"/>
            </a:endParaRPr>
          </a:p>
        </p:txBody>
      </p:sp>
      <p:sp>
        <p:nvSpPr>
          <p:cNvPr id="31" name="Прямоугольник 30"/>
          <p:cNvSpPr/>
          <p:nvPr/>
        </p:nvSpPr>
        <p:spPr>
          <a:xfrm>
            <a:off x="1978406" y="6036544"/>
            <a:ext cx="1602396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ea typeface="Cambria" panose="02040503050406030204" pitchFamily="18" charset="0"/>
                <a:cs typeface="Calibri" panose="020F0502020204030204" pitchFamily="34" charset="0"/>
              </a:rPr>
              <a:t>В ФПУ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ea typeface="Cambria" panose="02040503050406030204" pitchFamily="18" charset="0"/>
                <a:cs typeface="Calibri" panose="020F0502020204030204" pitchFamily="34" charset="0"/>
              </a:rPr>
              <a:t>1.1.2.5.1.1.1-3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ea typeface="Cambria" panose="02040503050406030204" pitchFamily="18" charset="0"/>
              <a:cs typeface="Calibri" panose="020F0502020204030204" pitchFamily="34" charset="0"/>
            </a:endParaRPr>
          </a:p>
        </p:txBody>
      </p:sp>
      <p:sp>
        <p:nvSpPr>
          <p:cNvPr id="49" name="Прямоугольник 48"/>
          <p:cNvSpPr/>
          <p:nvPr/>
        </p:nvSpPr>
        <p:spPr>
          <a:xfrm>
            <a:off x="7421559" y="3198167"/>
            <a:ext cx="165342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ea typeface="Cambria" panose="02040503050406030204" pitchFamily="18" charset="0"/>
                <a:cs typeface="Calibri" panose="020F0502020204030204" pitchFamily="34" charset="0"/>
              </a:rPr>
              <a:t>В ФПУ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ea typeface="Cambria" panose="02040503050406030204" pitchFamily="18" charset="0"/>
                <a:cs typeface="Calibri" panose="020F0502020204030204" pitchFamily="34" charset="0"/>
              </a:rPr>
              <a:t>1.1.2.5.1.2.1-3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ea typeface="Cambria" panose="02040503050406030204" pitchFamily="18" charset="0"/>
              <a:cs typeface="Calibri" panose="020F0502020204030204" pitchFamily="34" charset="0"/>
            </a:endParaRPr>
          </a:p>
        </p:txBody>
      </p:sp>
      <p:sp>
        <p:nvSpPr>
          <p:cNvPr id="53" name="TextBox 52"/>
          <p:cNvSpPr txBox="1"/>
          <p:nvPr/>
        </p:nvSpPr>
        <p:spPr>
          <a:xfrm>
            <a:off x="1924257" y="3195934"/>
            <a:ext cx="156157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ea typeface="Cambria" panose="02040503050406030204" pitchFamily="18" charset="0"/>
                <a:cs typeface="Open Sans Condensed" pitchFamily="34" charset="0"/>
              </a:rPr>
              <a:t>В ФПУ</a:t>
            </a:r>
          </a:p>
          <a:p>
            <a:pPr marL="0" marR="0" lvl="0" indent="0" algn="ctr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ea typeface="Cambria" panose="02040503050406030204" pitchFamily="18" charset="0"/>
                <a:cs typeface="Open Sans Condensed" pitchFamily="34" charset="0"/>
              </a:rPr>
              <a:t>1.1.2.5.1.7.1-3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ea typeface="Cambria" panose="02040503050406030204" pitchFamily="18" charset="0"/>
              <a:cs typeface="Open Sans Condensed" pitchFamily="34" charset="0"/>
            </a:endParaRPr>
          </a:p>
        </p:txBody>
      </p:sp>
      <p:sp>
        <p:nvSpPr>
          <p:cNvPr id="54" name="Прямоугольник 53"/>
          <p:cNvSpPr/>
          <p:nvPr/>
        </p:nvSpPr>
        <p:spPr>
          <a:xfrm>
            <a:off x="9745407" y="6018647"/>
            <a:ext cx="3572150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000" dirty="0">
                <a:hlinkClick r:id="rId5"/>
              </a:rPr>
              <a:t>https://fpu.edu.ru</a:t>
            </a:r>
            <a:r>
              <a:rPr lang="en-US" sz="2000" dirty="0" smtClean="0">
                <a:hlinkClick r:id="rId5"/>
              </a:rPr>
              <a:t>/</a:t>
            </a:r>
            <a:r>
              <a:rPr lang="ru-RU" sz="2000" dirty="0" smtClean="0"/>
              <a:t> </a:t>
            </a:r>
            <a:endParaRPr lang="ru-RU" sz="2000" dirty="0"/>
          </a:p>
        </p:txBody>
      </p:sp>
      <p:pic>
        <p:nvPicPr>
          <p:cNvPr id="55" name="Picture 8" descr="https://www.pinclipart.com/picdir/big/288-2884575_sample-courses-clipart.png"/>
          <p:cNvPicPr>
            <a:picLocks noChangeAspect="1" noChangeArrowheads="1"/>
          </p:cNvPicPr>
          <p:nvPr/>
        </p:nvPicPr>
        <p:blipFill>
          <a:blip r:embed="rId6" cstate="print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9484338" y="6362750"/>
            <a:ext cx="383958" cy="3946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6" name="Рисунок 45" descr="cover1__w600.jpg"/>
          <p:cNvPicPr preferRelativeResize="0">
            <a:picLocks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2186230" y="970978"/>
            <a:ext cx="1299598" cy="1689081"/>
          </a:xfrm>
          <a:prstGeom prst="rect">
            <a:avLst/>
          </a:prstGeom>
          <a:ln w="12700">
            <a:solidFill>
              <a:schemeClr val="bg1">
                <a:lumMod val="75000"/>
              </a:schemeClr>
            </a:solidFill>
          </a:ln>
        </p:spPr>
      </p:pic>
      <p:pic>
        <p:nvPicPr>
          <p:cNvPr id="48" name="Picture 4" descr="Физика. 7 класс"/>
          <p:cNvPicPr>
            <a:picLocks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5740787" y="970978"/>
            <a:ext cx="1260488" cy="1688627"/>
          </a:xfrm>
          <a:prstGeom prst="rect">
            <a:avLst/>
          </a:prstGeom>
          <a:noFill/>
          <a:ln w="12700">
            <a:solidFill>
              <a:schemeClr val="bg1">
                <a:lumMod val="75000"/>
              </a:schemeClr>
            </a:solidFill>
          </a:ln>
        </p:spPr>
      </p:pic>
      <p:pic>
        <p:nvPicPr>
          <p:cNvPr id="60" name="Рисунок 59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32159" y="970978"/>
            <a:ext cx="1270164" cy="1689049"/>
          </a:xfrm>
          <a:prstGeom prst="rect">
            <a:avLst/>
          </a:prstGeom>
          <a:ln w="12700">
            <a:solidFill>
              <a:schemeClr val="bg1">
                <a:lumMod val="75000"/>
              </a:schemeClr>
            </a:solidFill>
          </a:ln>
        </p:spPr>
      </p:pic>
      <p:pic>
        <p:nvPicPr>
          <p:cNvPr id="52" name="Рисунок 51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44196" y="3859943"/>
            <a:ext cx="1205797" cy="1735612"/>
          </a:xfrm>
          <a:prstGeom prst="rect">
            <a:avLst/>
          </a:prstGeom>
          <a:ln w="12700">
            <a:solidFill>
              <a:schemeClr val="bg1">
                <a:lumMod val="75000"/>
              </a:schemeClr>
            </a:solidFill>
          </a:ln>
          <a:effectLst/>
        </p:spPr>
      </p:pic>
      <p:sp>
        <p:nvSpPr>
          <p:cNvPr id="59" name="Прямоугольник 58"/>
          <p:cNvSpPr/>
          <p:nvPr/>
        </p:nvSpPr>
        <p:spPr>
          <a:xfrm>
            <a:off x="5567014" y="6053731"/>
            <a:ext cx="1784733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ea typeface="Cambria" panose="02040503050406030204" pitchFamily="18" charset="0"/>
                <a:cs typeface="Calibri" panose="020F0502020204030204" pitchFamily="34" charset="0"/>
              </a:rPr>
              <a:t>В ФПУ</a:t>
            </a:r>
          </a:p>
          <a:p>
            <a:pPr lvl="0" algn="ctr">
              <a:defRPr/>
            </a:pPr>
            <a:r>
              <a:rPr lang="ru-RU" sz="1200" dirty="0" smtClean="0">
                <a:solidFill>
                  <a:srgbClr val="002060"/>
                </a:solidFill>
                <a:ea typeface="Cambria" panose="02040503050406030204" pitchFamily="18" charset="0"/>
                <a:cs typeface="Calibri" panose="020F0502020204030204" pitchFamily="34" charset="0"/>
              </a:rPr>
              <a:t>1.1.2.5.1.6.1-3</a:t>
            </a:r>
          </a:p>
        </p:txBody>
      </p:sp>
      <p:sp>
        <p:nvSpPr>
          <p:cNvPr id="61" name="Прямоугольник 60"/>
          <p:cNvSpPr/>
          <p:nvPr/>
        </p:nvSpPr>
        <p:spPr>
          <a:xfrm>
            <a:off x="7401315" y="6068829"/>
            <a:ext cx="178473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ea typeface="Cambria" panose="02040503050406030204" pitchFamily="18" charset="0"/>
                <a:cs typeface="Calibri" panose="020F0502020204030204" pitchFamily="34" charset="0"/>
              </a:rPr>
              <a:t>В ФПУ</a:t>
            </a:r>
          </a:p>
          <a:p>
            <a:pPr lvl="0" algn="ctr">
              <a:defRPr/>
            </a:pPr>
            <a:r>
              <a:rPr lang="ru-RU" sz="1200" dirty="0" smtClean="0">
                <a:solidFill>
                  <a:srgbClr val="002060"/>
                </a:solidFill>
                <a:ea typeface="Cambria" panose="02040503050406030204" pitchFamily="18" charset="0"/>
                <a:cs typeface="Calibri" panose="020F0502020204030204" pitchFamily="34" charset="0"/>
              </a:rPr>
              <a:t>1.1.2.5.1.3.1-3</a:t>
            </a:r>
          </a:p>
        </p:txBody>
      </p:sp>
      <p:pic>
        <p:nvPicPr>
          <p:cNvPr id="62" name="Picture 4" descr="K:\_for all\ИМО физики\Опаловский\Презентации 2019\УМК\Грачёв\7.jpg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7560789" y="3838733"/>
            <a:ext cx="1297289" cy="1757596"/>
          </a:xfrm>
          <a:prstGeom prst="rect">
            <a:avLst/>
          </a:prstGeom>
          <a:ln w="12700">
            <a:solidFill>
              <a:schemeClr val="bg1">
                <a:lumMod val="75000"/>
              </a:schemeClr>
            </a:solidFill>
          </a:ln>
          <a:effectLst/>
        </p:spPr>
      </p:pic>
      <p:sp>
        <p:nvSpPr>
          <p:cNvPr id="50" name="TextBox 49"/>
          <p:cNvSpPr txBox="1"/>
          <p:nvPr/>
        </p:nvSpPr>
        <p:spPr>
          <a:xfrm>
            <a:off x="3209768" y="3219788"/>
            <a:ext cx="267326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b="1" dirty="0" smtClean="0">
                <a:solidFill>
                  <a:srgbClr val="FF0000"/>
                </a:solidFill>
              </a:rPr>
              <a:t>В ФПУ</a:t>
            </a:r>
          </a:p>
          <a:p>
            <a:pPr algn="ctr"/>
            <a:r>
              <a:rPr lang="ru-RU" sz="1200" dirty="0" smtClean="0">
                <a:solidFill>
                  <a:srgbClr val="002060"/>
                </a:solidFill>
              </a:rPr>
              <a:t>1.1.2.5.1.10.1-3</a:t>
            </a:r>
          </a:p>
        </p:txBody>
      </p:sp>
      <p:sp>
        <p:nvSpPr>
          <p:cNvPr id="58" name="TextBox 57"/>
          <p:cNvSpPr txBox="1"/>
          <p:nvPr/>
        </p:nvSpPr>
        <p:spPr>
          <a:xfrm>
            <a:off x="4050647" y="694775"/>
            <a:ext cx="107273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b="1" dirty="0" smtClean="0">
                <a:solidFill>
                  <a:schemeClr val="bg1"/>
                </a:solidFill>
              </a:rPr>
              <a:t>НОВИНКА</a:t>
            </a:r>
            <a:endParaRPr lang="ru-RU" sz="1600" b="1" dirty="0">
              <a:solidFill>
                <a:schemeClr val="bg1"/>
              </a:solidFill>
            </a:endParaRPr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73506" y="3857932"/>
            <a:ext cx="1247363" cy="1743604"/>
          </a:xfrm>
          <a:prstGeom prst="rect">
            <a:avLst/>
          </a:prstGeom>
        </p:spPr>
      </p:pic>
      <p:sp>
        <p:nvSpPr>
          <p:cNvPr id="56" name="TextBox 55"/>
          <p:cNvSpPr txBox="1"/>
          <p:nvPr/>
        </p:nvSpPr>
        <p:spPr>
          <a:xfrm>
            <a:off x="2041190" y="2741238"/>
            <a:ext cx="1589677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100" b="1" dirty="0" smtClean="0">
                <a:solidFill>
                  <a:srgbClr val="002060"/>
                </a:solidFill>
              </a:rPr>
              <a:t>УМК </a:t>
            </a:r>
            <a:r>
              <a:rPr lang="ru-RU" sz="1100" b="1" dirty="0" err="1" smtClean="0">
                <a:solidFill>
                  <a:srgbClr val="002060"/>
                </a:solidFill>
              </a:rPr>
              <a:t>Перышкина</a:t>
            </a:r>
            <a:r>
              <a:rPr lang="ru-RU" sz="1100" b="1" dirty="0" smtClean="0">
                <a:solidFill>
                  <a:srgbClr val="002060"/>
                </a:solidFill>
              </a:rPr>
              <a:t> А.В., Гутник Е.М.</a:t>
            </a:r>
            <a:endParaRPr lang="ru-RU" sz="1100" b="1" dirty="0">
              <a:solidFill>
                <a:srgbClr val="002060"/>
              </a:solidFill>
            </a:endParaRPr>
          </a:p>
        </p:txBody>
      </p:sp>
      <p:sp>
        <p:nvSpPr>
          <p:cNvPr id="57" name="TextBox 56"/>
          <p:cNvSpPr txBox="1"/>
          <p:nvPr/>
        </p:nvSpPr>
        <p:spPr>
          <a:xfrm>
            <a:off x="3747281" y="2740187"/>
            <a:ext cx="1676390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100" b="1" dirty="0" smtClean="0">
                <a:solidFill>
                  <a:srgbClr val="002060"/>
                </a:solidFill>
              </a:rPr>
              <a:t>УМК </a:t>
            </a:r>
            <a:r>
              <a:rPr lang="ru-RU" sz="1100" b="1" dirty="0" err="1" smtClean="0">
                <a:solidFill>
                  <a:srgbClr val="002060"/>
                </a:solidFill>
              </a:rPr>
              <a:t>Перышкина</a:t>
            </a:r>
            <a:r>
              <a:rPr lang="ru-RU" sz="1100" b="1" dirty="0" smtClean="0">
                <a:solidFill>
                  <a:srgbClr val="002060"/>
                </a:solidFill>
              </a:rPr>
              <a:t> И.М., Иванова А.И.</a:t>
            </a:r>
            <a:endParaRPr lang="ru-RU" sz="1100" b="1" dirty="0">
              <a:solidFill>
                <a:srgbClr val="002060"/>
              </a:solidFill>
            </a:endParaRPr>
          </a:p>
        </p:txBody>
      </p:sp>
      <p:sp>
        <p:nvSpPr>
          <p:cNvPr id="63" name="TextBox 62"/>
          <p:cNvSpPr txBox="1"/>
          <p:nvPr/>
        </p:nvSpPr>
        <p:spPr>
          <a:xfrm>
            <a:off x="5591157" y="2741237"/>
            <a:ext cx="1559747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100" b="1" dirty="0" smtClean="0">
                <a:solidFill>
                  <a:srgbClr val="002060"/>
                </a:solidFill>
              </a:rPr>
              <a:t>УМК Громова С.В., Родиной Н.А.</a:t>
            </a:r>
            <a:endParaRPr lang="ru-RU" sz="1100" b="1" dirty="0">
              <a:solidFill>
                <a:srgbClr val="002060"/>
              </a:solidFill>
            </a:endParaRPr>
          </a:p>
        </p:txBody>
      </p:sp>
      <p:sp>
        <p:nvSpPr>
          <p:cNvPr id="64" name="TextBox 63"/>
          <p:cNvSpPr txBox="1"/>
          <p:nvPr/>
        </p:nvSpPr>
        <p:spPr>
          <a:xfrm>
            <a:off x="7392190" y="2771340"/>
            <a:ext cx="168279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100" b="1" dirty="0" smtClean="0">
                <a:solidFill>
                  <a:srgbClr val="002060"/>
                </a:solidFill>
              </a:rPr>
              <a:t>УМК </a:t>
            </a:r>
            <a:r>
              <a:rPr lang="ru-RU" sz="1100" b="1" dirty="0" err="1" smtClean="0">
                <a:solidFill>
                  <a:srgbClr val="002060"/>
                </a:solidFill>
              </a:rPr>
              <a:t>Генденштейна</a:t>
            </a:r>
            <a:r>
              <a:rPr lang="ru-RU" sz="1100" b="1" dirty="0" smtClean="0">
                <a:solidFill>
                  <a:srgbClr val="002060"/>
                </a:solidFill>
              </a:rPr>
              <a:t> Л.Э.</a:t>
            </a:r>
            <a:endParaRPr lang="ru-RU" sz="1100" b="1" dirty="0">
              <a:solidFill>
                <a:srgbClr val="002060"/>
              </a:solidFill>
            </a:endParaRPr>
          </a:p>
        </p:txBody>
      </p:sp>
      <p:sp>
        <p:nvSpPr>
          <p:cNvPr id="65" name="TextBox 64"/>
          <p:cNvSpPr txBox="1"/>
          <p:nvPr/>
        </p:nvSpPr>
        <p:spPr>
          <a:xfrm>
            <a:off x="2010723" y="5719657"/>
            <a:ext cx="158967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100" b="1" dirty="0" smtClean="0">
                <a:solidFill>
                  <a:srgbClr val="002060"/>
                </a:solidFill>
              </a:rPr>
              <a:t>УМК «Сферы»</a:t>
            </a:r>
            <a:endParaRPr lang="ru-RU" sz="1100" b="1" dirty="0">
              <a:solidFill>
                <a:srgbClr val="002060"/>
              </a:solidFill>
            </a:endParaRPr>
          </a:p>
        </p:txBody>
      </p:sp>
      <p:sp>
        <p:nvSpPr>
          <p:cNvPr id="66" name="TextBox 65"/>
          <p:cNvSpPr txBox="1"/>
          <p:nvPr/>
        </p:nvSpPr>
        <p:spPr>
          <a:xfrm>
            <a:off x="3927770" y="5684897"/>
            <a:ext cx="1589677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100" b="1" dirty="0" smtClean="0">
                <a:solidFill>
                  <a:srgbClr val="002060"/>
                </a:solidFill>
              </a:rPr>
              <a:t>УМК </a:t>
            </a:r>
            <a:r>
              <a:rPr lang="ru-RU" sz="1100" b="1" dirty="0" err="1" smtClean="0">
                <a:solidFill>
                  <a:srgbClr val="002060"/>
                </a:solidFill>
              </a:rPr>
              <a:t>Пурышевой</a:t>
            </a:r>
            <a:r>
              <a:rPr lang="ru-RU" sz="1100" b="1" dirty="0" smtClean="0">
                <a:solidFill>
                  <a:srgbClr val="002060"/>
                </a:solidFill>
              </a:rPr>
              <a:t> Н.С., </a:t>
            </a:r>
            <a:r>
              <a:rPr lang="ru-RU" sz="1100" b="1" dirty="0" err="1" smtClean="0">
                <a:solidFill>
                  <a:srgbClr val="002060"/>
                </a:solidFill>
              </a:rPr>
              <a:t>Важеевской</a:t>
            </a:r>
            <a:r>
              <a:rPr lang="ru-RU" sz="1100" b="1" dirty="0" smtClean="0">
                <a:solidFill>
                  <a:srgbClr val="002060"/>
                </a:solidFill>
              </a:rPr>
              <a:t> Н.Е.</a:t>
            </a:r>
            <a:endParaRPr lang="ru-RU" sz="1100" b="1" dirty="0">
              <a:solidFill>
                <a:srgbClr val="002060"/>
              </a:solidFill>
            </a:endParaRPr>
          </a:p>
        </p:txBody>
      </p:sp>
      <p:sp>
        <p:nvSpPr>
          <p:cNvPr id="67" name="TextBox 66"/>
          <p:cNvSpPr txBox="1"/>
          <p:nvPr/>
        </p:nvSpPr>
        <p:spPr>
          <a:xfrm>
            <a:off x="5692259" y="5664624"/>
            <a:ext cx="158967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100" b="1" dirty="0" smtClean="0">
                <a:solidFill>
                  <a:srgbClr val="002060"/>
                </a:solidFill>
              </a:rPr>
              <a:t>УМК </a:t>
            </a:r>
            <a:r>
              <a:rPr lang="ru-RU" sz="1100" b="1" dirty="0" err="1" smtClean="0">
                <a:solidFill>
                  <a:srgbClr val="002060"/>
                </a:solidFill>
              </a:rPr>
              <a:t>Кабардина</a:t>
            </a:r>
            <a:r>
              <a:rPr lang="ru-RU" sz="1100" b="1" dirty="0" smtClean="0">
                <a:solidFill>
                  <a:srgbClr val="002060"/>
                </a:solidFill>
              </a:rPr>
              <a:t> О.Ф.</a:t>
            </a:r>
            <a:endParaRPr lang="ru-RU" sz="1100" b="1" dirty="0">
              <a:solidFill>
                <a:srgbClr val="002060"/>
              </a:solidFill>
            </a:endParaRPr>
          </a:p>
        </p:txBody>
      </p:sp>
      <p:sp>
        <p:nvSpPr>
          <p:cNvPr id="68" name="TextBox 67"/>
          <p:cNvSpPr txBox="1"/>
          <p:nvPr/>
        </p:nvSpPr>
        <p:spPr>
          <a:xfrm>
            <a:off x="7414594" y="5664624"/>
            <a:ext cx="158967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100" b="1" dirty="0" smtClean="0">
                <a:solidFill>
                  <a:srgbClr val="002060"/>
                </a:solidFill>
              </a:rPr>
              <a:t>УМК Грачева А.В.</a:t>
            </a:r>
            <a:endParaRPr lang="ru-RU" sz="1100" b="1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016394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grpSp>
        <p:nvGrpSpPr>
          <p:cNvPr id="4" name="Группа 3"/>
          <p:cNvGrpSpPr/>
          <p:nvPr/>
        </p:nvGrpSpPr>
        <p:grpSpPr>
          <a:xfrm>
            <a:off x="339553" y="260649"/>
            <a:ext cx="1268960" cy="438775"/>
            <a:chOff x="254665" y="195486"/>
            <a:chExt cx="951720" cy="329081"/>
          </a:xfrm>
        </p:grpSpPr>
        <p:sp>
          <p:nvSpPr>
            <p:cNvPr id="32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33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34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35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36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37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38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39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40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41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42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43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44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45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</p:grpSp>
      <p:cxnSp>
        <p:nvCxnSpPr>
          <p:cNvPr id="47" name="Прямая соединительная линия 46"/>
          <p:cNvCxnSpPr/>
          <p:nvPr/>
        </p:nvCxnSpPr>
        <p:spPr>
          <a:xfrm>
            <a:off x="1967541" y="0"/>
            <a:ext cx="0" cy="670171"/>
          </a:xfrm>
          <a:prstGeom prst="line">
            <a:avLst/>
          </a:prstGeom>
          <a:ln w="6350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29259" y="6432715"/>
            <a:ext cx="719403" cy="356659"/>
          </a:xfrm>
        </p:spPr>
        <p:txBody>
          <a:bodyPr/>
          <a:lstStyle/>
          <a:p>
            <a:fld id="{00000000-1234-1234-1234-123412341234}" type="slidenum">
              <a:rPr lang="en" sz="1600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</a:rPr>
              <a:pPr/>
              <a:t>23</a:t>
            </a:fld>
            <a:endParaRPr lang="en" sz="1600" dirty="0">
              <a:solidFill>
                <a:schemeClr val="tx1">
                  <a:lumMod val="75000"/>
                  <a:lumOff val="25000"/>
                </a:schemeClr>
              </a:solidFill>
              <a:latin typeface="Calibri" pitchFamily="34" charset="0"/>
            </a:endParaRPr>
          </a:p>
        </p:txBody>
      </p:sp>
      <p:sp>
        <p:nvSpPr>
          <p:cNvPr id="21" name="Прямоугольник 20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335360" y="6516869"/>
            <a:ext cx="3411921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914377">
              <a:defRPr/>
            </a:pPr>
            <a:r>
              <a:rPr lang="ru-RU" sz="1200" dirty="0">
                <a:solidFill>
                  <a:prstClr val="white">
                    <a:lumMod val="65000"/>
                  </a:prstClr>
                </a:solidFill>
                <a:latin typeface="Calibri"/>
              </a:rPr>
              <a:t>© АО «Издательство «Просвещение», 20</a:t>
            </a:r>
            <a:r>
              <a:rPr lang="en-US" sz="1200" dirty="0" smtClean="0">
                <a:solidFill>
                  <a:prstClr val="white">
                    <a:lumMod val="65000"/>
                  </a:prstClr>
                </a:solidFill>
                <a:latin typeface="Calibri"/>
              </a:rPr>
              <a:t>21</a:t>
            </a:r>
            <a:endParaRPr lang="ru-RU" sz="1200" dirty="0">
              <a:solidFill>
                <a:prstClr val="white">
                  <a:lumMod val="65000"/>
                </a:prstClr>
              </a:solidFill>
              <a:latin typeface="Calibri"/>
            </a:endParaRPr>
          </a:p>
        </p:txBody>
      </p:sp>
      <p:sp>
        <p:nvSpPr>
          <p:cNvPr id="56" name="Text Box 3"/>
          <p:cNvSpPr txBox="1">
            <a:spLocks noChangeArrowheads="1"/>
          </p:cNvSpPr>
          <p:nvPr/>
        </p:nvSpPr>
        <p:spPr bwMode="auto">
          <a:xfrm>
            <a:off x="2066438" y="68775"/>
            <a:ext cx="9491016" cy="564484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pPr>
              <a:buClrTx/>
              <a:buFontTx/>
              <a:buNone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  <a:tab pos="10333038" algn="l"/>
              </a:tabLst>
            </a:pPr>
            <a:r>
              <a:rPr lang="ru-RU" sz="2400" b="1" dirty="0" smtClean="0">
                <a:solidFill>
                  <a:srgbClr val="002060"/>
                </a:solidFill>
                <a:ea typeface="Cambria" panose="02040503050406030204" pitchFamily="18" charset="0"/>
              </a:rPr>
              <a:t>Выбираем удобный путь достижения желаемого образовательного результата по физике в основной школе</a:t>
            </a:r>
            <a:r>
              <a:rPr lang="ru-RU" sz="2800" b="1" dirty="0" smtClean="0">
                <a:solidFill>
                  <a:srgbClr val="2F5597"/>
                </a:solidFill>
                <a:latin typeface="Calibri" pitchFamily="34" charset="0"/>
              </a:rPr>
              <a:t/>
            </a:r>
            <a:br>
              <a:rPr lang="ru-RU" sz="2800" b="1" dirty="0" smtClean="0">
                <a:solidFill>
                  <a:srgbClr val="2F5597"/>
                </a:solidFill>
                <a:latin typeface="Calibri" pitchFamily="34" charset="0"/>
              </a:rPr>
            </a:br>
            <a:endParaRPr lang="ru-RU" sz="2800" b="1" dirty="0">
              <a:solidFill>
                <a:srgbClr val="2F5597"/>
              </a:solidFill>
              <a:latin typeface="Calibri" pitchFamily="34" charset="0"/>
            </a:endParaRPr>
          </a:p>
        </p:txBody>
      </p:sp>
      <p:pic>
        <p:nvPicPr>
          <p:cNvPr id="57" name="Picture 10" descr="Физика. 7 класс: учебник в 2 ч. Ч. 1"/>
          <p:cNvPicPr>
            <a:picLocks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430599" y="1425681"/>
            <a:ext cx="2160000" cy="2893587"/>
          </a:xfrm>
          <a:prstGeom prst="rect">
            <a:avLst/>
          </a:prstGeom>
          <a:noFill/>
          <a:ln w="12700"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63" name="Picture 4" descr="Физика. 7 класс"/>
          <p:cNvPicPr>
            <a:picLocks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627038" y="1425681"/>
            <a:ext cx="2160000" cy="2893587"/>
          </a:xfrm>
          <a:prstGeom prst="rect">
            <a:avLst/>
          </a:prstGeom>
          <a:noFill/>
          <a:ln w="12700"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64" name="Рисунок 63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3950" y="1440879"/>
            <a:ext cx="2160000" cy="2872342"/>
          </a:xfrm>
          <a:prstGeom prst="rect">
            <a:avLst/>
          </a:prstGeom>
          <a:ln w="19050"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66" name="Прямоугольник 65"/>
          <p:cNvSpPr/>
          <p:nvPr/>
        </p:nvSpPr>
        <p:spPr>
          <a:xfrm>
            <a:off x="335360" y="5197499"/>
            <a:ext cx="2658009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dirty="0" smtClean="0"/>
              <a:t>Традиционный курс по физике, учитывающий все современные требования</a:t>
            </a:r>
            <a:endParaRPr lang="ru-RU" sz="1400" dirty="0"/>
          </a:p>
        </p:txBody>
      </p:sp>
      <p:sp>
        <p:nvSpPr>
          <p:cNvPr id="67" name="Прямоугольник 66"/>
          <p:cNvSpPr/>
          <p:nvPr/>
        </p:nvSpPr>
        <p:spPr>
          <a:xfrm>
            <a:off x="3400542" y="5173395"/>
            <a:ext cx="2396911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dirty="0" smtClean="0"/>
              <a:t>Современный классический курс по физике</a:t>
            </a:r>
            <a:endParaRPr lang="ru-RU" sz="1400" dirty="0"/>
          </a:p>
        </p:txBody>
      </p:sp>
      <p:sp>
        <p:nvSpPr>
          <p:cNvPr id="70" name="Прямоугольник 69"/>
          <p:cNvSpPr/>
          <p:nvPr/>
        </p:nvSpPr>
        <p:spPr>
          <a:xfrm>
            <a:off x="6192009" y="5159734"/>
            <a:ext cx="2658009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dirty="0"/>
              <a:t>Современный курс по физике, ориентированный на самостоятельную экспериментальную деятельность учащихся</a:t>
            </a:r>
          </a:p>
          <a:p>
            <a:pPr algn="ctr"/>
            <a:r>
              <a:rPr lang="ru-RU" sz="1400" dirty="0" smtClean="0"/>
              <a:t> </a:t>
            </a:r>
            <a:endParaRPr lang="ru-RU" sz="1400" dirty="0"/>
          </a:p>
        </p:txBody>
      </p:sp>
      <p:pic>
        <p:nvPicPr>
          <p:cNvPr id="46" name="Рисунок 45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64858" y="1425681"/>
            <a:ext cx="2192595" cy="2924534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48" name="Прямоугольник 47"/>
          <p:cNvSpPr/>
          <p:nvPr/>
        </p:nvSpPr>
        <p:spPr>
          <a:xfrm>
            <a:off x="9117584" y="5159733"/>
            <a:ext cx="2658009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dirty="0" smtClean="0"/>
              <a:t>Современный практико-ориентированный  курс </a:t>
            </a:r>
            <a:r>
              <a:rPr lang="ru-RU" sz="1400" dirty="0"/>
              <a:t>по </a:t>
            </a:r>
            <a:r>
              <a:rPr lang="ru-RU" sz="1400" dirty="0" smtClean="0"/>
              <a:t>физике</a:t>
            </a:r>
            <a:endParaRPr lang="ru-RU" sz="1400" dirty="0"/>
          </a:p>
        </p:txBody>
      </p:sp>
      <p:sp>
        <p:nvSpPr>
          <p:cNvPr id="3" name="AutoShape 2" descr="data:image/png;base64,iVBORw0KGgoAAAANSUhEUgAAAGEAAAAaCAYAAACn4zKhAAAGV0lEQVRoQ+2aCWxVVRrHf9+57asWQSwjCBILoigdUAQFlEVCQDDg9mTQYRwTrUxFpIggihZlHxVBQBbFgjqjQqxlQGccte5GhpJoQSKbuBtFcSlogfJ6zzHn3Pa9PloH+9qUSN6XdHv3LN/9/8633NwKleaHwnkGxgAnVX2W/NmwChgoEUwHkCIvhbGyb/XXdgex3ypC4bUYeiG0bNhtk6vVroBEwOz2RPpLeeGHEgmFpwjcBjRNStbICghvppSv7i8VofBXQOtG3j65XaDAPk95nS0Ek1TkiClQJsZMSUI4YvoDhlJj9BVJCL9bCOlpyPALIOJjVr4VdxtyWU84Ph3zwrvw3d7YtXYtkYFnQ0ZT+PoHzIslsHtP7HooBbm6b+xvX8P3P2E27IAffg4+b94E75t/uF/9tCtjY1M81MvTkN6dMDOfQc9d85v8k8wTUevuh4934Xey3Xlg6tnbkUt6YGYXoKetiu3Tqjky+Byo8DFPx993QizrFQknt8D7eBmUleNnjIzb39v8EHRsg+43GVO8A1I91JzrkJwhoFxHHNiBCHrqSsyDa2sIHLdgeQQ96QnMw//9VQhy4xDUglFumoOw4pXf5J8V81AI0jcL9coM+PkA/uk5sQNg4dxzNXLnn9w++sI7Meu3J6R9dFJjQVCLcpBRF8HuvegZq+CjXdD9NNTk4XBsCD1+OWbJCzGBfY3uewekeNAnCzX7ry7i/BOvgbTUmpHQ9Fi8rYvhhOPcnPpCUKsnI0PPxcxbi54cRJ0zEbxtS5yf9ss88hI6d9nvAMKefXgb50OFxu86Dna6B8Tgni46B/V8HpSW4Xf4mxPQpRpf46cHp82a9/lyaNUcP2uMS0+HpiM1fSQyKYwp2ujWrBeEjm3w3l/ootTvOBq+LY3527sT6rWZmEX/CVJSi2b4mdlwsCJxEI0RCfT7I2rmNZg169FXzanhrLdpAZzZFn3F3zHrttaAID07ol6fBR9+hd9tPNhTX70mtMnA27IY8/wG+KYUGTsscQidx6IeH4eM6OOE1hNWxPmrltyIZA9CD5yCDOyK3HElesT9mLXFRxiC3b6sPN6J9JALXVsT5NoByA2DMHP+hc57soazquB25NIe6FvyXYGvEtieeFtLaJYeFM0h0+Czb2vUBJU/FhnRG79LLip3GHLz0HgIh/EvWhOqe/bld/jnToAfK5sBe82mQRuRkQr8U7KRs9uj1s9xACyIhK1BIsF2R/cVxvkgoy+GFk0DCFf1QcYMdUVVj8uvCeGlqUj/LujRSzGr/xdA0AY9fZUDKae1Rv7cL4gEWydsXq6MBH3eBFTxA5h5a9B3PYmae31NCIfxLwqhtAyT/zIM7oZ0ycQUrkOPnBtLReHzUSsnYpYXoW96OEiTO5ZC64wgJVV1b3Wl0SAQDtMdccbJqEdvxmz8BN1z4iERk4a385EA2AWTMB/tqrUmqH+OdylC5yzGrCkOxhyIYIpKkF5n4mfdBHv31w7hcP4d2h1ltsTbssjVJz0gD/POVudzVbFm/8FYDWiSFozLXeaKdELWGBDMli/wti8NhJ74GOahf1dWW4Wal41tLc2mT9A9JsZ1R9ULs3ruLmRwN/SoRZjnNgQQyiOQmoK+5dGoALVGQl0hWMFX5CJ/uRDz+mb0kKnwh2Z4n+ZD2QFXK6J2QpMgytdvd+1qQtYoEIp3IMPOQ626zeV488HnLsdL50xo3wr27EMPutuBiD6IGYPJL3Kpx0aS7duxebr7rUEaqExHbPsy+KzCD05rbekoAQjSqS2qZH5Q1wbkwVntUPNvwDz1Jvr6hTGtbWq0z0ptMoLOzbbedbXGgmD9kl5nILaV7JMFnnIn2bz4nsvlNt87q/Y0HL0X+2T99hb0PSsdvOiY/QfRl8/GvLE5OrShIDiglZ2QjQaOOwbpeir6slmYVzfFyaymjXRdkplVENSxulq9INR1s6rxaalBx2M7j8oTnOhSR8W8IwLhqFCuAW8iCaEBxUx0qWoQdNW75kTXSs5LVAGzVxu5VfxQeKeBDokuk5xXLwUiXsi0FT81nGOEe21/Uq/lkpPrqIDYly3PphwszA7+5SU1vBBhePKFfx11THz49xhKvIh3qVCwP/qWpSIUthCuw9AdoSzx9ZMz/48C2xCOF6TAKy9cUDXuF0j62J9hLUnjAAAAAElFTkSuQmCC"/>
          <p:cNvSpPr>
            <a:spLocks noChangeAspect="1" noChangeArrowheads="1"/>
          </p:cNvSpPr>
          <p:nvPr/>
        </p:nvSpPr>
        <p:spPr bwMode="auto">
          <a:xfrm>
            <a:off x="4015432" y="1223422"/>
            <a:ext cx="904875" cy="238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50" name="TextBox 49"/>
          <p:cNvSpPr txBox="1"/>
          <p:nvPr/>
        </p:nvSpPr>
        <p:spPr>
          <a:xfrm>
            <a:off x="774672" y="4434903"/>
            <a:ext cx="1589677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100" b="1" dirty="0" smtClean="0">
                <a:solidFill>
                  <a:srgbClr val="002060"/>
                </a:solidFill>
              </a:rPr>
              <a:t>УМК </a:t>
            </a:r>
            <a:r>
              <a:rPr lang="ru-RU" sz="1100" b="1" dirty="0" err="1" smtClean="0">
                <a:solidFill>
                  <a:srgbClr val="002060"/>
                </a:solidFill>
              </a:rPr>
              <a:t>Перышкина</a:t>
            </a:r>
            <a:r>
              <a:rPr lang="ru-RU" sz="1100" b="1" dirty="0" smtClean="0">
                <a:solidFill>
                  <a:srgbClr val="002060"/>
                </a:solidFill>
              </a:rPr>
              <a:t> И.М., Иванов А.И. и др.</a:t>
            </a:r>
            <a:endParaRPr lang="ru-RU" sz="1100" b="1" dirty="0">
              <a:solidFill>
                <a:srgbClr val="002060"/>
              </a:solidFill>
            </a:endParaRPr>
          </a:p>
        </p:txBody>
      </p:sp>
      <p:sp>
        <p:nvSpPr>
          <p:cNvPr id="52" name="TextBox 51"/>
          <p:cNvSpPr txBox="1"/>
          <p:nvPr/>
        </p:nvSpPr>
        <p:spPr>
          <a:xfrm>
            <a:off x="3927164" y="4434903"/>
            <a:ext cx="1559747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100" b="1" dirty="0" smtClean="0">
                <a:solidFill>
                  <a:srgbClr val="002060"/>
                </a:solidFill>
              </a:rPr>
              <a:t>УМК Громова С.В., Родиной Н.А.</a:t>
            </a:r>
            <a:endParaRPr lang="ru-RU" sz="1100" b="1" dirty="0">
              <a:solidFill>
                <a:srgbClr val="002060"/>
              </a:solidFill>
            </a:endParaRPr>
          </a:p>
        </p:txBody>
      </p:sp>
      <p:sp>
        <p:nvSpPr>
          <p:cNvPr id="54" name="TextBox 53"/>
          <p:cNvSpPr txBox="1"/>
          <p:nvPr/>
        </p:nvSpPr>
        <p:spPr>
          <a:xfrm>
            <a:off x="6592090" y="4434655"/>
            <a:ext cx="168279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100" b="1" dirty="0" smtClean="0">
                <a:solidFill>
                  <a:srgbClr val="002060"/>
                </a:solidFill>
              </a:rPr>
              <a:t>УМК </a:t>
            </a:r>
            <a:r>
              <a:rPr lang="ru-RU" sz="1100" b="1" dirty="0" err="1" smtClean="0">
                <a:solidFill>
                  <a:srgbClr val="002060"/>
                </a:solidFill>
              </a:rPr>
              <a:t>Генденштейна</a:t>
            </a:r>
            <a:r>
              <a:rPr lang="ru-RU" sz="1100" b="1" dirty="0" smtClean="0">
                <a:solidFill>
                  <a:srgbClr val="002060"/>
                </a:solidFill>
              </a:rPr>
              <a:t> Л.Э.</a:t>
            </a:r>
            <a:endParaRPr lang="ru-RU" sz="1100" b="1" dirty="0">
              <a:solidFill>
                <a:srgbClr val="002060"/>
              </a:solidFill>
            </a:endParaRPr>
          </a:p>
        </p:txBody>
      </p:sp>
      <p:sp>
        <p:nvSpPr>
          <p:cNvPr id="55" name="TextBox 54"/>
          <p:cNvSpPr txBox="1"/>
          <p:nvPr/>
        </p:nvSpPr>
        <p:spPr>
          <a:xfrm>
            <a:off x="9564048" y="4434655"/>
            <a:ext cx="158967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100" b="1" dirty="0" smtClean="0">
                <a:solidFill>
                  <a:srgbClr val="002060"/>
                </a:solidFill>
              </a:rPr>
              <a:t>УМК «Сферы»</a:t>
            </a:r>
            <a:endParaRPr lang="ru-RU" sz="1100" b="1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04673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Прямоугольник 44"/>
          <p:cNvSpPr/>
          <p:nvPr/>
        </p:nvSpPr>
        <p:spPr>
          <a:xfrm>
            <a:off x="7010143" y="-70075"/>
            <a:ext cx="5177889" cy="6888480"/>
          </a:xfrm>
          <a:prstGeom prst="rect">
            <a:avLst/>
          </a:prstGeom>
          <a:solidFill>
            <a:srgbClr val="D8EBF4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id="{C57A16CD-55A2-4F01-A658-438A93B431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725" name="Слайд think-cell" r:id="rId5" imgW="359" imgH="360" progId="TCLayout.ActiveDocument.1">
                  <p:embed/>
                </p:oleObj>
              </mc:Choice>
              <mc:Fallback>
                <p:oleObj name="Слайд think-cell" r:id="rId5" imgW="359" imgH="360" progId="TCLayout.ActiveDocument.1">
                  <p:embed/>
                  <p:pic>
                    <p:nvPicPr>
                      <p:cNvPr id="4" name="Объект 3" hidden="1">
                        <a:extLst>
                          <a:ext uri="{FF2B5EF4-FFF2-40B4-BE49-F238E27FC236}">
                            <a16:creationId xmlns:a16="http://schemas.microsoft.com/office/drawing/2014/main" id="{C57A16CD-55A2-4F01-A658-438A93B431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Номер слайда 8"/>
          <p:cNvSpPr txBox="1">
            <a:spLocks/>
          </p:cNvSpPr>
          <p:nvPr/>
        </p:nvSpPr>
        <p:spPr>
          <a:xfrm>
            <a:off x="8763000" y="65087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8" name="Прямоугольник 27"/>
          <p:cNvSpPr/>
          <p:nvPr/>
        </p:nvSpPr>
        <p:spPr>
          <a:xfrm>
            <a:off x="7219412" y="778011"/>
            <a:ext cx="4101121" cy="47295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ea typeface="Open Sans" panose="020B0606030504020204" pitchFamily="34" charset="0"/>
                <a:cs typeface="Open Sans" panose="020B0606030504020204" pitchFamily="34" charset="0"/>
              </a:rPr>
              <a:t>Содержание</a:t>
            </a:r>
          </a:p>
          <a:p>
            <a:pPr marL="285750" lvl="0" indent="-285750">
              <a:spcBef>
                <a:spcPts val="1600"/>
              </a:spcBef>
              <a:buBlip>
                <a:blip r:embed="rId7"/>
              </a:buBlip>
              <a:defRPr/>
            </a:pPr>
            <a:r>
              <a:rPr lang="ru-RU" sz="1400" dirty="0">
                <a:solidFill>
                  <a:srgbClr val="002060"/>
                </a:solidFill>
                <a:ea typeface="Open Sans" pitchFamily="34" charset="0"/>
                <a:cs typeface="Open Sans" pitchFamily="34" charset="0"/>
              </a:rPr>
              <a:t>Линия УМК И.М. </a:t>
            </a:r>
            <a:r>
              <a:rPr lang="ru-RU" sz="1400" dirty="0" err="1">
                <a:solidFill>
                  <a:srgbClr val="002060"/>
                </a:solidFill>
                <a:ea typeface="Open Sans" pitchFamily="34" charset="0"/>
                <a:cs typeface="Open Sans" pitchFamily="34" charset="0"/>
              </a:rPr>
              <a:t>Перышкина</a:t>
            </a:r>
            <a:r>
              <a:rPr lang="ru-RU" sz="1400" dirty="0">
                <a:solidFill>
                  <a:srgbClr val="002060"/>
                </a:solidFill>
                <a:ea typeface="Open Sans" pitchFamily="34" charset="0"/>
                <a:cs typeface="Open Sans" pitchFamily="34" charset="0"/>
              </a:rPr>
              <a:t>, А.И. Иванова, Е.М. </a:t>
            </a:r>
            <a:r>
              <a:rPr lang="ru-RU" sz="1400" dirty="0" err="1">
                <a:solidFill>
                  <a:srgbClr val="002060"/>
                </a:solidFill>
                <a:ea typeface="Open Sans" pitchFamily="34" charset="0"/>
                <a:cs typeface="Open Sans" pitchFamily="34" charset="0"/>
              </a:rPr>
              <a:t>Гутник</a:t>
            </a:r>
            <a:r>
              <a:rPr lang="ru-RU" sz="1400" dirty="0">
                <a:solidFill>
                  <a:srgbClr val="002060"/>
                </a:solidFill>
                <a:ea typeface="Open Sans" pitchFamily="34" charset="0"/>
                <a:cs typeface="Open Sans" pitchFamily="34" charset="0"/>
              </a:rPr>
              <a:t> и др.</a:t>
            </a:r>
          </a:p>
          <a:p>
            <a:pPr marL="285750" lvl="0" indent="-285750">
              <a:spcBef>
                <a:spcPts val="1600"/>
              </a:spcBef>
              <a:buBlip>
                <a:blip r:embed="rId7"/>
              </a:buBlip>
              <a:defRPr/>
            </a:pPr>
            <a:r>
              <a:rPr lang="ru-RU" sz="1400" dirty="0" smtClean="0">
                <a:solidFill>
                  <a:srgbClr val="002060"/>
                </a:solidFill>
                <a:ea typeface="Open Sans" pitchFamily="34" charset="0"/>
                <a:cs typeface="Open Sans" pitchFamily="34" charset="0"/>
              </a:rPr>
              <a:t>Преемственность </a:t>
            </a:r>
            <a:r>
              <a:rPr lang="ru-RU" sz="1400" dirty="0">
                <a:solidFill>
                  <a:srgbClr val="002060"/>
                </a:solidFill>
                <a:ea typeface="Open Sans" pitchFamily="34" charset="0"/>
                <a:cs typeface="Open Sans" pitchFamily="34" charset="0"/>
              </a:rPr>
              <a:t>с УМК «Физика 7-9» А.В. </a:t>
            </a:r>
            <a:r>
              <a:rPr lang="ru-RU" sz="1400" dirty="0" err="1">
                <a:solidFill>
                  <a:srgbClr val="002060"/>
                </a:solidFill>
                <a:ea typeface="Open Sans" pitchFamily="34" charset="0"/>
                <a:cs typeface="Open Sans" pitchFamily="34" charset="0"/>
              </a:rPr>
              <a:t>Перышкина</a:t>
            </a:r>
            <a:r>
              <a:rPr lang="ru-RU" sz="1400" dirty="0">
                <a:solidFill>
                  <a:srgbClr val="002060"/>
                </a:solidFill>
                <a:ea typeface="Open Sans" pitchFamily="34" charset="0"/>
                <a:cs typeface="Open Sans" pitchFamily="34" charset="0"/>
              </a:rPr>
              <a:t>, Е.М. </a:t>
            </a:r>
            <a:r>
              <a:rPr lang="ru-RU" sz="1400" dirty="0" err="1">
                <a:solidFill>
                  <a:srgbClr val="002060"/>
                </a:solidFill>
                <a:ea typeface="Open Sans" pitchFamily="34" charset="0"/>
                <a:cs typeface="Open Sans" pitchFamily="34" charset="0"/>
              </a:rPr>
              <a:t>Гутник</a:t>
            </a:r>
            <a:endParaRPr lang="ru-RU" sz="1400" dirty="0">
              <a:solidFill>
                <a:srgbClr val="002060"/>
              </a:solidFill>
              <a:ea typeface="Open Sans" pitchFamily="34" charset="0"/>
              <a:cs typeface="Open Sans" pitchFamily="34" charset="0"/>
            </a:endParaRPr>
          </a:p>
          <a:p>
            <a:pPr marL="285750" lvl="0" indent="-285750">
              <a:spcBef>
                <a:spcPts val="1600"/>
              </a:spcBef>
              <a:buBlip>
                <a:blip r:embed="rId7"/>
              </a:buBlip>
              <a:defRPr/>
            </a:pPr>
            <a:r>
              <a:rPr lang="ru-RU" sz="1400" dirty="0">
                <a:solidFill>
                  <a:srgbClr val="002060"/>
                </a:solidFill>
                <a:ea typeface="Open Sans" pitchFamily="34" charset="0"/>
                <a:cs typeface="Open Sans" pitchFamily="34" charset="0"/>
              </a:rPr>
              <a:t>Система заданий соответствует новой модели </a:t>
            </a:r>
            <a:r>
              <a:rPr lang="ru-RU" sz="1400" dirty="0" smtClean="0">
                <a:solidFill>
                  <a:srgbClr val="002060"/>
                </a:solidFill>
                <a:ea typeface="Open Sans" pitchFamily="34" charset="0"/>
                <a:cs typeface="Open Sans" pitchFamily="34" charset="0"/>
              </a:rPr>
              <a:t>ОГЭ: решение задач</a:t>
            </a:r>
          </a:p>
          <a:p>
            <a:pPr marL="285750" lvl="0" indent="-285750">
              <a:spcBef>
                <a:spcPts val="1600"/>
              </a:spcBef>
              <a:buBlip>
                <a:blip r:embed="rId7"/>
              </a:buBlip>
              <a:defRPr/>
            </a:pPr>
            <a:r>
              <a:rPr lang="ru-RU" sz="1400" dirty="0">
                <a:solidFill>
                  <a:srgbClr val="002060"/>
                </a:solidFill>
                <a:ea typeface="Open Sans" pitchFamily="34" charset="0"/>
                <a:cs typeface="Open Sans" pitchFamily="34" charset="0"/>
              </a:rPr>
              <a:t>Система заданий соответствует новой модели ОГЭ: методологические умения</a:t>
            </a:r>
          </a:p>
          <a:p>
            <a:pPr marL="285750" lvl="0" indent="-285750">
              <a:spcBef>
                <a:spcPts val="1600"/>
              </a:spcBef>
              <a:buBlip>
                <a:blip r:embed="rId7"/>
              </a:buBlip>
              <a:defRPr/>
            </a:pPr>
            <a:r>
              <a:rPr lang="ru-RU" sz="1400" dirty="0">
                <a:solidFill>
                  <a:srgbClr val="002060"/>
                </a:solidFill>
                <a:ea typeface="Open Sans" pitchFamily="34" charset="0"/>
                <a:cs typeface="Open Sans" pitchFamily="34" charset="0"/>
              </a:rPr>
              <a:t>Система заданий соответствует новой модели ОГЭ: качественные задачи</a:t>
            </a:r>
          </a:p>
          <a:p>
            <a:pPr marL="285750" lvl="0" indent="-285750">
              <a:spcBef>
                <a:spcPts val="1600"/>
              </a:spcBef>
              <a:buBlip>
                <a:blip r:embed="rId7"/>
              </a:buBlip>
              <a:defRPr/>
            </a:pPr>
            <a:r>
              <a:rPr lang="ru-RU" sz="1400" dirty="0">
                <a:solidFill>
                  <a:srgbClr val="002060"/>
                </a:solidFill>
                <a:ea typeface="Open Sans" pitchFamily="34" charset="0"/>
                <a:cs typeface="Open Sans" pitchFamily="34" charset="0"/>
              </a:rPr>
              <a:t>Контекстные задания. Формирование функциональной </a:t>
            </a:r>
            <a:r>
              <a:rPr lang="ru-RU" sz="1400" dirty="0" smtClean="0">
                <a:solidFill>
                  <a:srgbClr val="002060"/>
                </a:solidFill>
                <a:ea typeface="Open Sans" pitchFamily="34" charset="0"/>
                <a:cs typeface="Open Sans" pitchFamily="34" charset="0"/>
              </a:rPr>
              <a:t>грамотности</a:t>
            </a:r>
          </a:p>
          <a:p>
            <a:pPr marL="285750" lvl="0" indent="-285750">
              <a:spcBef>
                <a:spcPts val="1600"/>
              </a:spcBef>
              <a:buBlip>
                <a:blip r:embed="rId7"/>
              </a:buBlip>
              <a:defRPr/>
            </a:pPr>
            <a:r>
              <a:rPr lang="ru-RU" sz="1400" dirty="0">
                <a:solidFill>
                  <a:srgbClr val="002060"/>
                </a:solidFill>
                <a:ea typeface="Open Sans" pitchFamily="34" charset="0"/>
                <a:cs typeface="Open Sans" pitchFamily="34" charset="0"/>
              </a:rPr>
              <a:t>Компоненты линии УМК И.М. </a:t>
            </a:r>
            <a:r>
              <a:rPr lang="ru-RU" sz="1400" dirty="0" err="1">
                <a:solidFill>
                  <a:srgbClr val="002060"/>
                </a:solidFill>
                <a:ea typeface="Open Sans" pitchFamily="34" charset="0"/>
                <a:cs typeface="Open Sans" pitchFamily="34" charset="0"/>
              </a:rPr>
              <a:t>Перышкина</a:t>
            </a:r>
            <a:r>
              <a:rPr lang="ru-RU" sz="1400" dirty="0">
                <a:solidFill>
                  <a:srgbClr val="002060"/>
                </a:solidFill>
                <a:ea typeface="Open Sans" pitchFamily="34" charset="0"/>
                <a:cs typeface="Open Sans" pitchFamily="34" charset="0"/>
              </a:rPr>
              <a:t>, А.И. Иванова, Е.М. </a:t>
            </a:r>
            <a:r>
              <a:rPr lang="ru-RU" sz="1400" dirty="0" err="1">
                <a:solidFill>
                  <a:srgbClr val="002060"/>
                </a:solidFill>
                <a:ea typeface="Open Sans" pitchFamily="34" charset="0"/>
                <a:cs typeface="Open Sans" pitchFamily="34" charset="0"/>
              </a:rPr>
              <a:t>Гутник</a:t>
            </a:r>
            <a:r>
              <a:rPr lang="ru-RU" sz="1400" dirty="0">
                <a:solidFill>
                  <a:srgbClr val="002060"/>
                </a:solidFill>
                <a:ea typeface="Open Sans" pitchFamily="34" charset="0"/>
                <a:cs typeface="Open Sans" pitchFamily="34" charset="0"/>
              </a:rPr>
              <a:t>, М.А. Петровой</a:t>
            </a:r>
          </a:p>
        </p:txBody>
      </p:sp>
      <p:grpSp>
        <p:nvGrpSpPr>
          <p:cNvPr id="6" name="Группа 5"/>
          <p:cNvGrpSpPr/>
          <p:nvPr/>
        </p:nvGrpSpPr>
        <p:grpSpPr>
          <a:xfrm>
            <a:off x="11375669" y="-4589"/>
            <a:ext cx="813280" cy="6790912"/>
            <a:chOff x="8531752" y="-3442"/>
            <a:chExt cx="609960" cy="5093184"/>
          </a:xfrm>
        </p:grpSpPr>
        <p:sp>
          <p:nvSpPr>
            <p:cNvPr id="32" name="Rectangle 10"/>
            <p:cNvSpPr>
              <a:spLocks noChangeArrowheads="1"/>
            </p:cNvSpPr>
            <p:nvPr/>
          </p:nvSpPr>
          <p:spPr bwMode="auto">
            <a:xfrm>
              <a:off x="8531752" y="1693368"/>
              <a:ext cx="609272" cy="566063"/>
            </a:xfrm>
            <a:prstGeom prst="rect">
              <a:avLst/>
            </a:prstGeom>
            <a:solidFill>
              <a:srgbClr val="40D4E2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0" name="Rectangle 13"/>
            <p:cNvSpPr>
              <a:spLocks noChangeArrowheads="1"/>
            </p:cNvSpPr>
            <p:nvPr/>
          </p:nvSpPr>
          <p:spPr bwMode="auto">
            <a:xfrm>
              <a:off x="8531752" y="3957617"/>
              <a:ext cx="609272" cy="566063"/>
            </a:xfrm>
            <a:prstGeom prst="rect">
              <a:avLst/>
            </a:prstGeom>
            <a:solidFill>
              <a:srgbClr val="43D1A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1" name="Rectangle 14"/>
            <p:cNvSpPr>
              <a:spLocks noChangeArrowheads="1"/>
            </p:cNvSpPr>
            <p:nvPr/>
          </p:nvSpPr>
          <p:spPr bwMode="auto">
            <a:xfrm>
              <a:off x="8532440" y="3391554"/>
              <a:ext cx="609272" cy="566063"/>
            </a:xfrm>
            <a:prstGeom prst="rect">
              <a:avLst/>
            </a:prstGeom>
            <a:solidFill>
              <a:srgbClr val="5471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4" name="Rectangle 17"/>
            <p:cNvSpPr>
              <a:spLocks noChangeArrowheads="1"/>
            </p:cNvSpPr>
            <p:nvPr/>
          </p:nvSpPr>
          <p:spPr bwMode="auto">
            <a:xfrm>
              <a:off x="8531753" y="-3442"/>
              <a:ext cx="609272" cy="566063"/>
            </a:xfrm>
            <a:prstGeom prst="rect">
              <a:avLst/>
            </a:prstGeom>
            <a:solidFill>
              <a:srgbClr val="F5B1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6" name="Rectangle 19"/>
            <p:cNvSpPr>
              <a:spLocks noChangeArrowheads="1"/>
            </p:cNvSpPr>
            <p:nvPr/>
          </p:nvSpPr>
          <p:spPr bwMode="auto">
            <a:xfrm>
              <a:off x="8532440" y="2259429"/>
              <a:ext cx="609272" cy="566063"/>
            </a:xfrm>
            <a:prstGeom prst="rect">
              <a:avLst/>
            </a:prstGeom>
            <a:solidFill>
              <a:srgbClr val="40A7E1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8" name="Rectangle 21"/>
            <p:cNvSpPr>
              <a:spLocks noChangeArrowheads="1"/>
            </p:cNvSpPr>
            <p:nvPr/>
          </p:nvSpPr>
          <p:spPr bwMode="auto">
            <a:xfrm>
              <a:off x="8532440" y="4523679"/>
              <a:ext cx="609272" cy="566063"/>
            </a:xfrm>
            <a:prstGeom prst="rect">
              <a:avLst/>
            </a:prstGeom>
            <a:solidFill>
              <a:srgbClr val="F5B144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9" name="Rectangle 22"/>
            <p:cNvSpPr>
              <a:spLocks noChangeArrowheads="1"/>
            </p:cNvSpPr>
            <p:nvPr/>
          </p:nvSpPr>
          <p:spPr bwMode="auto">
            <a:xfrm>
              <a:off x="8531753" y="1127076"/>
              <a:ext cx="609272" cy="566063"/>
            </a:xfrm>
            <a:prstGeom prst="rect">
              <a:avLst/>
            </a:prstGeom>
            <a:solidFill>
              <a:srgbClr val="43D1A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2" name="Rectangle 25"/>
            <p:cNvSpPr>
              <a:spLocks noChangeArrowheads="1"/>
            </p:cNvSpPr>
            <p:nvPr/>
          </p:nvSpPr>
          <p:spPr bwMode="auto">
            <a:xfrm>
              <a:off x="8532440" y="2825491"/>
              <a:ext cx="609272" cy="566063"/>
            </a:xfrm>
            <a:prstGeom prst="rect">
              <a:avLst/>
            </a:prstGeom>
            <a:solidFill>
              <a:srgbClr val="4383D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6" name="Rectangle 29"/>
            <p:cNvSpPr>
              <a:spLocks noChangeArrowheads="1"/>
            </p:cNvSpPr>
            <p:nvPr/>
          </p:nvSpPr>
          <p:spPr bwMode="auto">
            <a:xfrm>
              <a:off x="8531753" y="561014"/>
              <a:ext cx="609272" cy="566063"/>
            </a:xfrm>
            <a:prstGeom prst="rect">
              <a:avLst/>
            </a:prstGeom>
            <a:solidFill>
              <a:srgbClr val="9ED4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9" name="Freeform 32"/>
            <p:cNvSpPr>
              <a:spLocks noEditPoints="1"/>
            </p:cNvSpPr>
            <p:nvPr/>
          </p:nvSpPr>
          <p:spPr bwMode="auto">
            <a:xfrm>
              <a:off x="8700607" y="1885691"/>
              <a:ext cx="271564" cy="203921"/>
            </a:xfrm>
            <a:custGeom>
              <a:avLst/>
              <a:gdLst>
                <a:gd name="T0" fmla="*/ 787 w 859"/>
                <a:gd name="T1" fmla="*/ 107 h 644"/>
                <a:gd name="T2" fmla="*/ 787 w 859"/>
                <a:gd name="T3" fmla="*/ 573 h 644"/>
                <a:gd name="T4" fmla="*/ 537 w 859"/>
                <a:gd name="T5" fmla="*/ 573 h 644"/>
                <a:gd name="T6" fmla="*/ 465 w 859"/>
                <a:gd name="T7" fmla="*/ 644 h 644"/>
                <a:gd name="T8" fmla="*/ 859 w 859"/>
                <a:gd name="T9" fmla="*/ 644 h 644"/>
                <a:gd name="T10" fmla="*/ 859 w 859"/>
                <a:gd name="T11" fmla="*/ 107 h 644"/>
                <a:gd name="T12" fmla="*/ 787 w 859"/>
                <a:gd name="T13" fmla="*/ 107 h 644"/>
                <a:gd name="T14" fmla="*/ 476 w 859"/>
                <a:gd name="T15" fmla="*/ 476 h 644"/>
                <a:gd name="T16" fmla="*/ 383 w 859"/>
                <a:gd name="T17" fmla="*/ 476 h 644"/>
                <a:gd name="T18" fmla="*/ 373 w 859"/>
                <a:gd name="T19" fmla="*/ 465 h 644"/>
                <a:gd name="T20" fmla="*/ 179 w 859"/>
                <a:gd name="T21" fmla="*/ 465 h 644"/>
                <a:gd name="T22" fmla="*/ 179 w 859"/>
                <a:gd name="T23" fmla="*/ 71 h 644"/>
                <a:gd name="T24" fmla="*/ 344 w 859"/>
                <a:gd name="T25" fmla="*/ 71 h 644"/>
                <a:gd name="T26" fmla="*/ 393 w 859"/>
                <a:gd name="T27" fmla="*/ 96 h 644"/>
                <a:gd name="T28" fmla="*/ 393 w 859"/>
                <a:gd name="T29" fmla="*/ 358 h 644"/>
                <a:gd name="T30" fmla="*/ 465 w 859"/>
                <a:gd name="T31" fmla="*/ 358 h 644"/>
                <a:gd name="T32" fmla="*/ 465 w 859"/>
                <a:gd name="T33" fmla="*/ 96 h 644"/>
                <a:gd name="T34" fmla="*/ 515 w 859"/>
                <a:gd name="T35" fmla="*/ 71 h 644"/>
                <a:gd name="T36" fmla="*/ 680 w 859"/>
                <a:gd name="T37" fmla="*/ 71 h 644"/>
                <a:gd name="T38" fmla="*/ 680 w 859"/>
                <a:gd name="T39" fmla="*/ 465 h 644"/>
                <a:gd name="T40" fmla="*/ 486 w 859"/>
                <a:gd name="T41" fmla="*/ 465 h 644"/>
                <a:gd name="T42" fmla="*/ 476 w 859"/>
                <a:gd name="T43" fmla="*/ 476 h 644"/>
                <a:gd name="T44" fmla="*/ 752 w 859"/>
                <a:gd name="T45" fmla="*/ 537 h 644"/>
                <a:gd name="T46" fmla="*/ 752 w 859"/>
                <a:gd name="T47" fmla="*/ 0 h 644"/>
                <a:gd name="T48" fmla="*/ 486 w 859"/>
                <a:gd name="T49" fmla="*/ 0 h 644"/>
                <a:gd name="T50" fmla="*/ 476 w 859"/>
                <a:gd name="T51" fmla="*/ 10 h 644"/>
                <a:gd name="T52" fmla="*/ 383 w 859"/>
                <a:gd name="T53" fmla="*/ 10 h 644"/>
                <a:gd name="T54" fmla="*/ 373 w 859"/>
                <a:gd name="T55" fmla="*/ 0 h 644"/>
                <a:gd name="T56" fmla="*/ 107 w 859"/>
                <a:gd name="T57" fmla="*/ 0 h 644"/>
                <a:gd name="T58" fmla="*/ 107 w 859"/>
                <a:gd name="T59" fmla="*/ 537 h 644"/>
                <a:gd name="T60" fmla="*/ 344 w 859"/>
                <a:gd name="T61" fmla="*/ 537 h 644"/>
                <a:gd name="T62" fmla="*/ 429 w 859"/>
                <a:gd name="T63" fmla="*/ 566 h 644"/>
                <a:gd name="T64" fmla="*/ 515 w 859"/>
                <a:gd name="T65" fmla="*/ 537 h 644"/>
                <a:gd name="T66" fmla="*/ 752 w 859"/>
                <a:gd name="T67" fmla="*/ 537 h 644"/>
                <a:gd name="T68" fmla="*/ 71 w 859"/>
                <a:gd name="T69" fmla="*/ 573 h 644"/>
                <a:gd name="T70" fmla="*/ 71 w 859"/>
                <a:gd name="T71" fmla="*/ 107 h 644"/>
                <a:gd name="T72" fmla="*/ 0 w 859"/>
                <a:gd name="T73" fmla="*/ 107 h 644"/>
                <a:gd name="T74" fmla="*/ 0 w 859"/>
                <a:gd name="T75" fmla="*/ 644 h 644"/>
                <a:gd name="T76" fmla="*/ 394 w 859"/>
                <a:gd name="T77" fmla="*/ 644 h 644"/>
                <a:gd name="T78" fmla="*/ 322 w 859"/>
                <a:gd name="T79" fmla="*/ 573 h 644"/>
                <a:gd name="T80" fmla="*/ 71 w 859"/>
                <a:gd name="T81" fmla="*/ 573 h 6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859" h="644">
                  <a:moveTo>
                    <a:pt x="787" y="107"/>
                  </a:moveTo>
                  <a:lnTo>
                    <a:pt x="787" y="573"/>
                  </a:lnTo>
                  <a:lnTo>
                    <a:pt x="537" y="573"/>
                  </a:lnTo>
                  <a:lnTo>
                    <a:pt x="465" y="644"/>
                  </a:lnTo>
                  <a:lnTo>
                    <a:pt x="859" y="644"/>
                  </a:lnTo>
                  <a:lnTo>
                    <a:pt x="859" y="107"/>
                  </a:lnTo>
                  <a:lnTo>
                    <a:pt x="787" y="107"/>
                  </a:lnTo>
                  <a:close/>
                  <a:moveTo>
                    <a:pt x="476" y="476"/>
                  </a:moveTo>
                  <a:cubicBezTo>
                    <a:pt x="450" y="501"/>
                    <a:pt x="409" y="501"/>
                    <a:pt x="383" y="476"/>
                  </a:cubicBezTo>
                  <a:lnTo>
                    <a:pt x="373" y="465"/>
                  </a:lnTo>
                  <a:lnTo>
                    <a:pt x="179" y="465"/>
                  </a:lnTo>
                  <a:lnTo>
                    <a:pt x="179" y="71"/>
                  </a:lnTo>
                  <a:lnTo>
                    <a:pt x="344" y="71"/>
                  </a:lnTo>
                  <a:cubicBezTo>
                    <a:pt x="359" y="71"/>
                    <a:pt x="393" y="91"/>
                    <a:pt x="393" y="96"/>
                  </a:cubicBezTo>
                  <a:lnTo>
                    <a:pt x="393" y="358"/>
                  </a:lnTo>
                  <a:lnTo>
                    <a:pt x="465" y="358"/>
                  </a:lnTo>
                  <a:lnTo>
                    <a:pt x="465" y="96"/>
                  </a:lnTo>
                  <a:cubicBezTo>
                    <a:pt x="465" y="91"/>
                    <a:pt x="500" y="71"/>
                    <a:pt x="515" y="71"/>
                  </a:cubicBezTo>
                  <a:lnTo>
                    <a:pt x="680" y="71"/>
                  </a:lnTo>
                  <a:lnTo>
                    <a:pt x="680" y="465"/>
                  </a:lnTo>
                  <a:lnTo>
                    <a:pt x="486" y="465"/>
                  </a:lnTo>
                  <a:lnTo>
                    <a:pt x="476" y="476"/>
                  </a:lnTo>
                  <a:close/>
                  <a:moveTo>
                    <a:pt x="752" y="537"/>
                  </a:moveTo>
                  <a:lnTo>
                    <a:pt x="752" y="0"/>
                  </a:lnTo>
                  <a:lnTo>
                    <a:pt x="486" y="0"/>
                  </a:lnTo>
                  <a:lnTo>
                    <a:pt x="476" y="10"/>
                  </a:lnTo>
                  <a:cubicBezTo>
                    <a:pt x="450" y="36"/>
                    <a:pt x="409" y="36"/>
                    <a:pt x="383" y="10"/>
                  </a:cubicBezTo>
                  <a:lnTo>
                    <a:pt x="373" y="0"/>
                  </a:lnTo>
                  <a:lnTo>
                    <a:pt x="107" y="0"/>
                  </a:lnTo>
                  <a:lnTo>
                    <a:pt x="107" y="537"/>
                  </a:lnTo>
                  <a:lnTo>
                    <a:pt x="344" y="537"/>
                  </a:lnTo>
                  <a:cubicBezTo>
                    <a:pt x="369" y="573"/>
                    <a:pt x="399" y="566"/>
                    <a:pt x="429" y="566"/>
                  </a:cubicBezTo>
                  <a:cubicBezTo>
                    <a:pt x="460" y="566"/>
                    <a:pt x="490" y="573"/>
                    <a:pt x="515" y="537"/>
                  </a:cubicBezTo>
                  <a:lnTo>
                    <a:pt x="752" y="537"/>
                  </a:lnTo>
                  <a:close/>
                  <a:moveTo>
                    <a:pt x="71" y="573"/>
                  </a:moveTo>
                  <a:lnTo>
                    <a:pt x="71" y="107"/>
                  </a:lnTo>
                  <a:lnTo>
                    <a:pt x="0" y="107"/>
                  </a:lnTo>
                  <a:lnTo>
                    <a:pt x="0" y="644"/>
                  </a:lnTo>
                  <a:lnTo>
                    <a:pt x="394" y="644"/>
                  </a:lnTo>
                  <a:lnTo>
                    <a:pt x="322" y="573"/>
                  </a:lnTo>
                  <a:lnTo>
                    <a:pt x="71" y="57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7" name="Freeform 40"/>
            <p:cNvSpPr>
              <a:spLocks noEditPoints="1"/>
            </p:cNvSpPr>
            <p:nvPr/>
          </p:nvSpPr>
          <p:spPr bwMode="auto">
            <a:xfrm>
              <a:off x="8701296" y="1308377"/>
              <a:ext cx="270186" cy="225965"/>
            </a:xfrm>
            <a:custGeom>
              <a:avLst/>
              <a:gdLst>
                <a:gd name="T0" fmla="*/ 716 w 859"/>
                <a:gd name="T1" fmla="*/ 0 h 716"/>
                <a:gd name="T2" fmla="*/ 143 w 859"/>
                <a:gd name="T3" fmla="*/ 0 h 716"/>
                <a:gd name="T4" fmla="*/ 0 w 859"/>
                <a:gd name="T5" fmla="*/ 143 h 716"/>
                <a:gd name="T6" fmla="*/ 143 w 859"/>
                <a:gd name="T7" fmla="*/ 286 h 716"/>
                <a:gd name="T8" fmla="*/ 286 w 859"/>
                <a:gd name="T9" fmla="*/ 143 h 716"/>
                <a:gd name="T10" fmla="*/ 215 w 859"/>
                <a:gd name="T11" fmla="*/ 143 h 716"/>
                <a:gd name="T12" fmla="*/ 143 w 859"/>
                <a:gd name="T13" fmla="*/ 215 h 716"/>
                <a:gd name="T14" fmla="*/ 72 w 859"/>
                <a:gd name="T15" fmla="*/ 143 h 716"/>
                <a:gd name="T16" fmla="*/ 143 w 859"/>
                <a:gd name="T17" fmla="*/ 72 h 716"/>
                <a:gd name="T18" fmla="*/ 716 w 859"/>
                <a:gd name="T19" fmla="*/ 72 h 716"/>
                <a:gd name="T20" fmla="*/ 788 w 859"/>
                <a:gd name="T21" fmla="*/ 143 h 716"/>
                <a:gd name="T22" fmla="*/ 716 w 859"/>
                <a:gd name="T23" fmla="*/ 215 h 716"/>
                <a:gd name="T24" fmla="*/ 645 w 859"/>
                <a:gd name="T25" fmla="*/ 143 h 716"/>
                <a:gd name="T26" fmla="*/ 573 w 859"/>
                <a:gd name="T27" fmla="*/ 143 h 716"/>
                <a:gd name="T28" fmla="*/ 716 w 859"/>
                <a:gd name="T29" fmla="*/ 286 h 716"/>
                <a:gd name="T30" fmla="*/ 859 w 859"/>
                <a:gd name="T31" fmla="*/ 143 h 716"/>
                <a:gd name="T32" fmla="*/ 716 w 859"/>
                <a:gd name="T33" fmla="*/ 0 h 716"/>
                <a:gd name="T34" fmla="*/ 394 w 859"/>
                <a:gd name="T35" fmla="*/ 143 h 716"/>
                <a:gd name="T36" fmla="*/ 394 w 859"/>
                <a:gd name="T37" fmla="*/ 573 h 716"/>
                <a:gd name="T38" fmla="*/ 465 w 859"/>
                <a:gd name="T39" fmla="*/ 573 h 716"/>
                <a:gd name="T40" fmla="*/ 465 w 859"/>
                <a:gd name="T41" fmla="*/ 143 h 716"/>
                <a:gd name="T42" fmla="*/ 394 w 859"/>
                <a:gd name="T43" fmla="*/ 143 h 716"/>
                <a:gd name="T44" fmla="*/ 537 w 859"/>
                <a:gd name="T45" fmla="*/ 262 h 716"/>
                <a:gd name="T46" fmla="*/ 537 w 859"/>
                <a:gd name="T47" fmla="*/ 573 h 716"/>
                <a:gd name="T48" fmla="*/ 609 w 859"/>
                <a:gd name="T49" fmla="*/ 573 h 716"/>
                <a:gd name="T50" fmla="*/ 609 w 859"/>
                <a:gd name="T51" fmla="*/ 329 h 716"/>
                <a:gd name="T52" fmla="*/ 537 w 859"/>
                <a:gd name="T53" fmla="*/ 262 h 716"/>
                <a:gd name="T54" fmla="*/ 250 w 859"/>
                <a:gd name="T55" fmla="*/ 329 h 716"/>
                <a:gd name="T56" fmla="*/ 250 w 859"/>
                <a:gd name="T57" fmla="*/ 573 h 716"/>
                <a:gd name="T58" fmla="*/ 322 w 859"/>
                <a:gd name="T59" fmla="*/ 573 h 716"/>
                <a:gd name="T60" fmla="*/ 322 w 859"/>
                <a:gd name="T61" fmla="*/ 262 h 716"/>
                <a:gd name="T62" fmla="*/ 250 w 859"/>
                <a:gd name="T63" fmla="*/ 329 h 716"/>
                <a:gd name="T64" fmla="*/ 143 w 859"/>
                <a:gd name="T65" fmla="*/ 716 h 716"/>
                <a:gd name="T66" fmla="*/ 716 w 859"/>
                <a:gd name="T67" fmla="*/ 716 h 716"/>
                <a:gd name="T68" fmla="*/ 716 w 859"/>
                <a:gd name="T69" fmla="*/ 645 h 716"/>
                <a:gd name="T70" fmla="*/ 143 w 859"/>
                <a:gd name="T71" fmla="*/ 645 h 716"/>
                <a:gd name="T72" fmla="*/ 143 w 859"/>
                <a:gd name="T73" fmla="*/ 716 h 7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859" h="716">
                  <a:moveTo>
                    <a:pt x="716" y="0"/>
                  </a:moveTo>
                  <a:lnTo>
                    <a:pt x="143" y="0"/>
                  </a:lnTo>
                  <a:cubicBezTo>
                    <a:pt x="64" y="0"/>
                    <a:pt x="0" y="64"/>
                    <a:pt x="0" y="143"/>
                  </a:cubicBezTo>
                  <a:cubicBezTo>
                    <a:pt x="0" y="222"/>
                    <a:pt x="64" y="286"/>
                    <a:pt x="143" y="286"/>
                  </a:cubicBezTo>
                  <a:cubicBezTo>
                    <a:pt x="222" y="286"/>
                    <a:pt x="286" y="215"/>
                    <a:pt x="286" y="143"/>
                  </a:cubicBezTo>
                  <a:lnTo>
                    <a:pt x="215" y="143"/>
                  </a:lnTo>
                  <a:cubicBezTo>
                    <a:pt x="215" y="179"/>
                    <a:pt x="183" y="215"/>
                    <a:pt x="143" y="215"/>
                  </a:cubicBezTo>
                  <a:cubicBezTo>
                    <a:pt x="104" y="215"/>
                    <a:pt x="72" y="183"/>
                    <a:pt x="72" y="143"/>
                  </a:cubicBezTo>
                  <a:cubicBezTo>
                    <a:pt x="72" y="104"/>
                    <a:pt x="104" y="72"/>
                    <a:pt x="143" y="72"/>
                  </a:cubicBezTo>
                  <a:lnTo>
                    <a:pt x="716" y="72"/>
                  </a:lnTo>
                  <a:cubicBezTo>
                    <a:pt x="756" y="72"/>
                    <a:pt x="788" y="104"/>
                    <a:pt x="788" y="143"/>
                  </a:cubicBezTo>
                  <a:cubicBezTo>
                    <a:pt x="788" y="183"/>
                    <a:pt x="756" y="215"/>
                    <a:pt x="716" y="215"/>
                  </a:cubicBezTo>
                  <a:cubicBezTo>
                    <a:pt x="677" y="215"/>
                    <a:pt x="645" y="179"/>
                    <a:pt x="645" y="143"/>
                  </a:cubicBezTo>
                  <a:lnTo>
                    <a:pt x="573" y="143"/>
                  </a:lnTo>
                  <a:cubicBezTo>
                    <a:pt x="573" y="215"/>
                    <a:pt x="637" y="286"/>
                    <a:pt x="716" y="286"/>
                  </a:cubicBezTo>
                  <a:cubicBezTo>
                    <a:pt x="795" y="286"/>
                    <a:pt x="859" y="222"/>
                    <a:pt x="859" y="143"/>
                  </a:cubicBezTo>
                  <a:cubicBezTo>
                    <a:pt x="859" y="64"/>
                    <a:pt x="795" y="0"/>
                    <a:pt x="716" y="0"/>
                  </a:cubicBezTo>
                  <a:close/>
                  <a:moveTo>
                    <a:pt x="394" y="143"/>
                  </a:moveTo>
                  <a:lnTo>
                    <a:pt x="394" y="573"/>
                  </a:lnTo>
                  <a:lnTo>
                    <a:pt x="465" y="573"/>
                  </a:lnTo>
                  <a:lnTo>
                    <a:pt x="465" y="143"/>
                  </a:lnTo>
                  <a:lnTo>
                    <a:pt x="394" y="143"/>
                  </a:lnTo>
                  <a:close/>
                  <a:moveTo>
                    <a:pt x="537" y="262"/>
                  </a:moveTo>
                  <a:lnTo>
                    <a:pt x="537" y="573"/>
                  </a:lnTo>
                  <a:lnTo>
                    <a:pt x="609" y="573"/>
                  </a:lnTo>
                  <a:lnTo>
                    <a:pt x="609" y="329"/>
                  </a:lnTo>
                  <a:cubicBezTo>
                    <a:pt x="573" y="312"/>
                    <a:pt x="573" y="289"/>
                    <a:pt x="537" y="262"/>
                  </a:cubicBezTo>
                  <a:close/>
                  <a:moveTo>
                    <a:pt x="250" y="329"/>
                  </a:moveTo>
                  <a:lnTo>
                    <a:pt x="250" y="573"/>
                  </a:lnTo>
                  <a:lnTo>
                    <a:pt x="322" y="573"/>
                  </a:lnTo>
                  <a:lnTo>
                    <a:pt x="322" y="262"/>
                  </a:lnTo>
                  <a:cubicBezTo>
                    <a:pt x="286" y="289"/>
                    <a:pt x="286" y="312"/>
                    <a:pt x="250" y="329"/>
                  </a:cubicBezTo>
                  <a:close/>
                  <a:moveTo>
                    <a:pt x="143" y="716"/>
                  </a:moveTo>
                  <a:lnTo>
                    <a:pt x="716" y="716"/>
                  </a:lnTo>
                  <a:lnTo>
                    <a:pt x="716" y="645"/>
                  </a:lnTo>
                  <a:lnTo>
                    <a:pt x="143" y="645"/>
                  </a:lnTo>
                  <a:lnTo>
                    <a:pt x="143" y="71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8" name="Freeform 41"/>
            <p:cNvSpPr>
              <a:spLocks/>
            </p:cNvSpPr>
            <p:nvPr/>
          </p:nvSpPr>
          <p:spPr bwMode="auto">
            <a:xfrm>
              <a:off x="8700607" y="3567344"/>
              <a:ext cx="271564" cy="236988"/>
            </a:xfrm>
            <a:custGeom>
              <a:avLst/>
              <a:gdLst>
                <a:gd name="T0" fmla="*/ 860 w 860"/>
                <a:gd name="T1" fmla="*/ 251 h 752"/>
                <a:gd name="T2" fmla="*/ 430 w 860"/>
                <a:gd name="T3" fmla="*/ 0 h 752"/>
                <a:gd name="T4" fmla="*/ 0 w 860"/>
                <a:gd name="T5" fmla="*/ 251 h 752"/>
                <a:gd name="T6" fmla="*/ 144 w 860"/>
                <a:gd name="T7" fmla="*/ 334 h 752"/>
                <a:gd name="T8" fmla="*/ 144 w 860"/>
                <a:gd name="T9" fmla="*/ 475 h 752"/>
                <a:gd name="T10" fmla="*/ 149 w 860"/>
                <a:gd name="T11" fmla="*/ 484 h 752"/>
                <a:gd name="T12" fmla="*/ 430 w 860"/>
                <a:gd name="T13" fmla="*/ 644 h 752"/>
                <a:gd name="T14" fmla="*/ 573 w 860"/>
                <a:gd name="T15" fmla="*/ 610 h 752"/>
                <a:gd name="T16" fmla="*/ 573 w 860"/>
                <a:gd name="T17" fmla="*/ 528 h 752"/>
                <a:gd name="T18" fmla="*/ 430 w 860"/>
                <a:gd name="T19" fmla="*/ 573 h 752"/>
                <a:gd name="T20" fmla="*/ 215 w 860"/>
                <a:gd name="T21" fmla="*/ 455 h 752"/>
                <a:gd name="T22" fmla="*/ 215 w 860"/>
                <a:gd name="T23" fmla="*/ 376 h 752"/>
                <a:gd name="T24" fmla="*/ 430 w 860"/>
                <a:gd name="T25" fmla="*/ 501 h 752"/>
                <a:gd name="T26" fmla="*/ 553 w 860"/>
                <a:gd name="T27" fmla="*/ 430 h 752"/>
                <a:gd name="T28" fmla="*/ 483 w 860"/>
                <a:gd name="T29" fmla="*/ 388 h 752"/>
                <a:gd name="T30" fmla="*/ 430 w 860"/>
                <a:gd name="T31" fmla="*/ 418 h 752"/>
                <a:gd name="T32" fmla="*/ 142 w 860"/>
                <a:gd name="T33" fmla="*/ 251 h 752"/>
                <a:gd name="T34" fmla="*/ 430 w 860"/>
                <a:gd name="T35" fmla="*/ 83 h 752"/>
                <a:gd name="T36" fmla="*/ 718 w 860"/>
                <a:gd name="T37" fmla="*/ 251 h 752"/>
                <a:gd name="T38" fmla="*/ 624 w 860"/>
                <a:gd name="T39" fmla="*/ 305 h 752"/>
                <a:gd name="T40" fmla="*/ 454 w 860"/>
                <a:gd name="T41" fmla="*/ 204 h 752"/>
                <a:gd name="T42" fmla="*/ 391 w 860"/>
                <a:gd name="T43" fmla="*/ 247 h 752"/>
                <a:gd name="T44" fmla="*/ 390 w 860"/>
                <a:gd name="T45" fmla="*/ 249 h 752"/>
                <a:gd name="T46" fmla="*/ 645 w 860"/>
                <a:gd name="T47" fmla="*/ 401 h 752"/>
                <a:gd name="T48" fmla="*/ 645 w 860"/>
                <a:gd name="T49" fmla="*/ 752 h 752"/>
                <a:gd name="T50" fmla="*/ 717 w 860"/>
                <a:gd name="T51" fmla="*/ 752 h 752"/>
                <a:gd name="T52" fmla="*/ 717 w 860"/>
                <a:gd name="T53" fmla="*/ 360 h 752"/>
                <a:gd name="T54" fmla="*/ 694 w 860"/>
                <a:gd name="T55" fmla="*/ 347 h 752"/>
                <a:gd name="T56" fmla="*/ 860 w 860"/>
                <a:gd name="T57" fmla="*/ 251 h 7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860" h="752">
                  <a:moveTo>
                    <a:pt x="860" y="251"/>
                  </a:moveTo>
                  <a:lnTo>
                    <a:pt x="430" y="0"/>
                  </a:lnTo>
                  <a:lnTo>
                    <a:pt x="0" y="251"/>
                  </a:lnTo>
                  <a:lnTo>
                    <a:pt x="144" y="334"/>
                  </a:lnTo>
                  <a:lnTo>
                    <a:pt x="144" y="475"/>
                  </a:lnTo>
                  <a:lnTo>
                    <a:pt x="149" y="484"/>
                  </a:lnTo>
                  <a:cubicBezTo>
                    <a:pt x="207" y="583"/>
                    <a:pt x="315" y="644"/>
                    <a:pt x="430" y="644"/>
                  </a:cubicBezTo>
                  <a:cubicBezTo>
                    <a:pt x="480" y="644"/>
                    <a:pt x="529" y="632"/>
                    <a:pt x="573" y="610"/>
                  </a:cubicBezTo>
                  <a:lnTo>
                    <a:pt x="573" y="528"/>
                  </a:lnTo>
                  <a:cubicBezTo>
                    <a:pt x="532" y="556"/>
                    <a:pt x="482" y="573"/>
                    <a:pt x="430" y="573"/>
                  </a:cubicBezTo>
                  <a:cubicBezTo>
                    <a:pt x="343" y="573"/>
                    <a:pt x="262" y="528"/>
                    <a:pt x="215" y="455"/>
                  </a:cubicBezTo>
                  <a:lnTo>
                    <a:pt x="215" y="376"/>
                  </a:lnTo>
                  <a:lnTo>
                    <a:pt x="430" y="501"/>
                  </a:lnTo>
                  <a:lnTo>
                    <a:pt x="553" y="430"/>
                  </a:lnTo>
                  <a:lnTo>
                    <a:pt x="483" y="388"/>
                  </a:lnTo>
                  <a:lnTo>
                    <a:pt x="430" y="418"/>
                  </a:lnTo>
                  <a:lnTo>
                    <a:pt x="142" y="251"/>
                  </a:lnTo>
                  <a:lnTo>
                    <a:pt x="430" y="83"/>
                  </a:lnTo>
                  <a:lnTo>
                    <a:pt x="718" y="251"/>
                  </a:lnTo>
                  <a:lnTo>
                    <a:pt x="624" y="305"/>
                  </a:lnTo>
                  <a:lnTo>
                    <a:pt x="454" y="204"/>
                  </a:lnTo>
                  <a:lnTo>
                    <a:pt x="391" y="247"/>
                  </a:lnTo>
                  <a:lnTo>
                    <a:pt x="390" y="249"/>
                  </a:lnTo>
                  <a:lnTo>
                    <a:pt x="645" y="401"/>
                  </a:lnTo>
                  <a:lnTo>
                    <a:pt x="645" y="752"/>
                  </a:lnTo>
                  <a:lnTo>
                    <a:pt x="717" y="752"/>
                  </a:lnTo>
                  <a:lnTo>
                    <a:pt x="717" y="360"/>
                  </a:lnTo>
                  <a:lnTo>
                    <a:pt x="694" y="347"/>
                  </a:lnTo>
                  <a:lnTo>
                    <a:pt x="860" y="25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grpSp>
          <p:nvGrpSpPr>
            <p:cNvPr id="69" name="Группа 68"/>
            <p:cNvGrpSpPr/>
            <p:nvPr/>
          </p:nvGrpSpPr>
          <p:grpSpPr>
            <a:xfrm>
              <a:off x="8710946" y="150720"/>
              <a:ext cx="250887" cy="271436"/>
              <a:chOff x="477468" y="2705515"/>
              <a:chExt cx="409903" cy="443477"/>
            </a:xfrm>
          </p:grpSpPr>
          <p:sp>
            <p:nvSpPr>
              <p:cNvPr id="70" name="Freeform 42"/>
              <p:cNvSpPr>
                <a:spLocks noEditPoints="1"/>
              </p:cNvSpPr>
              <p:nvPr/>
            </p:nvSpPr>
            <p:spPr bwMode="auto">
              <a:xfrm>
                <a:off x="477468" y="2705515"/>
                <a:ext cx="409903" cy="387195"/>
              </a:xfrm>
              <a:custGeom>
                <a:avLst/>
                <a:gdLst>
                  <a:gd name="T0" fmla="*/ 218 w 793"/>
                  <a:gd name="T1" fmla="*/ 575 h 751"/>
                  <a:gd name="T2" fmla="*/ 194 w 793"/>
                  <a:gd name="T3" fmla="*/ 95 h 751"/>
                  <a:gd name="T4" fmla="*/ 219 w 793"/>
                  <a:gd name="T5" fmla="*/ 121 h 751"/>
                  <a:gd name="T6" fmla="*/ 149 w 793"/>
                  <a:gd name="T7" fmla="*/ 322 h 751"/>
                  <a:gd name="T8" fmla="*/ 471 w 793"/>
                  <a:gd name="T9" fmla="*/ 644 h 751"/>
                  <a:gd name="T10" fmla="*/ 672 w 793"/>
                  <a:gd name="T11" fmla="*/ 574 h 751"/>
                  <a:gd name="T12" fmla="*/ 698 w 793"/>
                  <a:gd name="T13" fmla="*/ 599 h 751"/>
                  <a:gd name="T14" fmla="*/ 218 w 793"/>
                  <a:gd name="T15" fmla="*/ 575 h 751"/>
                  <a:gd name="T16" fmla="*/ 471 w 793"/>
                  <a:gd name="T17" fmla="*/ 71 h 751"/>
                  <a:gd name="T18" fmla="*/ 722 w 793"/>
                  <a:gd name="T19" fmla="*/ 322 h 751"/>
                  <a:gd name="T20" fmla="*/ 471 w 793"/>
                  <a:gd name="T21" fmla="*/ 573 h 751"/>
                  <a:gd name="T22" fmla="*/ 220 w 793"/>
                  <a:gd name="T23" fmla="*/ 322 h 751"/>
                  <a:gd name="T24" fmla="*/ 471 w 793"/>
                  <a:gd name="T25" fmla="*/ 71 h 751"/>
                  <a:gd name="T26" fmla="*/ 723 w 793"/>
                  <a:gd name="T27" fmla="*/ 523 h 751"/>
                  <a:gd name="T28" fmla="*/ 793 w 793"/>
                  <a:gd name="T29" fmla="*/ 322 h 751"/>
                  <a:gd name="T30" fmla="*/ 471 w 793"/>
                  <a:gd name="T31" fmla="*/ 0 h 751"/>
                  <a:gd name="T32" fmla="*/ 270 w 793"/>
                  <a:gd name="T33" fmla="*/ 71 h 751"/>
                  <a:gd name="T34" fmla="*/ 218 w 793"/>
                  <a:gd name="T35" fmla="*/ 18 h 751"/>
                  <a:gd name="T36" fmla="*/ 192 w 793"/>
                  <a:gd name="T37" fmla="*/ 8 h 751"/>
                  <a:gd name="T38" fmla="*/ 192 w 793"/>
                  <a:gd name="T39" fmla="*/ 8 h 751"/>
                  <a:gd name="T40" fmla="*/ 167 w 793"/>
                  <a:gd name="T41" fmla="*/ 18 h 751"/>
                  <a:gd name="T42" fmla="*/ 167 w 793"/>
                  <a:gd name="T43" fmla="*/ 626 h 751"/>
                  <a:gd name="T44" fmla="*/ 471 w 793"/>
                  <a:gd name="T45" fmla="*/ 751 h 751"/>
                  <a:gd name="T46" fmla="*/ 775 w 793"/>
                  <a:gd name="T47" fmla="*/ 626 h 751"/>
                  <a:gd name="T48" fmla="*/ 785 w 793"/>
                  <a:gd name="T49" fmla="*/ 601 h 751"/>
                  <a:gd name="T50" fmla="*/ 775 w 793"/>
                  <a:gd name="T51" fmla="*/ 575 h 751"/>
                  <a:gd name="T52" fmla="*/ 723 w 793"/>
                  <a:gd name="T53" fmla="*/ 523 h 7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793" h="751">
                    <a:moveTo>
                      <a:pt x="218" y="575"/>
                    </a:moveTo>
                    <a:cubicBezTo>
                      <a:pt x="87" y="444"/>
                      <a:pt x="79" y="236"/>
                      <a:pt x="194" y="95"/>
                    </a:cubicBezTo>
                    <a:lnTo>
                      <a:pt x="219" y="121"/>
                    </a:lnTo>
                    <a:cubicBezTo>
                      <a:pt x="175" y="176"/>
                      <a:pt x="149" y="246"/>
                      <a:pt x="149" y="322"/>
                    </a:cubicBezTo>
                    <a:cubicBezTo>
                      <a:pt x="149" y="500"/>
                      <a:pt x="293" y="644"/>
                      <a:pt x="471" y="644"/>
                    </a:cubicBezTo>
                    <a:cubicBezTo>
                      <a:pt x="547" y="644"/>
                      <a:pt x="617" y="618"/>
                      <a:pt x="672" y="574"/>
                    </a:cubicBezTo>
                    <a:lnTo>
                      <a:pt x="698" y="599"/>
                    </a:lnTo>
                    <a:cubicBezTo>
                      <a:pt x="557" y="714"/>
                      <a:pt x="349" y="706"/>
                      <a:pt x="218" y="575"/>
                    </a:cubicBezTo>
                    <a:close/>
                    <a:moveTo>
                      <a:pt x="471" y="71"/>
                    </a:moveTo>
                    <a:cubicBezTo>
                      <a:pt x="609" y="71"/>
                      <a:pt x="722" y="184"/>
                      <a:pt x="722" y="322"/>
                    </a:cubicBezTo>
                    <a:cubicBezTo>
                      <a:pt x="722" y="460"/>
                      <a:pt x="609" y="573"/>
                      <a:pt x="471" y="573"/>
                    </a:cubicBezTo>
                    <a:cubicBezTo>
                      <a:pt x="333" y="573"/>
                      <a:pt x="220" y="460"/>
                      <a:pt x="220" y="322"/>
                    </a:cubicBezTo>
                    <a:cubicBezTo>
                      <a:pt x="220" y="184"/>
                      <a:pt x="333" y="71"/>
                      <a:pt x="471" y="71"/>
                    </a:cubicBezTo>
                    <a:close/>
                    <a:moveTo>
                      <a:pt x="723" y="523"/>
                    </a:moveTo>
                    <a:cubicBezTo>
                      <a:pt x="767" y="468"/>
                      <a:pt x="793" y="398"/>
                      <a:pt x="793" y="322"/>
                    </a:cubicBezTo>
                    <a:cubicBezTo>
                      <a:pt x="793" y="144"/>
                      <a:pt x="649" y="0"/>
                      <a:pt x="471" y="0"/>
                    </a:cubicBezTo>
                    <a:cubicBezTo>
                      <a:pt x="395" y="0"/>
                      <a:pt x="325" y="26"/>
                      <a:pt x="270" y="71"/>
                    </a:cubicBezTo>
                    <a:lnTo>
                      <a:pt x="218" y="18"/>
                    </a:lnTo>
                    <a:cubicBezTo>
                      <a:pt x="211" y="11"/>
                      <a:pt x="202" y="8"/>
                      <a:pt x="192" y="8"/>
                    </a:cubicBezTo>
                    <a:cubicBezTo>
                      <a:pt x="192" y="8"/>
                      <a:pt x="192" y="8"/>
                      <a:pt x="192" y="8"/>
                    </a:cubicBezTo>
                    <a:cubicBezTo>
                      <a:pt x="183" y="8"/>
                      <a:pt x="174" y="11"/>
                      <a:pt x="167" y="18"/>
                    </a:cubicBezTo>
                    <a:cubicBezTo>
                      <a:pt x="0" y="186"/>
                      <a:pt x="0" y="458"/>
                      <a:pt x="167" y="626"/>
                    </a:cubicBezTo>
                    <a:cubicBezTo>
                      <a:pt x="251" y="710"/>
                      <a:pt x="361" y="751"/>
                      <a:pt x="471" y="751"/>
                    </a:cubicBezTo>
                    <a:cubicBezTo>
                      <a:pt x="581" y="751"/>
                      <a:pt x="691" y="710"/>
                      <a:pt x="775" y="626"/>
                    </a:cubicBezTo>
                    <a:cubicBezTo>
                      <a:pt x="782" y="619"/>
                      <a:pt x="785" y="610"/>
                      <a:pt x="785" y="601"/>
                    </a:cubicBezTo>
                    <a:cubicBezTo>
                      <a:pt x="785" y="591"/>
                      <a:pt x="782" y="582"/>
                      <a:pt x="775" y="575"/>
                    </a:cubicBezTo>
                    <a:lnTo>
                      <a:pt x="723" y="523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1" name="Rectangle 43"/>
              <p:cNvSpPr>
                <a:spLocks noChangeArrowheads="1"/>
              </p:cNvSpPr>
              <p:nvPr/>
            </p:nvSpPr>
            <p:spPr bwMode="auto">
              <a:xfrm>
                <a:off x="637377" y="3110722"/>
                <a:ext cx="148646" cy="38270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sp>
          <p:nvSpPr>
            <p:cNvPr id="72" name="Freeform 44"/>
            <p:cNvSpPr>
              <a:spLocks noEditPoints="1"/>
            </p:cNvSpPr>
            <p:nvPr/>
          </p:nvSpPr>
          <p:spPr bwMode="auto">
            <a:xfrm>
              <a:off x="8704742" y="4098042"/>
              <a:ext cx="263294" cy="285213"/>
            </a:xfrm>
            <a:custGeom>
              <a:avLst/>
              <a:gdLst>
                <a:gd name="T0" fmla="*/ 583 w 837"/>
                <a:gd name="T1" fmla="*/ 579 h 901"/>
                <a:gd name="T2" fmla="*/ 511 w 837"/>
                <a:gd name="T3" fmla="*/ 650 h 901"/>
                <a:gd name="T4" fmla="*/ 583 w 837"/>
                <a:gd name="T5" fmla="*/ 722 h 901"/>
                <a:gd name="T6" fmla="*/ 654 w 837"/>
                <a:gd name="T7" fmla="*/ 650 h 901"/>
                <a:gd name="T8" fmla="*/ 583 w 837"/>
                <a:gd name="T9" fmla="*/ 579 h 901"/>
                <a:gd name="T10" fmla="*/ 332 w 837"/>
                <a:gd name="T11" fmla="*/ 579 h 901"/>
                <a:gd name="T12" fmla="*/ 260 w 837"/>
                <a:gd name="T13" fmla="*/ 650 h 901"/>
                <a:gd name="T14" fmla="*/ 332 w 837"/>
                <a:gd name="T15" fmla="*/ 722 h 901"/>
                <a:gd name="T16" fmla="*/ 404 w 837"/>
                <a:gd name="T17" fmla="*/ 650 h 901"/>
                <a:gd name="T18" fmla="*/ 332 w 837"/>
                <a:gd name="T19" fmla="*/ 579 h 901"/>
                <a:gd name="T20" fmla="*/ 332 w 837"/>
                <a:gd name="T21" fmla="*/ 435 h 901"/>
                <a:gd name="T22" fmla="*/ 260 w 837"/>
                <a:gd name="T23" fmla="*/ 364 h 901"/>
                <a:gd name="T24" fmla="*/ 189 w 837"/>
                <a:gd name="T25" fmla="*/ 435 h 901"/>
                <a:gd name="T26" fmla="*/ 260 w 837"/>
                <a:gd name="T27" fmla="*/ 507 h 901"/>
                <a:gd name="T28" fmla="*/ 332 w 837"/>
                <a:gd name="T29" fmla="*/ 435 h 901"/>
                <a:gd name="T30" fmla="*/ 404 w 837"/>
                <a:gd name="T31" fmla="*/ 185 h 901"/>
                <a:gd name="T32" fmla="*/ 332 w 837"/>
                <a:gd name="T33" fmla="*/ 256 h 901"/>
                <a:gd name="T34" fmla="*/ 404 w 837"/>
                <a:gd name="T35" fmla="*/ 328 h 901"/>
                <a:gd name="T36" fmla="*/ 475 w 837"/>
                <a:gd name="T37" fmla="*/ 256 h 901"/>
                <a:gd name="T38" fmla="*/ 404 w 837"/>
                <a:gd name="T39" fmla="*/ 185 h 901"/>
                <a:gd name="T40" fmla="*/ 757 w 837"/>
                <a:gd name="T41" fmla="*/ 635 h 901"/>
                <a:gd name="T42" fmla="*/ 698 w 837"/>
                <a:gd name="T43" fmla="*/ 711 h 901"/>
                <a:gd name="T44" fmla="*/ 429 w 837"/>
                <a:gd name="T45" fmla="*/ 829 h 901"/>
                <a:gd name="T46" fmla="*/ 207 w 837"/>
                <a:gd name="T47" fmla="*/ 738 h 901"/>
                <a:gd name="T48" fmla="*/ 233 w 837"/>
                <a:gd name="T49" fmla="*/ 231 h 901"/>
                <a:gd name="T50" fmla="*/ 502 w 837"/>
                <a:gd name="T51" fmla="*/ 113 h 901"/>
                <a:gd name="T52" fmla="*/ 658 w 837"/>
                <a:gd name="T53" fmla="*/ 154 h 901"/>
                <a:gd name="T54" fmla="*/ 675 w 837"/>
                <a:gd name="T55" fmla="*/ 177 h 901"/>
                <a:gd name="T56" fmla="*/ 665 w 837"/>
                <a:gd name="T57" fmla="*/ 208 h 901"/>
                <a:gd name="T58" fmla="*/ 602 w 837"/>
                <a:gd name="T59" fmla="*/ 366 h 901"/>
                <a:gd name="T60" fmla="*/ 744 w 837"/>
                <a:gd name="T61" fmla="*/ 584 h 901"/>
                <a:gd name="T62" fmla="*/ 760 w 837"/>
                <a:gd name="T63" fmla="*/ 605 h 901"/>
                <a:gd name="T64" fmla="*/ 757 w 837"/>
                <a:gd name="T65" fmla="*/ 635 h 901"/>
                <a:gd name="T66" fmla="*/ 829 w 837"/>
                <a:gd name="T67" fmla="*/ 585 h 901"/>
                <a:gd name="T68" fmla="*/ 776 w 837"/>
                <a:gd name="T69" fmla="*/ 520 h 901"/>
                <a:gd name="T70" fmla="*/ 673 w 837"/>
                <a:gd name="T71" fmla="*/ 366 h 901"/>
                <a:gd name="T72" fmla="*/ 718 w 837"/>
                <a:gd name="T73" fmla="*/ 257 h 901"/>
                <a:gd name="T74" fmla="*/ 746 w 837"/>
                <a:gd name="T75" fmla="*/ 166 h 901"/>
                <a:gd name="T76" fmla="*/ 694 w 837"/>
                <a:gd name="T77" fmla="*/ 92 h 901"/>
                <a:gd name="T78" fmla="*/ 181 w 837"/>
                <a:gd name="T79" fmla="*/ 181 h 901"/>
                <a:gd name="T80" fmla="*/ 156 w 837"/>
                <a:gd name="T81" fmla="*/ 788 h 901"/>
                <a:gd name="T82" fmla="*/ 429 w 837"/>
                <a:gd name="T83" fmla="*/ 901 h 901"/>
                <a:gd name="T84" fmla="*/ 749 w 837"/>
                <a:gd name="T85" fmla="*/ 761 h 901"/>
                <a:gd name="T86" fmla="*/ 818 w 837"/>
                <a:gd name="T87" fmla="*/ 672 h 901"/>
                <a:gd name="T88" fmla="*/ 829 w 837"/>
                <a:gd name="T89" fmla="*/ 585 h 9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837" h="901">
                  <a:moveTo>
                    <a:pt x="583" y="579"/>
                  </a:moveTo>
                  <a:cubicBezTo>
                    <a:pt x="543" y="579"/>
                    <a:pt x="511" y="611"/>
                    <a:pt x="511" y="650"/>
                  </a:cubicBezTo>
                  <a:cubicBezTo>
                    <a:pt x="511" y="690"/>
                    <a:pt x="543" y="722"/>
                    <a:pt x="583" y="722"/>
                  </a:cubicBezTo>
                  <a:cubicBezTo>
                    <a:pt x="622" y="722"/>
                    <a:pt x="654" y="690"/>
                    <a:pt x="654" y="650"/>
                  </a:cubicBezTo>
                  <a:cubicBezTo>
                    <a:pt x="654" y="611"/>
                    <a:pt x="622" y="579"/>
                    <a:pt x="583" y="579"/>
                  </a:cubicBezTo>
                  <a:close/>
                  <a:moveTo>
                    <a:pt x="332" y="579"/>
                  </a:moveTo>
                  <a:cubicBezTo>
                    <a:pt x="292" y="579"/>
                    <a:pt x="260" y="611"/>
                    <a:pt x="260" y="650"/>
                  </a:cubicBezTo>
                  <a:cubicBezTo>
                    <a:pt x="260" y="690"/>
                    <a:pt x="292" y="722"/>
                    <a:pt x="332" y="722"/>
                  </a:cubicBezTo>
                  <a:cubicBezTo>
                    <a:pt x="372" y="722"/>
                    <a:pt x="404" y="690"/>
                    <a:pt x="404" y="650"/>
                  </a:cubicBezTo>
                  <a:cubicBezTo>
                    <a:pt x="404" y="611"/>
                    <a:pt x="372" y="579"/>
                    <a:pt x="332" y="579"/>
                  </a:cubicBezTo>
                  <a:close/>
                  <a:moveTo>
                    <a:pt x="332" y="435"/>
                  </a:moveTo>
                  <a:cubicBezTo>
                    <a:pt x="332" y="396"/>
                    <a:pt x="300" y="364"/>
                    <a:pt x="260" y="364"/>
                  </a:cubicBezTo>
                  <a:cubicBezTo>
                    <a:pt x="221" y="364"/>
                    <a:pt x="189" y="396"/>
                    <a:pt x="189" y="435"/>
                  </a:cubicBezTo>
                  <a:cubicBezTo>
                    <a:pt x="189" y="475"/>
                    <a:pt x="221" y="507"/>
                    <a:pt x="260" y="507"/>
                  </a:cubicBezTo>
                  <a:cubicBezTo>
                    <a:pt x="300" y="507"/>
                    <a:pt x="332" y="475"/>
                    <a:pt x="332" y="435"/>
                  </a:cubicBezTo>
                  <a:close/>
                  <a:moveTo>
                    <a:pt x="404" y="185"/>
                  </a:moveTo>
                  <a:cubicBezTo>
                    <a:pt x="364" y="185"/>
                    <a:pt x="332" y="217"/>
                    <a:pt x="332" y="256"/>
                  </a:cubicBezTo>
                  <a:cubicBezTo>
                    <a:pt x="332" y="296"/>
                    <a:pt x="364" y="328"/>
                    <a:pt x="404" y="328"/>
                  </a:cubicBezTo>
                  <a:cubicBezTo>
                    <a:pt x="443" y="328"/>
                    <a:pt x="475" y="296"/>
                    <a:pt x="475" y="256"/>
                  </a:cubicBezTo>
                  <a:cubicBezTo>
                    <a:pt x="475" y="217"/>
                    <a:pt x="443" y="185"/>
                    <a:pt x="404" y="185"/>
                  </a:cubicBezTo>
                  <a:close/>
                  <a:moveTo>
                    <a:pt x="757" y="635"/>
                  </a:moveTo>
                  <a:cubicBezTo>
                    <a:pt x="740" y="663"/>
                    <a:pt x="721" y="688"/>
                    <a:pt x="698" y="711"/>
                  </a:cubicBezTo>
                  <a:cubicBezTo>
                    <a:pt x="625" y="786"/>
                    <a:pt x="527" y="829"/>
                    <a:pt x="429" y="829"/>
                  </a:cubicBezTo>
                  <a:cubicBezTo>
                    <a:pt x="343" y="829"/>
                    <a:pt x="265" y="797"/>
                    <a:pt x="207" y="738"/>
                  </a:cubicBezTo>
                  <a:cubicBezTo>
                    <a:pt x="78" y="605"/>
                    <a:pt x="89" y="378"/>
                    <a:pt x="233" y="231"/>
                  </a:cubicBezTo>
                  <a:cubicBezTo>
                    <a:pt x="308" y="154"/>
                    <a:pt x="406" y="113"/>
                    <a:pt x="502" y="113"/>
                  </a:cubicBezTo>
                  <a:cubicBezTo>
                    <a:pt x="557" y="113"/>
                    <a:pt x="610" y="126"/>
                    <a:pt x="658" y="154"/>
                  </a:cubicBezTo>
                  <a:cubicBezTo>
                    <a:pt x="668" y="159"/>
                    <a:pt x="674" y="167"/>
                    <a:pt x="675" y="177"/>
                  </a:cubicBezTo>
                  <a:cubicBezTo>
                    <a:pt x="677" y="188"/>
                    <a:pt x="673" y="199"/>
                    <a:pt x="665" y="208"/>
                  </a:cubicBezTo>
                  <a:cubicBezTo>
                    <a:pt x="624" y="253"/>
                    <a:pt x="602" y="309"/>
                    <a:pt x="602" y="366"/>
                  </a:cubicBezTo>
                  <a:cubicBezTo>
                    <a:pt x="602" y="456"/>
                    <a:pt x="656" y="540"/>
                    <a:pt x="744" y="584"/>
                  </a:cubicBezTo>
                  <a:cubicBezTo>
                    <a:pt x="754" y="590"/>
                    <a:pt x="759" y="600"/>
                    <a:pt x="760" y="605"/>
                  </a:cubicBezTo>
                  <a:cubicBezTo>
                    <a:pt x="763" y="615"/>
                    <a:pt x="762" y="626"/>
                    <a:pt x="757" y="635"/>
                  </a:cubicBezTo>
                  <a:close/>
                  <a:moveTo>
                    <a:pt x="829" y="585"/>
                  </a:moveTo>
                  <a:cubicBezTo>
                    <a:pt x="821" y="557"/>
                    <a:pt x="801" y="533"/>
                    <a:pt x="776" y="520"/>
                  </a:cubicBezTo>
                  <a:cubicBezTo>
                    <a:pt x="713" y="488"/>
                    <a:pt x="673" y="429"/>
                    <a:pt x="673" y="366"/>
                  </a:cubicBezTo>
                  <a:cubicBezTo>
                    <a:pt x="673" y="326"/>
                    <a:pt x="689" y="288"/>
                    <a:pt x="718" y="257"/>
                  </a:cubicBezTo>
                  <a:cubicBezTo>
                    <a:pt x="741" y="231"/>
                    <a:pt x="751" y="198"/>
                    <a:pt x="746" y="166"/>
                  </a:cubicBezTo>
                  <a:cubicBezTo>
                    <a:pt x="741" y="135"/>
                    <a:pt x="722" y="108"/>
                    <a:pt x="694" y="92"/>
                  </a:cubicBezTo>
                  <a:cubicBezTo>
                    <a:pt x="533" y="0"/>
                    <a:pt x="323" y="37"/>
                    <a:pt x="181" y="181"/>
                  </a:cubicBezTo>
                  <a:cubicBezTo>
                    <a:pt x="11" y="356"/>
                    <a:pt x="0" y="628"/>
                    <a:pt x="156" y="788"/>
                  </a:cubicBezTo>
                  <a:cubicBezTo>
                    <a:pt x="227" y="861"/>
                    <a:pt x="324" y="901"/>
                    <a:pt x="429" y="901"/>
                  </a:cubicBezTo>
                  <a:cubicBezTo>
                    <a:pt x="546" y="901"/>
                    <a:pt x="663" y="850"/>
                    <a:pt x="749" y="761"/>
                  </a:cubicBezTo>
                  <a:cubicBezTo>
                    <a:pt x="776" y="734"/>
                    <a:pt x="799" y="704"/>
                    <a:pt x="818" y="672"/>
                  </a:cubicBezTo>
                  <a:cubicBezTo>
                    <a:pt x="833" y="646"/>
                    <a:pt x="837" y="615"/>
                    <a:pt x="829" y="58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3" name="Freeform 45"/>
            <p:cNvSpPr>
              <a:spLocks noEditPoints="1"/>
            </p:cNvSpPr>
            <p:nvPr/>
          </p:nvSpPr>
          <p:spPr bwMode="auto">
            <a:xfrm>
              <a:off x="8701296" y="725091"/>
              <a:ext cx="270186" cy="260412"/>
            </a:xfrm>
            <a:custGeom>
              <a:avLst/>
              <a:gdLst>
                <a:gd name="T0" fmla="*/ 573 w 859"/>
                <a:gd name="T1" fmla="*/ 573 h 824"/>
                <a:gd name="T2" fmla="*/ 573 w 859"/>
                <a:gd name="T3" fmla="*/ 645 h 824"/>
                <a:gd name="T4" fmla="*/ 859 w 859"/>
                <a:gd name="T5" fmla="*/ 645 h 824"/>
                <a:gd name="T6" fmla="*/ 859 w 859"/>
                <a:gd name="T7" fmla="*/ 573 h 824"/>
                <a:gd name="T8" fmla="*/ 573 w 859"/>
                <a:gd name="T9" fmla="*/ 573 h 824"/>
                <a:gd name="T10" fmla="*/ 787 w 859"/>
                <a:gd name="T11" fmla="*/ 537 h 824"/>
                <a:gd name="T12" fmla="*/ 787 w 859"/>
                <a:gd name="T13" fmla="*/ 466 h 824"/>
                <a:gd name="T14" fmla="*/ 573 w 859"/>
                <a:gd name="T15" fmla="*/ 466 h 824"/>
                <a:gd name="T16" fmla="*/ 573 w 859"/>
                <a:gd name="T17" fmla="*/ 537 h 824"/>
                <a:gd name="T18" fmla="*/ 787 w 859"/>
                <a:gd name="T19" fmla="*/ 537 h 824"/>
                <a:gd name="T20" fmla="*/ 250 w 859"/>
                <a:gd name="T21" fmla="*/ 430 h 824"/>
                <a:gd name="T22" fmla="*/ 250 w 859"/>
                <a:gd name="T23" fmla="*/ 698 h 824"/>
                <a:gd name="T24" fmla="*/ 394 w 859"/>
                <a:gd name="T25" fmla="*/ 627 h 824"/>
                <a:gd name="T26" fmla="*/ 537 w 859"/>
                <a:gd name="T27" fmla="*/ 698 h 824"/>
                <a:gd name="T28" fmla="*/ 537 w 859"/>
                <a:gd name="T29" fmla="*/ 430 h 824"/>
                <a:gd name="T30" fmla="*/ 465 w 859"/>
                <a:gd name="T31" fmla="*/ 430 h 824"/>
                <a:gd name="T32" fmla="*/ 465 w 859"/>
                <a:gd name="T33" fmla="*/ 582 h 824"/>
                <a:gd name="T34" fmla="*/ 394 w 859"/>
                <a:gd name="T35" fmla="*/ 547 h 824"/>
                <a:gd name="T36" fmla="*/ 322 w 859"/>
                <a:gd name="T37" fmla="*/ 582 h 824"/>
                <a:gd name="T38" fmla="*/ 322 w 859"/>
                <a:gd name="T39" fmla="*/ 430 h 824"/>
                <a:gd name="T40" fmla="*/ 250 w 859"/>
                <a:gd name="T41" fmla="*/ 430 h 824"/>
                <a:gd name="T42" fmla="*/ 788 w 859"/>
                <a:gd name="T43" fmla="*/ 125 h 824"/>
                <a:gd name="T44" fmla="*/ 662 w 859"/>
                <a:gd name="T45" fmla="*/ 0 h 824"/>
                <a:gd name="T46" fmla="*/ 143 w 859"/>
                <a:gd name="T47" fmla="*/ 0 h 824"/>
                <a:gd name="T48" fmla="*/ 143 w 859"/>
                <a:gd name="T49" fmla="*/ 72 h 824"/>
                <a:gd name="T50" fmla="*/ 662 w 859"/>
                <a:gd name="T51" fmla="*/ 72 h 824"/>
                <a:gd name="T52" fmla="*/ 716 w 859"/>
                <a:gd name="T53" fmla="*/ 125 h 824"/>
                <a:gd name="T54" fmla="*/ 662 w 859"/>
                <a:gd name="T55" fmla="*/ 179 h 824"/>
                <a:gd name="T56" fmla="*/ 143 w 859"/>
                <a:gd name="T57" fmla="*/ 179 h 824"/>
                <a:gd name="T58" fmla="*/ 143 w 859"/>
                <a:gd name="T59" fmla="*/ 251 h 824"/>
                <a:gd name="T60" fmla="*/ 662 w 859"/>
                <a:gd name="T61" fmla="*/ 251 h 824"/>
                <a:gd name="T62" fmla="*/ 788 w 859"/>
                <a:gd name="T63" fmla="*/ 125 h 824"/>
                <a:gd name="T64" fmla="*/ 197 w 859"/>
                <a:gd name="T65" fmla="*/ 537 h 824"/>
                <a:gd name="T66" fmla="*/ 214 w 859"/>
                <a:gd name="T67" fmla="*/ 537 h 824"/>
                <a:gd name="T68" fmla="*/ 214 w 859"/>
                <a:gd name="T69" fmla="*/ 466 h 824"/>
                <a:gd name="T70" fmla="*/ 197 w 859"/>
                <a:gd name="T71" fmla="*/ 466 h 824"/>
                <a:gd name="T72" fmla="*/ 143 w 859"/>
                <a:gd name="T73" fmla="*/ 412 h 824"/>
                <a:gd name="T74" fmla="*/ 197 w 859"/>
                <a:gd name="T75" fmla="*/ 358 h 824"/>
                <a:gd name="T76" fmla="*/ 787 w 859"/>
                <a:gd name="T77" fmla="*/ 358 h 824"/>
                <a:gd name="T78" fmla="*/ 787 w 859"/>
                <a:gd name="T79" fmla="*/ 286 h 824"/>
                <a:gd name="T80" fmla="*/ 197 w 859"/>
                <a:gd name="T81" fmla="*/ 286 h 824"/>
                <a:gd name="T82" fmla="*/ 71 w 859"/>
                <a:gd name="T83" fmla="*/ 412 h 824"/>
                <a:gd name="T84" fmla="*/ 197 w 859"/>
                <a:gd name="T85" fmla="*/ 537 h 824"/>
                <a:gd name="T86" fmla="*/ 71 w 859"/>
                <a:gd name="T87" fmla="*/ 698 h 824"/>
                <a:gd name="T88" fmla="*/ 125 w 859"/>
                <a:gd name="T89" fmla="*/ 645 h 824"/>
                <a:gd name="T90" fmla="*/ 214 w 859"/>
                <a:gd name="T91" fmla="*/ 645 h 824"/>
                <a:gd name="T92" fmla="*/ 214 w 859"/>
                <a:gd name="T93" fmla="*/ 573 h 824"/>
                <a:gd name="T94" fmla="*/ 125 w 859"/>
                <a:gd name="T95" fmla="*/ 573 h 824"/>
                <a:gd name="T96" fmla="*/ 0 w 859"/>
                <a:gd name="T97" fmla="*/ 698 h 824"/>
                <a:gd name="T98" fmla="*/ 125 w 859"/>
                <a:gd name="T99" fmla="*/ 824 h 824"/>
                <a:gd name="T100" fmla="*/ 859 w 859"/>
                <a:gd name="T101" fmla="*/ 824 h 824"/>
                <a:gd name="T102" fmla="*/ 859 w 859"/>
                <a:gd name="T103" fmla="*/ 752 h 824"/>
                <a:gd name="T104" fmla="*/ 125 w 859"/>
                <a:gd name="T105" fmla="*/ 752 h 824"/>
                <a:gd name="T106" fmla="*/ 71 w 859"/>
                <a:gd name="T107" fmla="*/ 698 h 8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859" h="824">
                  <a:moveTo>
                    <a:pt x="573" y="573"/>
                  </a:moveTo>
                  <a:lnTo>
                    <a:pt x="573" y="645"/>
                  </a:lnTo>
                  <a:lnTo>
                    <a:pt x="859" y="645"/>
                  </a:lnTo>
                  <a:lnTo>
                    <a:pt x="859" y="573"/>
                  </a:lnTo>
                  <a:lnTo>
                    <a:pt x="573" y="573"/>
                  </a:lnTo>
                  <a:close/>
                  <a:moveTo>
                    <a:pt x="787" y="537"/>
                  </a:moveTo>
                  <a:lnTo>
                    <a:pt x="787" y="466"/>
                  </a:lnTo>
                  <a:lnTo>
                    <a:pt x="573" y="466"/>
                  </a:lnTo>
                  <a:lnTo>
                    <a:pt x="573" y="537"/>
                  </a:lnTo>
                  <a:lnTo>
                    <a:pt x="787" y="537"/>
                  </a:lnTo>
                  <a:close/>
                  <a:moveTo>
                    <a:pt x="250" y="430"/>
                  </a:moveTo>
                  <a:lnTo>
                    <a:pt x="250" y="698"/>
                  </a:lnTo>
                  <a:lnTo>
                    <a:pt x="394" y="627"/>
                  </a:lnTo>
                  <a:lnTo>
                    <a:pt x="537" y="698"/>
                  </a:lnTo>
                  <a:lnTo>
                    <a:pt x="537" y="430"/>
                  </a:lnTo>
                  <a:lnTo>
                    <a:pt x="465" y="430"/>
                  </a:lnTo>
                  <a:lnTo>
                    <a:pt x="465" y="582"/>
                  </a:lnTo>
                  <a:lnTo>
                    <a:pt x="394" y="547"/>
                  </a:lnTo>
                  <a:lnTo>
                    <a:pt x="322" y="582"/>
                  </a:lnTo>
                  <a:lnTo>
                    <a:pt x="322" y="430"/>
                  </a:lnTo>
                  <a:lnTo>
                    <a:pt x="250" y="430"/>
                  </a:lnTo>
                  <a:close/>
                  <a:moveTo>
                    <a:pt x="788" y="125"/>
                  </a:moveTo>
                  <a:cubicBezTo>
                    <a:pt x="788" y="56"/>
                    <a:pt x="731" y="0"/>
                    <a:pt x="662" y="0"/>
                  </a:cubicBezTo>
                  <a:lnTo>
                    <a:pt x="143" y="0"/>
                  </a:lnTo>
                  <a:lnTo>
                    <a:pt x="143" y="72"/>
                  </a:lnTo>
                  <a:lnTo>
                    <a:pt x="662" y="72"/>
                  </a:lnTo>
                  <a:cubicBezTo>
                    <a:pt x="692" y="72"/>
                    <a:pt x="716" y="96"/>
                    <a:pt x="716" y="125"/>
                  </a:cubicBezTo>
                  <a:cubicBezTo>
                    <a:pt x="716" y="155"/>
                    <a:pt x="692" y="179"/>
                    <a:pt x="662" y="179"/>
                  </a:cubicBezTo>
                  <a:lnTo>
                    <a:pt x="143" y="179"/>
                  </a:lnTo>
                  <a:lnTo>
                    <a:pt x="143" y="251"/>
                  </a:lnTo>
                  <a:lnTo>
                    <a:pt x="662" y="251"/>
                  </a:lnTo>
                  <a:cubicBezTo>
                    <a:pt x="731" y="251"/>
                    <a:pt x="788" y="194"/>
                    <a:pt x="788" y="125"/>
                  </a:cubicBezTo>
                  <a:close/>
                  <a:moveTo>
                    <a:pt x="197" y="537"/>
                  </a:moveTo>
                  <a:lnTo>
                    <a:pt x="214" y="537"/>
                  </a:lnTo>
                  <a:lnTo>
                    <a:pt x="214" y="466"/>
                  </a:lnTo>
                  <a:lnTo>
                    <a:pt x="197" y="466"/>
                  </a:lnTo>
                  <a:cubicBezTo>
                    <a:pt x="167" y="466"/>
                    <a:pt x="143" y="441"/>
                    <a:pt x="143" y="412"/>
                  </a:cubicBezTo>
                  <a:cubicBezTo>
                    <a:pt x="143" y="382"/>
                    <a:pt x="167" y="358"/>
                    <a:pt x="197" y="358"/>
                  </a:cubicBezTo>
                  <a:lnTo>
                    <a:pt x="787" y="358"/>
                  </a:lnTo>
                  <a:lnTo>
                    <a:pt x="787" y="286"/>
                  </a:lnTo>
                  <a:lnTo>
                    <a:pt x="197" y="286"/>
                  </a:lnTo>
                  <a:cubicBezTo>
                    <a:pt x="128" y="286"/>
                    <a:pt x="71" y="343"/>
                    <a:pt x="71" y="412"/>
                  </a:cubicBezTo>
                  <a:cubicBezTo>
                    <a:pt x="71" y="481"/>
                    <a:pt x="128" y="537"/>
                    <a:pt x="197" y="537"/>
                  </a:cubicBezTo>
                  <a:close/>
                  <a:moveTo>
                    <a:pt x="71" y="698"/>
                  </a:moveTo>
                  <a:cubicBezTo>
                    <a:pt x="71" y="669"/>
                    <a:pt x="95" y="645"/>
                    <a:pt x="125" y="645"/>
                  </a:cubicBezTo>
                  <a:lnTo>
                    <a:pt x="214" y="645"/>
                  </a:lnTo>
                  <a:lnTo>
                    <a:pt x="214" y="573"/>
                  </a:lnTo>
                  <a:lnTo>
                    <a:pt x="125" y="573"/>
                  </a:lnTo>
                  <a:cubicBezTo>
                    <a:pt x="56" y="573"/>
                    <a:pt x="0" y="629"/>
                    <a:pt x="0" y="698"/>
                  </a:cubicBezTo>
                  <a:cubicBezTo>
                    <a:pt x="0" y="767"/>
                    <a:pt x="56" y="824"/>
                    <a:pt x="125" y="824"/>
                  </a:cubicBezTo>
                  <a:lnTo>
                    <a:pt x="859" y="824"/>
                  </a:lnTo>
                  <a:lnTo>
                    <a:pt x="859" y="752"/>
                  </a:lnTo>
                  <a:lnTo>
                    <a:pt x="125" y="752"/>
                  </a:lnTo>
                  <a:cubicBezTo>
                    <a:pt x="95" y="752"/>
                    <a:pt x="71" y="728"/>
                    <a:pt x="71" y="69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9" name="Freeform 46"/>
            <p:cNvSpPr>
              <a:spLocks noEditPoints="1"/>
            </p:cNvSpPr>
            <p:nvPr/>
          </p:nvSpPr>
          <p:spPr bwMode="auto">
            <a:xfrm>
              <a:off x="8741962" y="2983368"/>
              <a:ext cx="188855" cy="272813"/>
            </a:xfrm>
            <a:custGeom>
              <a:avLst/>
              <a:gdLst>
                <a:gd name="T0" fmla="*/ 275 w 598"/>
                <a:gd name="T1" fmla="*/ 251 h 860"/>
                <a:gd name="T2" fmla="*/ 347 w 598"/>
                <a:gd name="T3" fmla="*/ 179 h 860"/>
                <a:gd name="T4" fmla="*/ 419 w 598"/>
                <a:gd name="T5" fmla="*/ 251 h 860"/>
                <a:gd name="T6" fmla="*/ 347 w 598"/>
                <a:gd name="T7" fmla="*/ 322 h 860"/>
                <a:gd name="T8" fmla="*/ 275 w 598"/>
                <a:gd name="T9" fmla="*/ 251 h 860"/>
                <a:gd name="T10" fmla="*/ 598 w 598"/>
                <a:gd name="T11" fmla="*/ 752 h 860"/>
                <a:gd name="T12" fmla="*/ 449 w 598"/>
                <a:gd name="T13" fmla="*/ 352 h 860"/>
                <a:gd name="T14" fmla="*/ 490 w 598"/>
                <a:gd name="T15" fmla="*/ 251 h 860"/>
                <a:gd name="T16" fmla="*/ 383 w 598"/>
                <a:gd name="T17" fmla="*/ 113 h 860"/>
                <a:gd name="T18" fmla="*/ 383 w 598"/>
                <a:gd name="T19" fmla="*/ 36 h 860"/>
                <a:gd name="T20" fmla="*/ 347 w 598"/>
                <a:gd name="T21" fmla="*/ 0 h 860"/>
                <a:gd name="T22" fmla="*/ 311 w 598"/>
                <a:gd name="T23" fmla="*/ 36 h 860"/>
                <a:gd name="T24" fmla="*/ 311 w 598"/>
                <a:gd name="T25" fmla="*/ 113 h 860"/>
                <a:gd name="T26" fmla="*/ 204 w 598"/>
                <a:gd name="T27" fmla="*/ 251 h 860"/>
                <a:gd name="T28" fmla="*/ 245 w 598"/>
                <a:gd name="T29" fmla="*/ 352 h 860"/>
                <a:gd name="T30" fmla="*/ 196 w 598"/>
                <a:gd name="T31" fmla="*/ 485 h 860"/>
                <a:gd name="T32" fmla="*/ 260 w 598"/>
                <a:gd name="T33" fmla="*/ 519 h 860"/>
                <a:gd name="T34" fmla="*/ 308 w 598"/>
                <a:gd name="T35" fmla="*/ 388 h 860"/>
                <a:gd name="T36" fmla="*/ 347 w 598"/>
                <a:gd name="T37" fmla="*/ 394 h 860"/>
                <a:gd name="T38" fmla="*/ 386 w 598"/>
                <a:gd name="T39" fmla="*/ 388 h 860"/>
                <a:gd name="T40" fmla="*/ 459 w 598"/>
                <a:gd name="T41" fmla="*/ 586 h 860"/>
                <a:gd name="T42" fmla="*/ 347 w 598"/>
                <a:gd name="T43" fmla="*/ 607 h 860"/>
                <a:gd name="T44" fmla="*/ 72 w 598"/>
                <a:gd name="T45" fmla="*/ 453 h 860"/>
                <a:gd name="T46" fmla="*/ 26 w 598"/>
                <a:gd name="T47" fmla="*/ 440 h 860"/>
                <a:gd name="T48" fmla="*/ 11 w 598"/>
                <a:gd name="T49" fmla="*/ 491 h 860"/>
                <a:gd name="T50" fmla="*/ 145 w 598"/>
                <a:gd name="T51" fmla="*/ 623 h 860"/>
                <a:gd name="T52" fmla="*/ 96 w 598"/>
                <a:gd name="T53" fmla="*/ 752 h 860"/>
                <a:gd name="T54" fmla="*/ 134 w 598"/>
                <a:gd name="T55" fmla="*/ 860 h 860"/>
                <a:gd name="T56" fmla="*/ 210 w 598"/>
                <a:gd name="T57" fmla="*/ 654 h 860"/>
                <a:gd name="T58" fmla="*/ 347 w 598"/>
                <a:gd name="T59" fmla="*/ 679 h 860"/>
                <a:gd name="T60" fmla="*/ 483 w 598"/>
                <a:gd name="T61" fmla="*/ 653 h 860"/>
                <a:gd name="T62" fmla="*/ 560 w 598"/>
                <a:gd name="T63" fmla="*/ 860 h 860"/>
                <a:gd name="T64" fmla="*/ 598 w 598"/>
                <a:gd name="T65" fmla="*/ 752 h 8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98" h="860">
                  <a:moveTo>
                    <a:pt x="275" y="251"/>
                  </a:moveTo>
                  <a:cubicBezTo>
                    <a:pt x="275" y="211"/>
                    <a:pt x="307" y="179"/>
                    <a:pt x="347" y="179"/>
                  </a:cubicBezTo>
                  <a:cubicBezTo>
                    <a:pt x="386" y="179"/>
                    <a:pt x="419" y="211"/>
                    <a:pt x="419" y="251"/>
                  </a:cubicBezTo>
                  <a:cubicBezTo>
                    <a:pt x="419" y="290"/>
                    <a:pt x="386" y="322"/>
                    <a:pt x="347" y="322"/>
                  </a:cubicBezTo>
                  <a:cubicBezTo>
                    <a:pt x="307" y="322"/>
                    <a:pt x="275" y="290"/>
                    <a:pt x="275" y="251"/>
                  </a:cubicBezTo>
                  <a:close/>
                  <a:moveTo>
                    <a:pt x="598" y="752"/>
                  </a:moveTo>
                  <a:lnTo>
                    <a:pt x="449" y="352"/>
                  </a:lnTo>
                  <a:cubicBezTo>
                    <a:pt x="474" y="326"/>
                    <a:pt x="490" y="290"/>
                    <a:pt x="490" y="251"/>
                  </a:cubicBezTo>
                  <a:cubicBezTo>
                    <a:pt x="490" y="184"/>
                    <a:pt x="444" y="129"/>
                    <a:pt x="383" y="113"/>
                  </a:cubicBezTo>
                  <a:lnTo>
                    <a:pt x="383" y="36"/>
                  </a:lnTo>
                  <a:cubicBezTo>
                    <a:pt x="383" y="16"/>
                    <a:pt x="367" y="0"/>
                    <a:pt x="347" y="0"/>
                  </a:cubicBezTo>
                  <a:cubicBezTo>
                    <a:pt x="327" y="0"/>
                    <a:pt x="311" y="16"/>
                    <a:pt x="311" y="36"/>
                  </a:cubicBezTo>
                  <a:lnTo>
                    <a:pt x="311" y="113"/>
                  </a:lnTo>
                  <a:cubicBezTo>
                    <a:pt x="250" y="129"/>
                    <a:pt x="204" y="184"/>
                    <a:pt x="204" y="251"/>
                  </a:cubicBezTo>
                  <a:cubicBezTo>
                    <a:pt x="204" y="290"/>
                    <a:pt x="220" y="326"/>
                    <a:pt x="245" y="352"/>
                  </a:cubicBezTo>
                  <a:lnTo>
                    <a:pt x="196" y="485"/>
                  </a:lnTo>
                  <a:cubicBezTo>
                    <a:pt x="216" y="499"/>
                    <a:pt x="237" y="511"/>
                    <a:pt x="260" y="519"/>
                  </a:cubicBezTo>
                  <a:lnTo>
                    <a:pt x="308" y="388"/>
                  </a:lnTo>
                  <a:cubicBezTo>
                    <a:pt x="321" y="392"/>
                    <a:pt x="333" y="394"/>
                    <a:pt x="347" y="394"/>
                  </a:cubicBezTo>
                  <a:cubicBezTo>
                    <a:pt x="361" y="394"/>
                    <a:pt x="373" y="392"/>
                    <a:pt x="386" y="388"/>
                  </a:cubicBezTo>
                  <a:lnTo>
                    <a:pt x="459" y="586"/>
                  </a:lnTo>
                  <a:cubicBezTo>
                    <a:pt x="423" y="599"/>
                    <a:pt x="386" y="607"/>
                    <a:pt x="347" y="607"/>
                  </a:cubicBezTo>
                  <a:cubicBezTo>
                    <a:pt x="233" y="607"/>
                    <a:pt x="130" y="549"/>
                    <a:pt x="72" y="453"/>
                  </a:cubicBezTo>
                  <a:cubicBezTo>
                    <a:pt x="63" y="438"/>
                    <a:pt x="43" y="432"/>
                    <a:pt x="26" y="440"/>
                  </a:cubicBezTo>
                  <a:cubicBezTo>
                    <a:pt x="7" y="449"/>
                    <a:pt x="0" y="473"/>
                    <a:pt x="11" y="491"/>
                  </a:cubicBezTo>
                  <a:cubicBezTo>
                    <a:pt x="45" y="547"/>
                    <a:pt x="92" y="591"/>
                    <a:pt x="145" y="623"/>
                  </a:cubicBezTo>
                  <a:lnTo>
                    <a:pt x="96" y="752"/>
                  </a:lnTo>
                  <a:lnTo>
                    <a:pt x="134" y="860"/>
                  </a:lnTo>
                  <a:lnTo>
                    <a:pt x="210" y="654"/>
                  </a:lnTo>
                  <a:cubicBezTo>
                    <a:pt x="253" y="670"/>
                    <a:pt x="299" y="679"/>
                    <a:pt x="347" y="679"/>
                  </a:cubicBezTo>
                  <a:cubicBezTo>
                    <a:pt x="394" y="679"/>
                    <a:pt x="440" y="669"/>
                    <a:pt x="483" y="653"/>
                  </a:cubicBezTo>
                  <a:lnTo>
                    <a:pt x="560" y="860"/>
                  </a:lnTo>
                  <a:lnTo>
                    <a:pt x="598" y="75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5" name="Freeform 52"/>
            <p:cNvSpPr>
              <a:spLocks noEditPoints="1"/>
            </p:cNvSpPr>
            <p:nvPr/>
          </p:nvSpPr>
          <p:spPr bwMode="auto">
            <a:xfrm>
              <a:off x="8704053" y="2417306"/>
              <a:ext cx="264672" cy="272813"/>
            </a:xfrm>
            <a:custGeom>
              <a:avLst/>
              <a:gdLst>
                <a:gd name="T0" fmla="*/ 179 w 839"/>
                <a:gd name="T1" fmla="*/ 143 h 860"/>
                <a:gd name="T2" fmla="*/ 609 w 839"/>
                <a:gd name="T3" fmla="*/ 143 h 860"/>
                <a:gd name="T4" fmla="*/ 609 w 839"/>
                <a:gd name="T5" fmla="*/ 269 h 860"/>
                <a:gd name="T6" fmla="*/ 474 w 839"/>
                <a:gd name="T7" fmla="*/ 383 h 860"/>
                <a:gd name="T8" fmla="*/ 526 w 839"/>
                <a:gd name="T9" fmla="*/ 440 h 860"/>
                <a:gd name="T10" fmla="*/ 839 w 839"/>
                <a:gd name="T11" fmla="*/ 208 h 860"/>
                <a:gd name="T12" fmla="*/ 781 w 839"/>
                <a:gd name="T13" fmla="*/ 151 h 860"/>
                <a:gd name="T14" fmla="*/ 680 w 839"/>
                <a:gd name="T15" fmla="*/ 215 h 860"/>
                <a:gd name="T16" fmla="*/ 680 w 839"/>
                <a:gd name="T17" fmla="*/ 72 h 860"/>
                <a:gd name="T18" fmla="*/ 430 w 839"/>
                <a:gd name="T19" fmla="*/ 72 h 860"/>
                <a:gd name="T20" fmla="*/ 430 w 839"/>
                <a:gd name="T21" fmla="*/ 0 h 860"/>
                <a:gd name="T22" fmla="*/ 358 w 839"/>
                <a:gd name="T23" fmla="*/ 0 h 860"/>
                <a:gd name="T24" fmla="*/ 358 w 839"/>
                <a:gd name="T25" fmla="*/ 72 h 860"/>
                <a:gd name="T26" fmla="*/ 107 w 839"/>
                <a:gd name="T27" fmla="*/ 72 h 860"/>
                <a:gd name="T28" fmla="*/ 107 w 839"/>
                <a:gd name="T29" fmla="*/ 537 h 860"/>
                <a:gd name="T30" fmla="*/ 179 w 839"/>
                <a:gd name="T31" fmla="*/ 537 h 860"/>
                <a:gd name="T32" fmla="*/ 179 w 839"/>
                <a:gd name="T33" fmla="*/ 143 h 860"/>
                <a:gd name="T34" fmla="*/ 680 w 839"/>
                <a:gd name="T35" fmla="*/ 537 h 860"/>
                <a:gd name="T36" fmla="*/ 680 w 839"/>
                <a:gd name="T37" fmla="*/ 393 h 860"/>
                <a:gd name="T38" fmla="*/ 609 w 839"/>
                <a:gd name="T39" fmla="*/ 447 h 860"/>
                <a:gd name="T40" fmla="*/ 609 w 839"/>
                <a:gd name="T41" fmla="*/ 537 h 860"/>
                <a:gd name="T42" fmla="*/ 680 w 839"/>
                <a:gd name="T43" fmla="*/ 537 h 860"/>
                <a:gd name="T44" fmla="*/ 371 w 839"/>
                <a:gd name="T45" fmla="*/ 473 h 860"/>
                <a:gd name="T46" fmla="*/ 414 w 839"/>
                <a:gd name="T47" fmla="*/ 530 h 860"/>
                <a:gd name="T48" fmla="*/ 506 w 839"/>
                <a:gd name="T49" fmla="*/ 461 h 860"/>
                <a:gd name="T50" fmla="*/ 463 w 839"/>
                <a:gd name="T51" fmla="*/ 404 h 860"/>
                <a:gd name="T52" fmla="*/ 371 w 839"/>
                <a:gd name="T53" fmla="*/ 473 h 860"/>
                <a:gd name="T54" fmla="*/ 0 w 839"/>
                <a:gd name="T55" fmla="*/ 681 h 860"/>
                <a:gd name="T56" fmla="*/ 233 w 839"/>
                <a:gd name="T57" fmla="*/ 681 h 860"/>
                <a:gd name="T58" fmla="*/ 166 w 839"/>
                <a:gd name="T59" fmla="*/ 860 h 860"/>
                <a:gd name="T60" fmla="*/ 243 w 839"/>
                <a:gd name="T61" fmla="*/ 860 h 860"/>
                <a:gd name="T62" fmla="*/ 310 w 839"/>
                <a:gd name="T63" fmla="*/ 681 h 860"/>
                <a:gd name="T64" fmla="*/ 358 w 839"/>
                <a:gd name="T65" fmla="*/ 681 h 860"/>
                <a:gd name="T66" fmla="*/ 358 w 839"/>
                <a:gd name="T67" fmla="*/ 860 h 860"/>
                <a:gd name="T68" fmla="*/ 430 w 839"/>
                <a:gd name="T69" fmla="*/ 860 h 860"/>
                <a:gd name="T70" fmla="*/ 430 w 839"/>
                <a:gd name="T71" fmla="*/ 681 h 860"/>
                <a:gd name="T72" fmla="*/ 547 w 839"/>
                <a:gd name="T73" fmla="*/ 681 h 860"/>
                <a:gd name="T74" fmla="*/ 614 w 839"/>
                <a:gd name="T75" fmla="*/ 860 h 860"/>
                <a:gd name="T76" fmla="*/ 690 w 839"/>
                <a:gd name="T77" fmla="*/ 860 h 860"/>
                <a:gd name="T78" fmla="*/ 623 w 839"/>
                <a:gd name="T79" fmla="*/ 681 h 860"/>
                <a:gd name="T80" fmla="*/ 788 w 839"/>
                <a:gd name="T81" fmla="*/ 681 h 860"/>
                <a:gd name="T82" fmla="*/ 788 w 839"/>
                <a:gd name="T83" fmla="*/ 609 h 860"/>
                <a:gd name="T84" fmla="*/ 0 w 839"/>
                <a:gd name="T85" fmla="*/ 609 h 860"/>
                <a:gd name="T86" fmla="*/ 0 w 839"/>
                <a:gd name="T87" fmla="*/ 681 h 8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839" h="860">
                  <a:moveTo>
                    <a:pt x="179" y="143"/>
                  </a:moveTo>
                  <a:lnTo>
                    <a:pt x="609" y="143"/>
                  </a:lnTo>
                  <a:lnTo>
                    <a:pt x="609" y="269"/>
                  </a:lnTo>
                  <a:lnTo>
                    <a:pt x="474" y="383"/>
                  </a:lnTo>
                  <a:lnTo>
                    <a:pt x="526" y="440"/>
                  </a:lnTo>
                  <a:lnTo>
                    <a:pt x="839" y="208"/>
                  </a:lnTo>
                  <a:lnTo>
                    <a:pt x="781" y="151"/>
                  </a:lnTo>
                  <a:lnTo>
                    <a:pt x="680" y="215"/>
                  </a:lnTo>
                  <a:lnTo>
                    <a:pt x="680" y="72"/>
                  </a:lnTo>
                  <a:lnTo>
                    <a:pt x="430" y="72"/>
                  </a:lnTo>
                  <a:lnTo>
                    <a:pt x="430" y="0"/>
                  </a:lnTo>
                  <a:lnTo>
                    <a:pt x="358" y="0"/>
                  </a:lnTo>
                  <a:lnTo>
                    <a:pt x="358" y="72"/>
                  </a:lnTo>
                  <a:lnTo>
                    <a:pt x="107" y="72"/>
                  </a:lnTo>
                  <a:lnTo>
                    <a:pt x="107" y="537"/>
                  </a:lnTo>
                  <a:lnTo>
                    <a:pt x="179" y="537"/>
                  </a:lnTo>
                  <a:lnTo>
                    <a:pt x="179" y="143"/>
                  </a:lnTo>
                  <a:close/>
                  <a:moveTo>
                    <a:pt x="680" y="537"/>
                  </a:moveTo>
                  <a:lnTo>
                    <a:pt x="680" y="393"/>
                  </a:lnTo>
                  <a:lnTo>
                    <a:pt x="609" y="447"/>
                  </a:lnTo>
                  <a:lnTo>
                    <a:pt x="609" y="537"/>
                  </a:lnTo>
                  <a:lnTo>
                    <a:pt x="680" y="537"/>
                  </a:lnTo>
                  <a:close/>
                  <a:moveTo>
                    <a:pt x="371" y="473"/>
                  </a:moveTo>
                  <a:lnTo>
                    <a:pt x="414" y="530"/>
                  </a:lnTo>
                  <a:lnTo>
                    <a:pt x="506" y="461"/>
                  </a:lnTo>
                  <a:lnTo>
                    <a:pt x="463" y="404"/>
                  </a:lnTo>
                  <a:lnTo>
                    <a:pt x="371" y="473"/>
                  </a:lnTo>
                  <a:close/>
                  <a:moveTo>
                    <a:pt x="0" y="681"/>
                  </a:moveTo>
                  <a:lnTo>
                    <a:pt x="233" y="681"/>
                  </a:lnTo>
                  <a:lnTo>
                    <a:pt x="166" y="860"/>
                  </a:lnTo>
                  <a:lnTo>
                    <a:pt x="243" y="860"/>
                  </a:lnTo>
                  <a:lnTo>
                    <a:pt x="310" y="681"/>
                  </a:lnTo>
                  <a:lnTo>
                    <a:pt x="358" y="681"/>
                  </a:lnTo>
                  <a:lnTo>
                    <a:pt x="358" y="860"/>
                  </a:lnTo>
                  <a:lnTo>
                    <a:pt x="430" y="860"/>
                  </a:lnTo>
                  <a:lnTo>
                    <a:pt x="430" y="681"/>
                  </a:lnTo>
                  <a:lnTo>
                    <a:pt x="547" y="681"/>
                  </a:lnTo>
                  <a:lnTo>
                    <a:pt x="614" y="860"/>
                  </a:lnTo>
                  <a:lnTo>
                    <a:pt x="690" y="860"/>
                  </a:lnTo>
                  <a:lnTo>
                    <a:pt x="623" y="681"/>
                  </a:lnTo>
                  <a:lnTo>
                    <a:pt x="788" y="681"/>
                  </a:lnTo>
                  <a:lnTo>
                    <a:pt x="788" y="609"/>
                  </a:lnTo>
                  <a:lnTo>
                    <a:pt x="0" y="609"/>
                  </a:lnTo>
                  <a:lnTo>
                    <a:pt x="0" y="68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6" name="Freeform 53"/>
            <p:cNvSpPr>
              <a:spLocks noEditPoints="1"/>
            </p:cNvSpPr>
            <p:nvPr/>
          </p:nvSpPr>
          <p:spPr bwMode="auto">
            <a:xfrm>
              <a:off x="8695782" y="4695336"/>
              <a:ext cx="281214" cy="245254"/>
            </a:xfrm>
            <a:custGeom>
              <a:avLst/>
              <a:gdLst>
                <a:gd name="T0" fmla="*/ 408 w 888"/>
                <a:gd name="T1" fmla="*/ 61 h 777"/>
                <a:gd name="T2" fmla="*/ 337 w 888"/>
                <a:gd name="T3" fmla="*/ 61 h 777"/>
                <a:gd name="T4" fmla="*/ 337 w 888"/>
                <a:gd name="T5" fmla="*/ 539 h 777"/>
                <a:gd name="T6" fmla="*/ 408 w 888"/>
                <a:gd name="T7" fmla="*/ 556 h 777"/>
                <a:gd name="T8" fmla="*/ 408 w 888"/>
                <a:gd name="T9" fmla="*/ 61 h 777"/>
                <a:gd name="T10" fmla="*/ 552 w 888"/>
                <a:gd name="T11" fmla="*/ 61 h 777"/>
                <a:gd name="T12" fmla="*/ 480 w 888"/>
                <a:gd name="T13" fmla="*/ 61 h 777"/>
                <a:gd name="T14" fmla="*/ 480 w 888"/>
                <a:gd name="T15" fmla="*/ 556 h 777"/>
                <a:gd name="T16" fmla="*/ 552 w 888"/>
                <a:gd name="T17" fmla="*/ 539 h 777"/>
                <a:gd name="T18" fmla="*/ 552 w 888"/>
                <a:gd name="T19" fmla="*/ 61 h 777"/>
                <a:gd name="T20" fmla="*/ 829 w 888"/>
                <a:gd name="T21" fmla="*/ 27 h 777"/>
                <a:gd name="T22" fmla="*/ 734 w 888"/>
                <a:gd name="T23" fmla="*/ 5 h 777"/>
                <a:gd name="T24" fmla="*/ 652 w 888"/>
                <a:gd name="T25" fmla="*/ 56 h 777"/>
                <a:gd name="T26" fmla="*/ 696 w 888"/>
                <a:gd name="T27" fmla="*/ 357 h 777"/>
                <a:gd name="T28" fmla="*/ 634 w 888"/>
                <a:gd name="T29" fmla="*/ 526 h 777"/>
                <a:gd name="T30" fmla="*/ 444 w 888"/>
                <a:gd name="T31" fmla="*/ 595 h 777"/>
                <a:gd name="T32" fmla="*/ 254 w 888"/>
                <a:gd name="T33" fmla="*/ 526 h 777"/>
                <a:gd name="T34" fmla="*/ 193 w 888"/>
                <a:gd name="T35" fmla="*/ 357 h 777"/>
                <a:gd name="T36" fmla="*/ 237 w 888"/>
                <a:gd name="T37" fmla="*/ 57 h 777"/>
                <a:gd name="T38" fmla="*/ 155 w 888"/>
                <a:gd name="T39" fmla="*/ 5 h 777"/>
                <a:gd name="T40" fmla="*/ 60 w 888"/>
                <a:gd name="T41" fmla="*/ 27 h 777"/>
                <a:gd name="T42" fmla="*/ 35 w 888"/>
                <a:gd name="T43" fmla="*/ 179 h 777"/>
                <a:gd name="T44" fmla="*/ 92 w 888"/>
                <a:gd name="T45" fmla="*/ 216 h 777"/>
                <a:gd name="T46" fmla="*/ 134 w 888"/>
                <a:gd name="T47" fmla="*/ 189 h 777"/>
                <a:gd name="T48" fmla="*/ 107 w 888"/>
                <a:gd name="T49" fmla="*/ 146 h 777"/>
                <a:gd name="T50" fmla="*/ 93 w 888"/>
                <a:gd name="T51" fmla="*/ 137 h 777"/>
                <a:gd name="T52" fmla="*/ 102 w 888"/>
                <a:gd name="T53" fmla="*/ 85 h 777"/>
                <a:gd name="T54" fmla="*/ 143 w 888"/>
                <a:gd name="T55" fmla="*/ 76 h 777"/>
                <a:gd name="T56" fmla="*/ 179 w 888"/>
                <a:gd name="T57" fmla="*/ 99 h 777"/>
                <a:gd name="T58" fmla="*/ 130 w 888"/>
                <a:gd name="T59" fmla="*/ 321 h 777"/>
                <a:gd name="T60" fmla="*/ 122 w 888"/>
                <a:gd name="T61" fmla="*/ 330 h 777"/>
                <a:gd name="T62" fmla="*/ 122 w 888"/>
                <a:gd name="T63" fmla="*/ 341 h 777"/>
                <a:gd name="T64" fmla="*/ 202 w 888"/>
                <a:gd name="T65" fmla="*/ 575 h 777"/>
                <a:gd name="T66" fmla="*/ 445 w 888"/>
                <a:gd name="T67" fmla="*/ 666 h 777"/>
                <a:gd name="T68" fmla="*/ 687 w 888"/>
                <a:gd name="T69" fmla="*/ 575 h 777"/>
                <a:gd name="T70" fmla="*/ 767 w 888"/>
                <a:gd name="T71" fmla="*/ 341 h 777"/>
                <a:gd name="T72" fmla="*/ 766 w 888"/>
                <a:gd name="T73" fmla="*/ 330 h 777"/>
                <a:gd name="T74" fmla="*/ 759 w 888"/>
                <a:gd name="T75" fmla="*/ 321 h 777"/>
                <a:gd name="T76" fmla="*/ 710 w 888"/>
                <a:gd name="T77" fmla="*/ 98 h 777"/>
                <a:gd name="T78" fmla="*/ 746 w 888"/>
                <a:gd name="T79" fmla="*/ 76 h 777"/>
                <a:gd name="T80" fmla="*/ 787 w 888"/>
                <a:gd name="T81" fmla="*/ 85 h 777"/>
                <a:gd name="T82" fmla="*/ 795 w 888"/>
                <a:gd name="T83" fmla="*/ 137 h 777"/>
                <a:gd name="T84" fmla="*/ 782 w 888"/>
                <a:gd name="T85" fmla="*/ 146 h 777"/>
                <a:gd name="T86" fmla="*/ 754 w 888"/>
                <a:gd name="T87" fmla="*/ 189 h 777"/>
                <a:gd name="T88" fmla="*/ 797 w 888"/>
                <a:gd name="T89" fmla="*/ 216 h 777"/>
                <a:gd name="T90" fmla="*/ 854 w 888"/>
                <a:gd name="T91" fmla="*/ 179 h 777"/>
                <a:gd name="T92" fmla="*/ 829 w 888"/>
                <a:gd name="T93" fmla="*/ 27 h 777"/>
                <a:gd name="T94" fmla="*/ 301 w 888"/>
                <a:gd name="T95" fmla="*/ 777 h 777"/>
                <a:gd name="T96" fmla="*/ 587 w 888"/>
                <a:gd name="T97" fmla="*/ 777 h 777"/>
                <a:gd name="T98" fmla="*/ 587 w 888"/>
                <a:gd name="T99" fmla="*/ 705 h 777"/>
                <a:gd name="T100" fmla="*/ 301 w 888"/>
                <a:gd name="T101" fmla="*/ 705 h 777"/>
                <a:gd name="T102" fmla="*/ 301 w 888"/>
                <a:gd name="T103" fmla="*/ 777 h 7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888" h="777">
                  <a:moveTo>
                    <a:pt x="408" y="61"/>
                  </a:moveTo>
                  <a:lnTo>
                    <a:pt x="337" y="61"/>
                  </a:lnTo>
                  <a:lnTo>
                    <a:pt x="337" y="539"/>
                  </a:lnTo>
                  <a:cubicBezTo>
                    <a:pt x="372" y="548"/>
                    <a:pt x="372" y="554"/>
                    <a:pt x="408" y="556"/>
                  </a:cubicBezTo>
                  <a:lnTo>
                    <a:pt x="408" y="61"/>
                  </a:lnTo>
                  <a:close/>
                  <a:moveTo>
                    <a:pt x="552" y="61"/>
                  </a:moveTo>
                  <a:lnTo>
                    <a:pt x="480" y="61"/>
                  </a:lnTo>
                  <a:lnTo>
                    <a:pt x="480" y="556"/>
                  </a:lnTo>
                  <a:cubicBezTo>
                    <a:pt x="516" y="554"/>
                    <a:pt x="516" y="548"/>
                    <a:pt x="552" y="539"/>
                  </a:cubicBezTo>
                  <a:lnTo>
                    <a:pt x="552" y="61"/>
                  </a:lnTo>
                  <a:close/>
                  <a:moveTo>
                    <a:pt x="829" y="27"/>
                  </a:moveTo>
                  <a:cubicBezTo>
                    <a:pt x="801" y="8"/>
                    <a:pt x="768" y="0"/>
                    <a:pt x="734" y="5"/>
                  </a:cubicBezTo>
                  <a:cubicBezTo>
                    <a:pt x="700" y="11"/>
                    <a:pt x="671" y="29"/>
                    <a:pt x="652" y="56"/>
                  </a:cubicBezTo>
                  <a:cubicBezTo>
                    <a:pt x="591" y="139"/>
                    <a:pt x="637" y="279"/>
                    <a:pt x="696" y="357"/>
                  </a:cubicBezTo>
                  <a:cubicBezTo>
                    <a:pt x="695" y="386"/>
                    <a:pt x="689" y="468"/>
                    <a:pt x="634" y="526"/>
                  </a:cubicBezTo>
                  <a:cubicBezTo>
                    <a:pt x="592" y="572"/>
                    <a:pt x="528" y="595"/>
                    <a:pt x="444" y="595"/>
                  </a:cubicBezTo>
                  <a:cubicBezTo>
                    <a:pt x="361" y="595"/>
                    <a:pt x="297" y="572"/>
                    <a:pt x="254" y="526"/>
                  </a:cubicBezTo>
                  <a:cubicBezTo>
                    <a:pt x="199" y="468"/>
                    <a:pt x="193" y="385"/>
                    <a:pt x="193" y="357"/>
                  </a:cubicBezTo>
                  <a:cubicBezTo>
                    <a:pt x="252" y="279"/>
                    <a:pt x="298" y="139"/>
                    <a:pt x="237" y="57"/>
                  </a:cubicBezTo>
                  <a:cubicBezTo>
                    <a:pt x="217" y="29"/>
                    <a:pt x="188" y="11"/>
                    <a:pt x="155" y="5"/>
                  </a:cubicBezTo>
                  <a:cubicBezTo>
                    <a:pt x="121" y="0"/>
                    <a:pt x="87" y="8"/>
                    <a:pt x="60" y="27"/>
                  </a:cubicBezTo>
                  <a:cubicBezTo>
                    <a:pt x="11" y="63"/>
                    <a:pt x="0" y="130"/>
                    <a:pt x="35" y="179"/>
                  </a:cubicBezTo>
                  <a:cubicBezTo>
                    <a:pt x="49" y="198"/>
                    <a:pt x="69" y="212"/>
                    <a:pt x="92" y="216"/>
                  </a:cubicBezTo>
                  <a:cubicBezTo>
                    <a:pt x="111" y="220"/>
                    <a:pt x="130" y="208"/>
                    <a:pt x="134" y="189"/>
                  </a:cubicBezTo>
                  <a:cubicBezTo>
                    <a:pt x="138" y="169"/>
                    <a:pt x="126" y="150"/>
                    <a:pt x="107" y="146"/>
                  </a:cubicBezTo>
                  <a:cubicBezTo>
                    <a:pt x="101" y="145"/>
                    <a:pt x="96" y="142"/>
                    <a:pt x="93" y="137"/>
                  </a:cubicBezTo>
                  <a:cubicBezTo>
                    <a:pt x="81" y="121"/>
                    <a:pt x="85" y="97"/>
                    <a:pt x="102" y="85"/>
                  </a:cubicBezTo>
                  <a:cubicBezTo>
                    <a:pt x="114" y="77"/>
                    <a:pt x="128" y="73"/>
                    <a:pt x="143" y="76"/>
                  </a:cubicBezTo>
                  <a:cubicBezTo>
                    <a:pt x="157" y="78"/>
                    <a:pt x="170" y="86"/>
                    <a:pt x="179" y="99"/>
                  </a:cubicBezTo>
                  <a:cubicBezTo>
                    <a:pt x="215" y="148"/>
                    <a:pt x="182" y="259"/>
                    <a:pt x="130" y="321"/>
                  </a:cubicBezTo>
                  <a:lnTo>
                    <a:pt x="122" y="330"/>
                  </a:lnTo>
                  <a:lnTo>
                    <a:pt x="122" y="341"/>
                  </a:lnTo>
                  <a:cubicBezTo>
                    <a:pt x="121" y="347"/>
                    <a:pt x="113" y="480"/>
                    <a:pt x="202" y="575"/>
                  </a:cubicBezTo>
                  <a:cubicBezTo>
                    <a:pt x="258" y="636"/>
                    <a:pt x="340" y="666"/>
                    <a:pt x="445" y="666"/>
                  </a:cubicBezTo>
                  <a:cubicBezTo>
                    <a:pt x="549" y="666"/>
                    <a:pt x="630" y="636"/>
                    <a:pt x="687" y="575"/>
                  </a:cubicBezTo>
                  <a:cubicBezTo>
                    <a:pt x="775" y="480"/>
                    <a:pt x="767" y="347"/>
                    <a:pt x="767" y="341"/>
                  </a:cubicBezTo>
                  <a:lnTo>
                    <a:pt x="766" y="330"/>
                  </a:lnTo>
                  <a:lnTo>
                    <a:pt x="759" y="321"/>
                  </a:lnTo>
                  <a:cubicBezTo>
                    <a:pt x="706" y="259"/>
                    <a:pt x="673" y="148"/>
                    <a:pt x="710" y="98"/>
                  </a:cubicBezTo>
                  <a:cubicBezTo>
                    <a:pt x="718" y="86"/>
                    <a:pt x="731" y="78"/>
                    <a:pt x="746" y="76"/>
                  </a:cubicBezTo>
                  <a:cubicBezTo>
                    <a:pt x="760" y="73"/>
                    <a:pt x="775" y="77"/>
                    <a:pt x="787" y="85"/>
                  </a:cubicBezTo>
                  <a:cubicBezTo>
                    <a:pt x="803" y="97"/>
                    <a:pt x="807" y="121"/>
                    <a:pt x="795" y="137"/>
                  </a:cubicBezTo>
                  <a:cubicBezTo>
                    <a:pt x="792" y="142"/>
                    <a:pt x="787" y="145"/>
                    <a:pt x="782" y="146"/>
                  </a:cubicBezTo>
                  <a:cubicBezTo>
                    <a:pt x="762" y="150"/>
                    <a:pt x="750" y="169"/>
                    <a:pt x="754" y="189"/>
                  </a:cubicBezTo>
                  <a:cubicBezTo>
                    <a:pt x="758" y="208"/>
                    <a:pt x="777" y="220"/>
                    <a:pt x="797" y="216"/>
                  </a:cubicBezTo>
                  <a:cubicBezTo>
                    <a:pt x="820" y="212"/>
                    <a:pt x="840" y="198"/>
                    <a:pt x="854" y="179"/>
                  </a:cubicBezTo>
                  <a:cubicBezTo>
                    <a:pt x="888" y="130"/>
                    <a:pt x="877" y="63"/>
                    <a:pt x="829" y="27"/>
                  </a:cubicBezTo>
                  <a:close/>
                  <a:moveTo>
                    <a:pt x="301" y="777"/>
                  </a:moveTo>
                  <a:lnTo>
                    <a:pt x="587" y="777"/>
                  </a:lnTo>
                  <a:lnTo>
                    <a:pt x="587" y="705"/>
                  </a:lnTo>
                  <a:lnTo>
                    <a:pt x="301" y="705"/>
                  </a:lnTo>
                  <a:lnTo>
                    <a:pt x="301" y="77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115" name="AutoShape 4"/>
          <p:cNvSpPr>
            <a:spLocks noChangeAspect="1" noChangeArrowheads="1" noTextEdit="1"/>
          </p:cNvSpPr>
          <p:nvPr/>
        </p:nvSpPr>
        <p:spPr bwMode="auto">
          <a:xfrm>
            <a:off x="5844301" y="1808388"/>
            <a:ext cx="918665" cy="3170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16" name="Рисунок 115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185" name="TextBox 184"/>
          <p:cNvSpPr txBox="1"/>
          <p:nvPr/>
        </p:nvSpPr>
        <p:spPr>
          <a:xfrm>
            <a:off x="394573" y="1545718"/>
            <a:ext cx="6389513" cy="461665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lvl="0"/>
            <a:r>
              <a:rPr lang="ru-RU" sz="2400" b="1" dirty="0">
                <a:solidFill>
                  <a:srgbClr val="002060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УМК И.М. </a:t>
            </a:r>
            <a:r>
              <a:rPr lang="ru-RU" sz="2400" b="1" dirty="0" err="1">
                <a:solidFill>
                  <a:srgbClr val="002060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Перышкина</a:t>
            </a:r>
            <a:r>
              <a:rPr lang="ru-RU" sz="2400" b="1" dirty="0">
                <a:solidFill>
                  <a:srgbClr val="002060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, А.И. Иванова, Е.М. </a:t>
            </a:r>
            <a:r>
              <a:rPr lang="ru-RU" sz="2400" b="1" dirty="0" err="1">
                <a:solidFill>
                  <a:srgbClr val="002060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Гутник</a:t>
            </a:r>
            <a:r>
              <a:rPr lang="ru-RU" sz="2400" b="1" dirty="0">
                <a:solidFill>
                  <a:srgbClr val="002060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и др.</a:t>
            </a:r>
          </a:p>
        </p:txBody>
      </p:sp>
      <p:grpSp>
        <p:nvGrpSpPr>
          <p:cNvPr id="186" name="Группа 185"/>
          <p:cNvGrpSpPr/>
          <p:nvPr/>
        </p:nvGrpSpPr>
        <p:grpSpPr>
          <a:xfrm>
            <a:off x="339553" y="260649"/>
            <a:ext cx="1268960" cy="438775"/>
            <a:chOff x="254665" y="195486"/>
            <a:chExt cx="951720" cy="329081"/>
          </a:xfrm>
        </p:grpSpPr>
        <p:sp>
          <p:nvSpPr>
            <p:cNvPr id="187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8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9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0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1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2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3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4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5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6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7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8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9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0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pic>
        <p:nvPicPr>
          <p:cNvPr id="50" name="Рисунок 49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39225" y="2628867"/>
            <a:ext cx="1830520" cy="2509555"/>
          </a:xfrm>
          <a:prstGeom prst="rect">
            <a:avLst/>
          </a:prstGeom>
          <a:ln w="12700"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51" name="Рисунок 50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7802" y="2634515"/>
            <a:ext cx="1943376" cy="2509555"/>
          </a:xfrm>
          <a:prstGeom prst="rect">
            <a:avLst/>
          </a:prstGeom>
          <a:ln w="12700"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91375" y="2628867"/>
            <a:ext cx="1907653" cy="2515203"/>
          </a:xfrm>
          <a:prstGeom prst="rect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53" name="Прямоугольник 52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335360" y="6516869"/>
            <a:ext cx="3411921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914377">
              <a:defRPr/>
            </a:pPr>
            <a:r>
              <a:rPr lang="ru-RU" sz="1200" dirty="0">
                <a:solidFill>
                  <a:prstClr val="white">
                    <a:lumMod val="65000"/>
                  </a:prstClr>
                </a:solidFill>
                <a:latin typeface="Calibri"/>
              </a:rPr>
              <a:t>© АО «Издательство «Просвещение», 20</a:t>
            </a:r>
            <a:r>
              <a:rPr lang="en-US" sz="1200" dirty="0" smtClean="0">
                <a:solidFill>
                  <a:prstClr val="white">
                    <a:lumMod val="65000"/>
                  </a:prstClr>
                </a:solidFill>
                <a:latin typeface="Calibri"/>
              </a:rPr>
              <a:t>21</a:t>
            </a:r>
            <a:endParaRPr lang="ru-RU" sz="1200" dirty="0">
              <a:solidFill>
                <a:prstClr val="white">
                  <a:lumMod val="6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7915549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Прямоугольник 52"/>
          <p:cNvSpPr/>
          <p:nvPr/>
        </p:nvSpPr>
        <p:spPr>
          <a:xfrm>
            <a:off x="0" y="1255104"/>
            <a:ext cx="12192000" cy="2728902"/>
          </a:xfrm>
          <a:prstGeom prst="rect">
            <a:avLst/>
          </a:prstGeom>
          <a:solidFill>
            <a:srgbClr val="F0F8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grpSp>
        <p:nvGrpSpPr>
          <p:cNvPr id="4" name="Группа 3"/>
          <p:cNvGrpSpPr/>
          <p:nvPr/>
        </p:nvGrpSpPr>
        <p:grpSpPr>
          <a:xfrm>
            <a:off x="339553" y="260649"/>
            <a:ext cx="1268960" cy="438775"/>
            <a:chOff x="254665" y="195486"/>
            <a:chExt cx="951720" cy="329081"/>
          </a:xfrm>
        </p:grpSpPr>
        <p:sp>
          <p:nvSpPr>
            <p:cNvPr id="32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3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4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5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6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7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8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9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0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1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2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3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4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5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47" name="Прямая соединительная линия 46"/>
          <p:cNvCxnSpPr/>
          <p:nvPr/>
        </p:nvCxnSpPr>
        <p:spPr>
          <a:xfrm>
            <a:off x="1967541" y="0"/>
            <a:ext cx="0" cy="670171"/>
          </a:xfrm>
          <a:prstGeom prst="line">
            <a:avLst/>
          </a:prstGeom>
          <a:ln w="6350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29259" y="6432715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sp>
        <p:nvSpPr>
          <p:cNvPr id="21" name="Прямоугольник 20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335360" y="6516869"/>
            <a:ext cx="3411921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1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23" name="Рисунок 2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4266" y="930424"/>
            <a:ext cx="1856382" cy="2545010"/>
          </a:xfrm>
          <a:prstGeom prst="rect">
            <a:avLst/>
          </a:prstGeom>
          <a:ln w="12700"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25" name="Рисунок 2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56101" y="1883954"/>
            <a:ext cx="1943376" cy="2509555"/>
          </a:xfrm>
          <a:prstGeom prst="rect">
            <a:avLst/>
          </a:prstGeom>
          <a:ln w="12700"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6" name="TextBox 25"/>
          <p:cNvSpPr txBox="1"/>
          <p:nvPr/>
        </p:nvSpPr>
        <p:spPr>
          <a:xfrm>
            <a:off x="1084235" y="4574930"/>
            <a:ext cx="118173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НОВИНКА</a:t>
            </a:r>
            <a:endParaRPr kumimoji="0" lang="ru-RU" sz="18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324507" y="4937771"/>
            <a:ext cx="267326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ru-RU" sz="1200" b="1" dirty="0">
                <a:solidFill>
                  <a:srgbClr val="FF0000"/>
                </a:solidFill>
              </a:rPr>
              <a:t>В ФПУ</a:t>
            </a:r>
          </a:p>
          <a:p>
            <a:pPr lvl="0" algn="ctr"/>
            <a:r>
              <a:rPr lang="ru-RU" sz="1200" dirty="0" smtClean="0">
                <a:solidFill>
                  <a:srgbClr val="002060"/>
                </a:solidFill>
              </a:rPr>
              <a:t>1.1.2.5.1.10.1</a:t>
            </a:r>
            <a:endParaRPr lang="en-US" sz="1200" dirty="0" smtClean="0">
              <a:solidFill>
                <a:srgbClr val="002060"/>
              </a:solidFill>
            </a:endParaRPr>
          </a:p>
          <a:p>
            <a:pPr lvl="0" algn="ctr"/>
            <a:r>
              <a:rPr lang="en-US" sz="1200" dirty="0" smtClean="0">
                <a:solidFill>
                  <a:srgbClr val="002060"/>
                </a:solidFill>
              </a:rPr>
              <a:t>1.1.2.5.1.10.2</a:t>
            </a:r>
          </a:p>
          <a:p>
            <a:pPr lvl="0" algn="ctr"/>
            <a:r>
              <a:rPr lang="en-US" sz="1200" dirty="0" smtClean="0">
                <a:solidFill>
                  <a:srgbClr val="002060"/>
                </a:solidFill>
              </a:rPr>
              <a:t>1.1.2.5.1.10.</a:t>
            </a:r>
            <a:r>
              <a:rPr lang="ru-RU" sz="1200" dirty="0" smtClean="0">
                <a:solidFill>
                  <a:srgbClr val="002060"/>
                </a:solidFill>
              </a:rPr>
              <a:t>3</a:t>
            </a:r>
            <a:endParaRPr lang="ru-RU" sz="1200" dirty="0">
              <a:solidFill>
                <a:srgbClr val="002060"/>
              </a:solidFill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4485552" y="4591761"/>
            <a:ext cx="1762730" cy="3562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Cambria" panose="02040503050406030204" pitchFamily="18" charset="0"/>
                <a:cs typeface="+mn-cs"/>
              </a:rPr>
              <a:t>Состав УМК: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3199477" y="4946191"/>
            <a:ext cx="4208719" cy="11387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Cambria" panose="02040503050406030204" pitchFamily="18" charset="0"/>
                <a:cs typeface="Open Sans Condensed" pitchFamily="34" charset="0"/>
              </a:rPr>
              <a:t>Учебник</a:t>
            </a:r>
          </a:p>
          <a:p>
            <a:pPr marL="342900" marR="0" lvl="0" indent="-34290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Cambria" panose="02040503050406030204" pitchFamily="18" charset="0"/>
                <a:cs typeface="Open Sans Condensed" pitchFamily="34" charset="0"/>
              </a:rPr>
              <a:t>Рабочая программа</a:t>
            </a:r>
          </a:p>
          <a:p>
            <a:pPr marL="342900" marR="0" lvl="0" indent="-34290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Cambria" panose="02040503050406030204" pitchFamily="18" charset="0"/>
                <a:cs typeface="Open Sans Condensed" pitchFamily="34" charset="0"/>
              </a:rPr>
              <a:t>Методические </a:t>
            </a: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Cambria" panose="02040503050406030204" pitchFamily="18" charset="0"/>
                <a:cs typeface="Open Sans Condensed" pitchFamily="34" charset="0"/>
              </a:rPr>
              <a:t>пособия</a:t>
            </a:r>
          </a:p>
          <a:p>
            <a:pPr marL="342900" marR="0" lvl="0" indent="-34290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Cambria" panose="02040503050406030204" pitchFamily="18" charset="0"/>
                <a:cs typeface="Open Sans Condensed" pitchFamily="34" charset="0"/>
              </a:rPr>
              <a:t>Дидактические материалы (новинка 2021)</a:t>
            </a:r>
          </a:p>
          <a:p>
            <a:pPr marL="342900" marR="0" lvl="0" indent="-34290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Cambria" panose="02040503050406030204" pitchFamily="18" charset="0"/>
                <a:cs typeface="Open Sans Condensed" pitchFamily="34" charset="0"/>
              </a:rPr>
              <a:t>Рабочие тетради (новинка 2022</a:t>
            </a: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Cambria" panose="02040503050406030204" pitchFamily="18" charset="0"/>
                <a:cs typeface="Open Sans Condensed" pitchFamily="34" charset="0"/>
              </a:rPr>
              <a:t>)</a:t>
            </a: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ea typeface="Cambria" panose="02040503050406030204" pitchFamily="18" charset="0"/>
              <a:cs typeface="Open Sans Condensed" pitchFamily="34" charset="0"/>
            </a:endParaRPr>
          </a:p>
        </p:txBody>
      </p:sp>
      <p:pic>
        <p:nvPicPr>
          <p:cNvPr id="30" name="Рисунок 29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49626" y="5167292"/>
            <a:ext cx="615723" cy="287832"/>
          </a:xfrm>
          <a:prstGeom prst="rect">
            <a:avLst/>
          </a:prstGeom>
        </p:spPr>
      </p:pic>
      <p:pic>
        <p:nvPicPr>
          <p:cNvPr id="31" name="Рисунок 30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44164" y="5419955"/>
            <a:ext cx="615723" cy="287832"/>
          </a:xfrm>
          <a:prstGeom prst="rect">
            <a:avLst/>
          </a:prstGeom>
        </p:spPr>
      </p:pic>
      <p:sp>
        <p:nvSpPr>
          <p:cNvPr id="46" name="TextBox 45"/>
          <p:cNvSpPr txBox="1"/>
          <p:nvPr/>
        </p:nvSpPr>
        <p:spPr>
          <a:xfrm>
            <a:off x="7529914" y="4628472"/>
            <a:ext cx="4103921" cy="3562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Cambria" panose="02040503050406030204" pitchFamily="18" charset="0"/>
                <a:cs typeface="+mn-cs"/>
              </a:rPr>
              <a:t>Дополнительные материалы:</a:t>
            </a:r>
          </a:p>
        </p:txBody>
      </p:sp>
      <p:sp>
        <p:nvSpPr>
          <p:cNvPr id="48" name="TextBox 47"/>
          <p:cNvSpPr txBox="1"/>
          <p:nvPr/>
        </p:nvSpPr>
        <p:spPr>
          <a:xfrm>
            <a:off x="7575027" y="4995172"/>
            <a:ext cx="4319954" cy="9294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Cambria" panose="02040503050406030204" pitchFamily="18" charset="0"/>
                <a:cs typeface="Open Sans Condensed" pitchFamily="34" charset="0"/>
              </a:rPr>
              <a:t>Диагностические 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Cambria" panose="02040503050406030204" pitchFamily="18" charset="0"/>
                <a:cs typeface="Open Sans Condensed" pitchFamily="34" charset="0"/>
              </a:rPr>
              <a:t>работы</a:t>
            </a:r>
          </a:p>
          <a:p>
            <a:pPr marL="342900" marR="0" lvl="0" indent="-34290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Cambria" panose="02040503050406030204" pitchFamily="18" charset="0"/>
                <a:cs typeface="Open Sans Condensed" pitchFamily="34" charset="0"/>
              </a:rPr>
              <a:t>Сборник 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Cambria" panose="02040503050406030204" pitchFamily="18" charset="0"/>
                <a:cs typeface="Open Sans Condensed" pitchFamily="34" charset="0"/>
              </a:rPr>
              <a:t>вопросов и </a:t>
            </a: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Cambria" panose="02040503050406030204" pitchFamily="18" charset="0"/>
                <a:cs typeface="Open Sans Condensed" pitchFamily="34" charset="0"/>
              </a:rPr>
              <a:t>задач</a:t>
            </a: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ea typeface="Cambria" panose="02040503050406030204" pitchFamily="18" charset="0"/>
              <a:cs typeface="Open Sans Condensed" pitchFamily="34" charset="0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Cambria" panose="02040503050406030204" pitchFamily="18" charset="0"/>
                <a:cs typeface="Open Sans Condensed" pitchFamily="34" charset="0"/>
              </a:rPr>
              <a:t>Подготовка 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Cambria" panose="02040503050406030204" pitchFamily="18" charset="0"/>
                <a:cs typeface="Open Sans Condensed" pitchFamily="34" charset="0"/>
              </a:rPr>
              <a:t>к ВПР</a:t>
            </a:r>
          </a:p>
          <a:p>
            <a:pPr marL="342900" marR="0" lvl="0" indent="-34290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Cambria" panose="02040503050406030204" pitchFamily="18" charset="0"/>
                <a:cs typeface="Open Sans Condensed" pitchFamily="34" charset="0"/>
              </a:rPr>
              <a:t>Конструктор уроков</a:t>
            </a: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ea typeface="Cambria" panose="02040503050406030204" pitchFamily="18" charset="0"/>
              <a:cs typeface="Open Sans Condensed" pitchFamily="34" charset="0"/>
            </a:endParaRPr>
          </a:p>
        </p:txBody>
      </p:sp>
      <p:sp>
        <p:nvSpPr>
          <p:cNvPr id="50" name="TextBox 49"/>
          <p:cNvSpPr txBox="1"/>
          <p:nvPr/>
        </p:nvSpPr>
        <p:spPr>
          <a:xfrm>
            <a:off x="3745498" y="1278211"/>
            <a:ext cx="8303164" cy="26314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5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ru-RU" sz="20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Cambria" panose="02040503050406030204" pitchFamily="18" charset="0"/>
                <a:cs typeface="Open Sans Condensed" pitchFamily="34" charset="0"/>
              </a:rPr>
              <a:t>Преемственность с УМК А.В. </a:t>
            </a:r>
            <a:r>
              <a:rPr kumimoji="0" lang="ru-RU" sz="20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Cambria" panose="02040503050406030204" pitchFamily="18" charset="0"/>
                <a:cs typeface="Open Sans Condensed" pitchFamily="34" charset="0"/>
              </a:rPr>
              <a:t>Перышкина</a:t>
            </a:r>
            <a:r>
              <a:rPr kumimoji="0" lang="ru-RU" sz="20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Cambria" panose="02040503050406030204" pitchFamily="18" charset="0"/>
                <a:cs typeface="Open Sans Condensed" pitchFamily="34" charset="0"/>
              </a:rPr>
              <a:t>, Е.М. </a:t>
            </a:r>
            <a:r>
              <a:rPr kumimoji="0" lang="ru-RU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Cambria" panose="02040503050406030204" pitchFamily="18" charset="0"/>
                <a:cs typeface="Open Sans Condensed" pitchFamily="34" charset="0"/>
              </a:rPr>
              <a:t>Гутник</a:t>
            </a:r>
            <a:r>
              <a:rPr kumimoji="0" lang="ru-RU" sz="20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Cambria" panose="02040503050406030204" pitchFamily="18" charset="0"/>
                <a:cs typeface="Open Sans Condensed" pitchFamily="34" charset="0"/>
              </a:rPr>
              <a:t> </a:t>
            </a:r>
          </a:p>
          <a:p>
            <a:pPr marL="342900" marR="0" lvl="0" indent="-342900" algn="l" defTabSz="914400" rtl="0" eaLnBrk="1" fontAlgn="auto" latinLnBrk="0" hangingPunct="1">
              <a:lnSpc>
                <a:spcPct val="15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ru-RU" sz="20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Cambria" panose="02040503050406030204" pitchFamily="18" charset="0"/>
                <a:cs typeface="Open Sans Condensed" pitchFamily="34" charset="0"/>
              </a:rPr>
              <a:t>Система заданий соответствует новой модели ОГЭ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ea typeface="Cambria" panose="02040503050406030204" pitchFamily="18" charset="0"/>
              <a:cs typeface="Open Sans Condensed" pitchFamily="34" charset="0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5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ru-RU" sz="20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Cambria" panose="02040503050406030204" pitchFamily="18" charset="0"/>
                <a:cs typeface="Open Sans Condensed" pitchFamily="34" charset="0"/>
              </a:rPr>
              <a:t>Способствует формированию функциональной грамотности</a:t>
            </a:r>
          </a:p>
          <a:p>
            <a:pPr marL="342900" marR="0" lvl="0" indent="-342900" algn="l" defTabSz="914400" rtl="0" eaLnBrk="1" fontAlgn="auto" latinLnBrk="0" hangingPunct="1">
              <a:lnSpc>
                <a:spcPct val="15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ru-RU" sz="20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Cambria" panose="02040503050406030204" pitchFamily="18" charset="0"/>
                <a:cs typeface="Open Sans Condensed" pitchFamily="34" charset="0"/>
              </a:rPr>
              <a:t>Учитывает отзывы и пожелания учителей, работающих по классическим учебникам </a:t>
            </a:r>
            <a:r>
              <a:rPr kumimoji="0" lang="ru-RU" sz="2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Cambria" panose="02040503050406030204" pitchFamily="18" charset="0"/>
                <a:cs typeface="Open Sans Condensed" pitchFamily="34" charset="0"/>
              </a:rPr>
              <a:t>физики </a:t>
            </a:r>
            <a:r>
              <a:rPr kumimoji="0" lang="ru-RU" sz="20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Cambria" panose="02040503050406030204" pitchFamily="18" charset="0"/>
                <a:cs typeface="Open Sans Condensed" pitchFamily="34" charset="0"/>
              </a:rPr>
              <a:t>много </a:t>
            </a:r>
            <a:r>
              <a:rPr kumimoji="0" lang="ru-RU" sz="2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Cambria" panose="02040503050406030204" pitchFamily="18" charset="0"/>
                <a:cs typeface="Open Sans Condensed" pitchFamily="34" charset="0"/>
              </a:rPr>
              <a:t>лет</a:t>
            </a:r>
            <a:endParaRPr kumimoji="0" lang="ru-RU" sz="20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ea typeface="Cambria" panose="02040503050406030204" pitchFamily="18" charset="0"/>
              <a:cs typeface="Open Sans Condensed" pitchFamily="34" charset="0"/>
            </a:endParaRPr>
          </a:p>
        </p:txBody>
      </p:sp>
      <p:sp>
        <p:nvSpPr>
          <p:cNvPr id="54" name="Скругленный прямоугольник 53"/>
          <p:cNvSpPr/>
          <p:nvPr/>
        </p:nvSpPr>
        <p:spPr>
          <a:xfrm>
            <a:off x="1110738" y="4517956"/>
            <a:ext cx="1181734" cy="334555"/>
          </a:xfrm>
          <a:prstGeom prst="roundRect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5" name="TextBox 54"/>
          <p:cNvSpPr txBox="1"/>
          <p:nvPr/>
        </p:nvSpPr>
        <p:spPr>
          <a:xfrm>
            <a:off x="1179490" y="4518381"/>
            <a:ext cx="107273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НОВИНКА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56" name="Рисунок 55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35004" y="5690680"/>
            <a:ext cx="615723" cy="287832"/>
          </a:xfrm>
          <a:prstGeom prst="rect">
            <a:avLst/>
          </a:prstGeom>
        </p:spPr>
      </p:pic>
      <p:sp>
        <p:nvSpPr>
          <p:cNvPr id="57" name="TextBox 56"/>
          <p:cNvSpPr txBox="1"/>
          <p:nvPr/>
        </p:nvSpPr>
        <p:spPr>
          <a:xfrm>
            <a:off x="2124175" y="182238"/>
            <a:ext cx="8219558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Линия УМК </a:t>
            </a: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И.М. </a:t>
            </a:r>
            <a:r>
              <a:rPr kumimoji="0" lang="ru-RU" sz="2000" b="1" i="0" u="none" strike="noStrike" kern="1200" cap="none" spc="0" normalizeH="0" baseline="0" noProof="0" dirty="0" err="1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Перышкина</a:t>
            </a: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, А.И. Иванова, Е.М. </a:t>
            </a:r>
            <a:r>
              <a:rPr kumimoji="0" lang="ru-RU" sz="2000" b="1" i="0" u="none" strike="noStrike" kern="1200" cap="none" spc="0" normalizeH="0" baseline="0" noProof="0" dirty="0" err="1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Гутник</a:t>
            </a: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, М.А.</a:t>
            </a:r>
            <a:r>
              <a:rPr kumimoji="0" lang="ru-RU" sz="2000" b="1" i="0" u="none" strike="noStrike" kern="1200" cap="none" spc="0" normalizeH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Петровой</a:t>
            </a:r>
            <a:endParaRPr kumimoji="0" lang="ru-RU" sz="20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45302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Прямоугольник 44"/>
          <p:cNvSpPr/>
          <p:nvPr/>
        </p:nvSpPr>
        <p:spPr>
          <a:xfrm>
            <a:off x="7010143" y="-70075"/>
            <a:ext cx="5177889" cy="6888480"/>
          </a:xfrm>
          <a:prstGeom prst="rect">
            <a:avLst/>
          </a:prstGeom>
          <a:solidFill>
            <a:srgbClr val="D8EBF4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id="{C57A16CD-55A2-4F01-A658-438A93B431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747" name="Слайд think-cell" r:id="rId5" imgW="359" imgH="360" progId="TCLayout.ActiveDocument.1">
                  <p:embed/>
                </p:oleObj>
              </mc:Choice>
              <mc:Fallback>
                <p:oleObj name="Слайд think-cell" r:id="rId5" imgW="359" imgH="360" progId="TCLayout.ActiveDocument.1">
                  <p:embed/>
                  <p:pic>
                    <p:nvPicPr>
                      <p:cNvPr id="4" name="Объект 3" hidden="1">
                        <a:extLst>
                          <a:ext uri="{FF2B5EF4-FFF2-40B4-BE49-F238E27FC236}">
                            <a16:creationId xmlns:a16="http://schemas.microsoft.com/office/drawing/2014/main" id="{C57A16CD-55A2-4F01-A658-438A93B431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Номер слайда 8"/>
          <p:cNvSpPr txBox="1">
            <a:spLocks/>
          </p:cNvSpPr>
          <p:nvPr/>
        </p:nvSpPr>
        <p:spPr>
          <a:xfrm>
            <a:off x="8763000" y="65087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8" name="Прямоугольник 27"/>
          <p:cNvSpPr/>
          <p:nvPr/>
        </p:nvSpPr>
        <p:spPr>
          <a:xfrm>
            <a:off x="7219412" y="1521803"/>
            <a:ext cx="3662059" cy="324191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ea typeface="Open Sans" panose="020B0606030504020204" pitchFamily="34" charset="0"/>
                <a:cs typeface="Open Sans" panose="020B0606030504020204" pitchFamily="34" charset="0"/>
              </a:rPr>
              <a:t>Содержание</a:t>
            </a:r>
          </a:p>
          <a:p>
            <a:pPr marL="285750" lvl="0" indent="-285750">
              <a:spcBef>
                <a:spcPts val="1600"/>
              </a:spcBef>
              <a:buBlip>
                <a:blip r:embed="rId7"/>
              </a:buBlip>
              <a:defRPr/>
            </a:pPr>
            <a:r>
              <a:rPr lang="ru-RU" sz="1400" dirty="0">
                <a:solidFill>
                  <a:srgbClr val="002060"/>
                </a:solidFill>
                <a:ea typeface="Open Sans" pitchFamily="34" charset="0"/>
                <a:cs typeface="Open Sans" pitchFamily="34" charset="0"/>
              </a:rPr>
              <a:t>Линия УМК «Классический курс» С.В. Громова и Н.А. Родиной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Tx/>
              <a:buBlip>
                <a:blip r:embed="rId7"/>
              </a:buBlip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ea typeface="Open Sans" pitchFamily="34" charset="0"/>
                <a:cs typeface="Open Sans" pitchFamily="34" charset="0"/>
              </a:rPr>
              <a:t>Содержание классического курса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ea typeface="Open Sans" pitchFamily="34" charset="0"/>
              <a:cs typeface="Open Sans" pitchFamily="34" charset="0"/>
            </a:endParaRPr>
          </a:p>
          <a:p>
            <a:pPr marL="285750" lvl="0" indent="-285750">
              <a:spcBef>
                <a:spcPts val="1600"/>
              </a:spcBef>
              <a:buBlip>
                <a:blip r:embed="rId7"/>
              </a:buBlip>
              <a:defRPr/>
            </a:pPr>
            <a:r>
              <a:rPr lang="ru-RU" sz="1400" dirty="0" smtClean="0">
                <a:solidFill>
                  <a:srgbClr val="002060"/>
                </a:solidFill>
                <a:ea typeface="Open Sans" pitchFamily="34" charset="0"/>
                <a:cs typeface="Open Sans" pitchFamily="34" charset="0"/>
              </a:rPr>
              <a:t>Система </a:t>
            </a:r>
            <a:r>
              <a:rPr lang="ru-RU" sz="1400" dirty="0">
                <a:solidFill>
                  <a:srgbClr val="002060"/>
                </a:solidFill>
                <a:ea typeface="Open Sans" pitchFamily="34" charset="0"/>
                <a:cs typeface="Open Sans" pitchFamily="34" charset="0"/>
              </a:rPr>
              <a:t>заданий, помогающих формировать навыки XXI века</a:t>
            </a:r>
          </a:p>
          <a:p>
            <a:pPr marL="285750" lvl="0" indent="-285750">
              <a:spcBef>
                <a:spcPts val="1600"/>
              </a:spcBef>
              <a:buBlip>
                <a:blip r:embed="rId7"/>
              </a:buBlip>
              <a:defRPr/>
            </a:pPr>
            <a:r>
              <a:rPr lang="ru-RU" sz="1400" dirty="0">
                <a:solidFill>
                  <a:srgbClr val="002060"/>
                </a:solidFill>
                <a:ea typeface="Open Sans" pitchFamily="34" charset="0"/>
                <a:cs typeface="Open Sans" pitchFamily="34" charset="0"/>
              </a:rPr>
              <a:t>Использование современных научных тенденций при изложении </a:t>
            </a:r>
            <a:r>
              <a:rPr lang="ru-RU" sz="1400" dirty="0" smtClean="0">
                <a:solidFill>
                  <a:srgbClr val="002060"/>
                </a:solidFill>
                <a:ea typeface="Open Sans" pitchFamily="34" charset="0"/>
                <a:cs typeface="Open Sans" pitchFamily="34" charset="0"/>
              </a:rPr>
              <a:t>материала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ea typeface="Open Sans" pitchFamily="34" charset="0"/>
              <a:cs typeface="Open Sans" pitchFamily="34" charset="0"/>
            </a:endParaRPr>
          </a:p>
          <a:p>
            <a:pPr marL="285750" lvl="0" indent="-285750">
              <a:spcBef>
                <a:spcPts val="1600"/>
              </a:spcBef>
              <a:buBlip>
                <a:blip r:embed="rId7"/>
              </a:buBlip>
              <a:defRPr/>
            </a:pPr>
            <a:r>
              <a:rPr lang="ru-RU" sz="1400" dirty="0">
                <a:solidFill>
                  <a:srgbClr val="002060"/>
                </a:solidFill>
                <a:ea typeface="Open Sans" pitchFamily="34" charset="0"/>
                <a:cs typeface="Open Sans" pitchFamily="34" charset="0"/>
              </a:rPr>
              <a:t>Компоненты линии УМК </a:t>
            </a:r>
            <a:r>
              <a:rPr lang="ru-RU" sz="1400" dirty="0" smtClean="0">
                <a:solidFill>
                  <a:srgbClr val="002060"/>
                </a:solidFill>
                <a:ea typeface="Open Sans" pitchFamily="34" charset="0"/>
                <a:cs typeface="Open Sans" pitchFamily="34" charset="0"/>
              </a:rPr>
              <a:t>Громов </a:t>
            </a:r>
            <a:r>
              <a:rPr lang="ru-RU" sz="1400" dirty="0">
                <a:solidFill>
                  <a:srgbClr val="002060"/>
                </a:solidFill>
                <a:ea typeface="Open Sans" pitchFamily="34" charset="0"/>
                <a:cs typeface="Open Sans" pitchFamily="34" charset="0"/>
              </a:rPr>
              <a:t>С.В., </a:t>
            </a:r>
            <a:r>
              <a:rPr lang="ru-RU" sz="1400" dirty="0" smtClean="0">
                <a:solidFill>
                  <a:srgbClr val="002060"/>
                </a:solidFill>
                <a:ea typeface="Open Sans" pitchFamily="34" charset="0"/>
                <a:cs typeface="Open Sans" pitchFamily="34" charset="0"/>
              </a:rPr>
              <a:t>Родина </a:t>
            </a:r>
            <a:r>
              <a:rPr lang="ru-RU" sz="1400" dirty="0">
                <a:solidFill>
                  <a:srgbClr val="002060"/>
                </a:solidFill>
                <a:ea typeface="Open Sans" pitchFamily="34" charset="0"/>
                <a:cs typeface="Open Sans" pitchFamily="34" charset="0"/>
              </a:rPr>
              <a:t>Н.А.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ea typeface="Open Sans" pitchFamily="34" charset="0"/>
              <a:cs typeface="Open Sans" pitchFamily="34" charset="0"/>
            </a:endParaRPr>
          </a:p>
        </p:txBody>
      </p:sp>
      <p:grpSp>
        <p:nvGrpSpPr>
          <p:cNvPr id="6" name="Группа 5"/>
          <p:cNvGrpSpPr/>
          <p:nvPr/>
        </p:nvGrpSpPr>
        <p:grpSpPr>
          <a:xfrm>
            <a:off x="11375669" y="-4589"/>
            <a:ext cx="813280" cy="6790912"/>
            <a:chOff x="8531752" y="-3442"/>
            <a:chExt cx="609960" cy="5093184"/>
          </a:xfrm>
        </p:grpSpPr>
        <p:sp>
          <p:nvSpPr>
            <p:cNvPr id="32" name="Rectangle 10"/>
            <p:cNvSpPr>
              <a:spLocks noChangeArrowheads="1"/>
            </p:cNvSpPr>
            <p:nvPr/>
          </p:nvSpPr>
          <p:spPr bwMode="auto">
            <a:xfrm>
              <a:off x="8531752" y="1693368"/>
              <a:ext cx="609272" cy="566063"/>
            </a:xfrm>
            <a:prstGeom prst="rect">
              <a:avLst/>
            </a:prstGeom>
            <a:solidFill>
              <a:srgbClr val="40D4E2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0" name="Rectangle 13"/>
            <p:cNvSpPr>
              <a:spLocks noChangeArrowheads="1"/>
            </p:cNvSpPr>
            <p:nvPr/>
          </p:nvSpPr>
          <p:spPr bwMode="auto">
            <a:xfrm>
              <a:off x="8531752" y="3957617"/>
              <a:ext cx="609272" cy="566063"/>
            </a:xfrm>
            <a:prstGeom prst="rect">
              <a:avLst/>
            </a:prstGeom>
            <a:solidFill>
              <a:srgbClr val="43D1A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1" name="Rectangle 14"/>
            <p:cNvSpPr>
              <a:spLocks noChangeArrowheads="1"/>
            </p:cNvSpPr>
            <p:nvPr/>
          </p:nvSpPr>
          <p:spPr bwMode="auto">
            <a:xfrm>
              <a:off x="8532440" y="3391554"/>
              <a:ext cx="609272" cy="566063"/>
            </a:xfrm>
            <a:prstGeom prst="rect">
              <a:avLst/>
            </a:prstGeom>
            <a:solidFill>
              <a:srgbClr val="5471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4" name="Rectangle 17"/>
            <p:cNvSpPr>
              <a:spLocks noChangeArrowheads="1"/>
            </p:cNvSpPr>
            <p:nvPr/>
          </p:nvSpPr>
          <p:spPr bwMode="auto">
            <a:xfrm>
              <a:off x="8531753" y="-3442"/>
              <a:ext cx="609272" cy="566063"/>
            </a:xfrm>
            <a:prstGeom prst="rect">
              <a:avLst/>
            </a:prstGeom>
            <a:solidFill>
              <a:srgbClr val="F5B1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6" name="Rectangle 19"/>
            <p:cNvSpPr>
              <a:spLocks noChangeArrowheads="1"/>
            </p:cNvSpPr>
            <p:nvPr/>
          </p:nvSpPr>
          <p:spPr bwMode="auto">
            <a:xfrm>
              <a:off x="8532440" y="2259429"/>
              <a:ext cx="609272" cy="566063"/>
            </a:xfrm>
            <a:prstGeom prst="rect">
              <a:avLst/>
            </a:prstGeom>
            <a:solidFill>
              <a:srgbClr val="40A7E1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8" name="Rectangle 21"/>
            <p:cNvSpPr>
              <a:spLocks noChangeArrowheads="1"/>
            </p:cNvSpPr>
            <p:nvPr/>
          </p:nvSpPr>
          <p:spPr bwMode="auto">
            <a:xfrm>
              <a:off x="8532440" y="4523679"/>
              <a:ext cx="609272" cy="566063"/>
            </a:xfrm>
            <a:prstGeom prst="rect">
              <a:avLst/>
            </a:prstGeom>
            <a:solidFill>
              <a:srgbClr val="F5B144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9" name="Rectangle 22"/>
            <p:cNvSpPr>
              <a:spLocks noChangeArrowheads="1"/>
            </p:cNvSpPr>
            <p:nvPr/>
          </p:nvSpPr>
          <p:spPr bwMode="auto">
            <a:xfrm>
              <a:off x="8531753" y="1127076"/>
              <a:ext cx="609272" cy="566063"/>
            </a:xfrm>
            <a:prstGeom prst="rect">
              <a:avLst/>
            </a:prstGeom>
            <a:solidFill>
              <a:srgbClr val="43D1A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2" name="Rectangle 25"/>
            <p:cNvSpPr>
              <a:spLocks noChangeArrowheads="1"/>
            </p:cNvSpPr>
            <p:nvPr/>
          </p:nvSpPr>
          <p:spPr bwMode="auto">
            <a:xfrm>
              <a:off x="8532440" y="2825491"/>
              <a:ext cx="609272" cy="566063"/>
            </a:xfrm>
            <a:prstGeom prst="rect">
              <a:avLst/>
            </a:prstGeom>
            <a:solidFill>
              <a:srgbClr val="4383D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6" name="Rectangle 29"/>
            <p:cNvSpPr>
              <a:spLocks noChangeArrowheads="1"/>
            </p:cNvSpPr>
            <p:nvPr/>
          </p:nvSpPr>
          <p:spPr bwMode="auto">
            <a:xfrm>
              <a:off x="8531753" y="561014"/>
              <a:ext cx="609272" cy="566063"/>
            </a:xfrm>
            <a:prstGeom prst="rect">
              <a:avLst/>
            </a:prstGeom>
            <a:solidFill>
              <a:srgbClr val="9ED4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9" name="Freeform 32"/>
            <p:cNvSpPr>
              <a:spLocks noEditPoints="1"/>
            </p:cNvSpPr>
            <p:nvPr/>
          </p:nvSpPr>
          <p:spPr bwMode="auto">
            <a:xfrm>
              <a:off x="8700607" y="1885691"/>
              <a:ext cx="271564" cy="203921"/>
            </a:xfrm>
            <a:custGeom>
              <a:avLst/>
              <a:gdLst>
                <a:gd name="T0" fmla="*/ 787 w 859"/>
                <a:gd name="T1" fmla="*/ 107 h 644"/>
                <a:gd name="T2" fmla="*/ 787 w 859"/>
                <a:gd name="T3" fmla="*/ 573 h 644"/>
                <a:gd name="T4" fmla="*/ 537 w 859"/>
                <a:gd name="T5" fmla="*/ 573 h 644"/>
                <a:gd name="T6" fmla="*/ 465 w 859"/>
                <a:gd name="T7" fmla="*/ 644 h 644"/>
                <a:gd name="T8" fmla="*/ 859 w 859"/>
                <a:gd name="T9" fmla="*/ 644 h 644"/>
                <a:gd name="T10" fmla="*/ 859 w 859"/>
                <a:gd name="T11" fmla="*/ 107 h 644"/>
                <a:gd name="T12" fmla="*/ 787 w 859"/>
                <a:gd name="T13" fmla="*/ 107 h 644"/>
                <a:gd name="T14" fmla="*/ 476 w 859"/>
                <a:gd name="T15" fmla="*/ 476 h 644"/>
                <a:gd name="T16" fmla="*/ 383 w 859"/>
                <a:gd name="T17" fmla="*/ 476 h 644"/>
                <a:gd name="T18" fmla="*/ 373 w 859"/>
                <a:gd name="T19" fmla="*/ 465 h 644"/>
                <a:gd name="T20" fmla="*/ 179 w 859"/>
                <a:gd name="T21" fmla="*/ 465 h 644"/>
                <a:gd name="T22" fmla="*/ 179 w 859"/>
                <a:gd name="T23" fmla="*/ 71 h 644"/>
                <a:gd name="T24" fmla="*/ 344 w 859"/>
                <a:gd name="T25" fmla="*/ 71 h 644"/>
                <a:gd name="T26" fmla="*/ 393 w 859"/>
                <a:gd name="T27" fmla="*/ 96 h 644"/>
                <a:gd name="T28" fmla="*/ 393 w 859"/>
                <a:gd name="T29" fmla="*/ 358 h 644"/>
                <a:gd name="T30" fmla="*/ 465 w 859"/>
                <a:gd name="T31" fmla="*/ 358 h 644"/>
                <a:gd name="T32" fmla="*/ 465 w 859"/>
                <a:gd name="T33" fmla="*/ 96 h 644"/>
                <a:gd name="T34" fmla="*/ 515 w 859"/>
                <a:gd name="T35" fmla="*/ 71 h 644"/>
                <a:gd name="T36" fmla="*/ 680 w 859"/>
                <a:gd name="T37" fmla="*/ 71 h 644"/>
                <a:gd name="T38" fmla="*/ 680 w 859"/>
                <a:gd name="T39" fmla="*/ 465 h 644"/>
                <a:gd name="T40" fmla="*/ 486 w 859"/>
                <a:gd name="T41" fmla="*/ 465 h 644"/>
                <a:gd name="T42" fmla="*/ 476 w 859"/>
                <a:gd name="T43" fmla="*/ 476 h 644"/>
                <a:gd name="T44" fmla="*/ 752 w 859"/>
                <a:gd name="T45" fmla="*/ 537 h 644"/>
                <a:gd name="T46" fmla="*/ 752 w 859"/>
                <a:gd name="T47" fmla="*/ 0 h 644"/>
                <a:gd name="T48" fmla="*/ 486 w 859"/>
                <a:gd name="T49" fmla="*/ 0 h 644"/>
                <a:gd name="T50" fmla="*/ 476 w 859"/>
                <a:gd name="T51" fmla="*/ 10 h 644"/>
                <a:gd name="T52" fmla="*/ 383 w 859"/>
                <a:gd name="T53" fmla="*/ 10 h 644"/>
                <a:gd name="T54" fmla="*/ 373 w 859"/>
                <a:gd name="T55" fmla="*/ 0 h 644"/>
                <a:gd name="T56" fmla="*/ 107 w 859"/>
                <a:gd name="T57" fmla="*/ 0 h 644"/>
                <a:gd name="T58" fmla="*/ 107 w 859"/>
                <a:gd name="T59" fmla="*/ 537 h 644"/>
                <a:gd name="T60" fmla="*/ 344 w 859"/>
                <a:gd name="T61" fmla="*/ 537 h 644"/>
                <a:gd name="T62" fmla="*/ 429 w 859"/>
                <a:gd name="T63" fmla="*/ 566 h 644"/>
                <a:gd name="T64" fmla="*/ 515 w 859"/>
                <a:gd name="T65" fmla="*/ 537 h 644"/>
                <a:gd name="T66" fmla="*/ 752 w 859"/>
                <a:gd name="T67" fmla="*/ 537 h 644"/>
                <a:gd name="T68" fmla="*/ 71 w 859"/>
                <a:gd name="T69" fmla="*/ 573 h 644"/>
                <a:gd name="T70" fmla="*/ 71 w 859"/>
                <a:gd name="T71" fmla="*/ 107 h 644"/>
                <a:gd name="T72" fmla="*/ 0 w 859"/>
                <a:gd name="T73" fmla="*/ 107 h 644"/>
                <a:gd name="T74" fmla="*/ 0 w 859"/>
                <a:gd name="T75" fmla="*/ 644 h 644"/>
                <a:gd name="T76" fmla="*/ 394 w 859"/>
                <a:gd name="T77" fmla="*/ 644 h 644"/>
                <a:gd name="T78" fmla="*/ 322 w 859"/>
                <a:gd name="T79" fmla="*/ 573 h 644"/>
                <a:gd name="T80" fmla="*/ 71 w 859"/>
                <a:gd name="T81" fmla="*/ 573 h 6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859" h="644">
                  <a:moveTo>
                    <a:pt x="787" y="107"/>
                  </a:moveTo>
                  <a:lnTo>
                    <a:pt x="787" y="573"/>
                  </a:lnTo>
                  <a:lnTo>
                    <a:pt x="537" y="573"/>
                  </a:lnTo>
                  <a:lnTo>
                    <a:pt x="465" y="644"/>
                  </a:lnTo>
                  <a:lnTo>
                    <a:pt x="859" y="644"/>
                  </a:lnTo>
                  <a:lnTo>
                    <a:pt x="859" y="107"/>
                  </a:lnTo>
                  <a:lnTo>
                    <a:pt x="787" y="107"/>
                  </a:lnTo>
                  <a:close/>
                  <a:moveTo>
                    <a:pt x="476" y="476"/>
                  </a:moveTo>
                  <a:cubicBezTo>
                    <a:pt x="450" y="501"/>
                    <a:pt x="409" y="501"/>
                    <a:pt x="383" y="476"/>
                  </a:cubicBezTo>
                  <a:lnTo>
                    <a:pt x="373" y="465"/>
                  </a:lnTo>
                  <a:lnTo>
                    <a:pt x="179" y="465"/>
                  </a:lnTo>
                  <a:lnTo>
                    <a:pt x="179" y="71"/>
                  </a:lnTo>
                  <a:lnTo>
                    <a:pt x="344" y="71"/>
                  </a:lnTo>
                  <a:cubicBezTo>
                    <a:pt x="359" y="71"/>
                    <a:pt x="393" y="91"/>
                    <a:pt x="393" y="96"/>
                  </a:cubicBezTo>
                  <a:lnTo>
                    <a:pt x="393" y="358"/>
                  </a:lnTo>
                  <a:lnTo>
                    <a:pt x="465" y="358"/>
                  </a:lnTo>
                  <a:lnTo>
                    <a:pt x="465" y="96"/>
                  </a:lnTo>
                  <a:cubicBezTo>
                    <a:pt x="465" y="91"/>
                    <a:pt x="500" y="71"/>
                    <a:pt x="515" y="71"/>
                  </a:cubicBezTo>
                  <a:lnTo>
                    <a:pt x="680" y="71"/>
                  </a:lnTo>
                  <a:lnTo>
                    <a:pt x="680" y="465"/>
                  </a:lnTo>
                  <a:lnTo>
                    <a:pt x="486" y="465"/>
                  </a:lnTo>
                  <a:lnTo>
                    <a:pt x="476" y="476"/>
                  </a:lnTo>
                  <a:close/>
                  <a:moveTo>
                    <a:pt x="752" y="537"/>
                  </a:moveTo>
                  <a:lnTo>
                    <a:pt x="752" y="0"/>
                  </a:lnTo>
                  <a:lnTo>
                    <a:pt x="486" y="0"/>
                  </a:lnTo>
                  <a:lnTo>
                    <a:pt x="476" y="10"/>
                  </a:lnTo>
                  <a:cubicBezTo>
                    <a:pt x="450" y="36"/>
                    <a:pt x="409" y="36"/>
                    <a:pt x="383" y="10"/>
                  </a:cubicBezTo>
                  <a:lnTo>
                    <a:pt x="373" y="0"/>
                  </a:lnTo>
                  <a:lnTo>
                    <a:pt x="107" y="0"/>
                  </a:lnTo>
                  <a:lnTo>
                    <a:pt x="107" y="537"/>
                  </a:lnTo>
                  <a:lnTo>
                    <a:pt x="344" y="537"/>
                  </a:lnTo>
                  <a:cubicBezTo>
                    <a:pt x="369" y="573"/>
                    <a:pt x="399" y="566"/>
                    <a:pt x="429" y="566"/>
                  </a:cubicBezTo>
                  <a:cubicBezTo>
                    <a:pt x="460" y="566"/>
                    <a:pt x="490" y="573"/>
                    <a:pt x="515" y="537"/>
                  </a:cubicBezTo>
                  <a:lnTo>
                    <a:pt x="752" y="537"/>
                  </a:lnTo>
                  <a:close/>
                  <a:moveTo>
                    <a:pt x="71" y="573"/>
                  </a:moveTo>
                  <a:lnTo>
                    <a:pt x="71" y="107"/>
                  </a:lnTo>
                  <a:lnTo>
                    <a:pt x="0" y="107"/>
                  </a:lnTo>
                  <a:lnTo>
                    <a:pt x="0" y="644"/>
                  </a:lnTo>
                  <a:lnTo>
                    <a:pt x="394" y="644"/>
                  </a:lnTo>
                  <a:lnTo>
                    <a:pt x="322" y="573"/>
                  </a:lnTo>
                  <a:lnTo>
                    <a:pt x="71" y="57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7" name="Freeform 40"/>
            <p:cNvSpPr>
              <a:spLocks noEditPoints="1"/>
            </p:cNvSpPr>
            <p:nvPr/>
          </p:nvSpPr>
          <p:spPr bwMode="auto">
            <a:xfrm>
              <a:off x="8701296" y="1308377"/>
              <a:ext cx="270186" cy="225965"/>
            </a:xfrm>
            <a:custGeom>
              <a:avLst/>
              <a:gdLst>
                <a:gd name="T0" fmla="*/ 716 w 859"/>
                <a:gd name="T1" fmla="*/ 0 h 716"/>
                <a:gd name="T2" fmla="*/ 143 w 859"/>
                <a:gd name="T3" fmla="*/ 0 h 716"/>
                <a:gd name="T4" fmla="*/ 0 w 859"/>
                <a:gd name="T5" fmla="*/ 143 h 716"/>
                <a:gd name="T6" fmla="*/ 143 w 859"/>
                <a:gd name="T7" fmla="*/ 286 h 716"/>
                <a:gd name="T8" fmla="*/ 286 w 859"/>
                <a:gd name="T9" fmla="*/ 143 h 716"/>
                <a:gd name="T10" fmla="*/ 215 w 859"/>
                <a:gd name="T11" fmla="*/ 143 h 716"/>
                <a:gd name="T12" fmla="*/ 143 w 859"/>
                <a:gd name="T13" fmla="*/ 215 h 716"/>
                <a:gd name="T14" fmla="*/ 72 w 859"/>
                <a:gd name="T15" fmla="*/ 143 h 716"/>
                <a:gd name="T16" fmla="*/ 143 w 859"/>
                <a:gd name="T17" fmla="*/ 72 h 716"/>
                <a:gd name="T18" fmla="*/ 716 w 859"/>
                <a:gd name="T19" fmla="*/ 72 h 716"/>
                <a:gd name="T20" fmla="*/ 788 w 859"/>
                <a:gd name="T21" fmla="*/ 143 h 716"/>
                <a:gd name="T22" fmla="*/ 716 w 859"/>
                <a:gd name="T23" fmla="*/ 215 h 716"/>
                <a:gd name="T24" fmla="*/ 645 w 859"/>
                <a:gd name="T25" fmla="*/ 143 h 716"/>
                <a:gd name="T26" fmla="*/ 573 w 859"/>
                <a:gd name="T27" fmla="*/ 143 h 716"/>
                <a:gd name="T28" fmla="*/ 716 w 859"/>
                <a:gd name="T29" fmla="*/ 286 h 716"/>
                <a:gd name="T30" fmla="*/ 859 w 859"/>
                <a:gd name="T31" fmla="*/ 143 h 716"/>
                <a:gd name="T32" fmla="*/ 716 w 859"/>
                <a:gd name="T33" fmla="*/ 0 h 716"/>
                <a:gd name="T34" fmla="*/ 394 w 859"/>
                <a:gd name="T35" fmla="*/ 143 h 716"/>
                <a:gd name="T36" fmla="*/ 394 w 859"/>
                <a:gd name="T37" fmla="*/ 573 h 716"/>
                <a:gd name="T38" fmla="*/ 465 w 859"/>
                <a:gd name="T39" fmla="*/ 573 h 716"/>
                <a:gd name="T40" fmla="*/ 465 w 859"/>
                <a:gd name="T41" fmla="*/ 143 h 716"/>
                <a:gd name="T42" fmla="*/ 394 w 859"/>
                <a:gd name="T43" fmla="*/ 143 h 716"/>
                <a:gd name="T44" fmla="*/ 537 w 859"/>
                <a:gd name="T45" fmla="*/ 262 h 716"/>
                <a:gd name="T46" fmla="*/ 537 w 859"/>
                <a:gd name="T47" fmla="*/ 573 h 716"/>
                <a:gd name="T48" fmla="*/ 609 w 859"/>
                <a:gd name="T49" fmla="*/ 573 h 716"/>
                <a:gd name="T50" fmla="*/ 609 w 859"/>
                <a:gd name="T51" fmla="*/ 329 h 716"/>
                <a:gd name="T52" fmla="*/ 537 w 859"/>
                <a:gd name="T53" fmla="*/ 262 h 716"/>
                <a:gd name="T54" fmla="*/ 250 w 859"/>
                <a:gd name="T55" fmla="*/ 329 h 716"/>
                <a:gd name="T56" fmla="*/ 250 w 859"/>
                <a:gd name="T57" fmla="*/ 573 h 716"/>
                <a:gd name="T58" fmla="*/ 322 w 859"/>
                <a:gd name="T59" fmla="*/ 573 h 716"/>
                <a:gd name="T60" fmla="*/ 322 w 859"/>
                <a:gd name="T61" fmla="*/ 262 h 716"/>
                <a:gd name="T62" fmla="*/ 250 w 859"/>
                <a:gd name="T63" fmla="*/ 329 h 716"/>
                <a:gd name="T64" fmla="*/ 143 w 859"/>
                <a:gd name="T65" fmla="*/ 716 h 716"/>
                <a:gd name="T66" fmla="*/ 716 w 859"/>
                <a:gd name="T67" fmla="*/ 716 h 716"/>
                <a:gd name="T68" fmla="*/ 716 w 859"/>
                <a:gd name="T69" fmla="*/ 645 h 716"/>
                <a:gd name="T70" fmla="*/ 143 w 859"/>
                <a:gd name="T71" fmla="*/ 645 h 716"/>
                <a:gd name="T72" fmla="*/ 143 w 859"/>
                <a:gd name="T73" fmla="*/ 716 h 7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859" h="716">
                  <a:moveTo>
                    <a:pt x="716" y="0"/>
                  </a:moveTo>
                  <a:lnTo>
                    <a:pt x="143" y="0"/>
                  </a:lnTo>
                  <a:cubicBezTo>
                    <a:pt x="64" y="0"/>
                    <a:pt x="0" y="64"/>
                    <a:pt x="0" y="143"/>
                  </a:cubicBezTo>
                  <a:cubicBezTo>
                    <a:pt x="0" y="222"/>
                    <a:pt x="64" y="286"/>
                    <a:pt x="143" y="286"/>
                  </a:cubicBezTo>
                  <a:cubicBezTo>
                    <a:pt x="222" y="286"/>
                    <a:pt x="286" y="215"/>
                    <a:pt x="286" y="143"/>
                  </a:cubicBezTo>
                  <a:lnTo>
                    <a:pt x="215" y="143"/>
                  </a:lnTo>
                  <a:cubicBezTo>
                    <a:pt x="215" y="179"/>
                    <a:pt x="183" y="215"/>
                    <a:pt x="143" y="215"/>
                  </a:cubicBezTo>
                  <a:cubicBezTo>
                    <a:pt x="104" y="215"/>
                    <a:pt x="72" y="183"/>
                    <a:pt x="72" y="143"/>
                  </a:cubicBezTo>
                  <a:cubicBezTo>
                    <a:pt x="72" y="104"/>
                    <a:pt x="104" y="72"/>
                    <a:pt x="143" y="72"/>
                  </a:cubicBezTo>
                  <a:lnTo>
                    <a:pt x="716" y="72"/>
                  </a:lnTo>
                  <a:cubicBezTo>
                    <a:pt x="756" y="72"/>
                    <a:pt x="788" y="104"/>
                    <a:pt x="788" y="143"/>
                  </a:cubicBezTo>
                  <a:cubicBezTo>
                    <a:pt x="788" y="183"/>
                    <a:pt x="756" y="215"/>
                    <a:pt x="716" y="215"/>
                  </a:cubicBezTo>
                  <a:cubicBezTo>
                    <a:pt x="677" y="215"/>
                    <a:pt x="645" y="179"/>
                    <a:pt x="645" y="143"/>
                  </a:cubicBezTo>
                  <a:lnTo>
                    <a:pt x="573" y="143"/>
                  </a:lnTo>
                  <a:cubicBezTo>
                    <a:pt x="573" y="215"/>
                    <a:pt x="637" y="286"/>
                    <a:pt x="716" y="286"/>
                  </a:cubicBezTo>
                  <a:cubicBezTo>
                    <a:pt x="795" y="286"/>
                    <a:pt x="859" y="222"/>
                    <a:pt x="859" y="143"/>
                  </a:cubicBezTo>
                  <a:cubicBezTo>
                    <a:pt x="859" y="64"/>
                    <a:pt x="795" y="0"/>
                    <a:pt x="716" y="0"/>
                  </a:cubicBezTo>
                  <a:close/>
                  <a:moveTo>
                    <a:pt x="394" y="143"/>
                  </a:moveTo>
                  <a:lnTo>
                    <a:pt x="394" y="573"/>
                  </a:lnTo>
                  <a:lnTo>
                    <a:pt x="465" y="573"/>
                  </a:lnTo>
                  <a:lnTo>
                    <a:pt x="465" y="143"/>
                  </a:lnTo>
                  <a:lnTo>
                    <a:pt x="394" y="143"/>
                  </a:lnTo>
                  <a:close/>
                  <a:moveTo>
                    <a:pt x="537" y="262"/>
                  </a:moveTo>
                  <a:lnTo>
                    <a:pt x="537" y="573"/>
                  </a:lnTo>
                  <a:lnTo>
                    <a:pt x="609" y="573"/>
                  </a:lnTo>
                  <a:lnTo>
                    <a:pt x="609" y="329"/>
                  </a:lnTo>
                  <a:cubicBezTo>
                    <a:pt x="573" y="312"/>
                    <a:pt x="573" y="289"/>
                    <a:pt x="537" y="262"/>
                  </a:cubicBezTo>
                  <a:close/>
                  <a:moveTo>
                    <a:pt x="250" y="329"/>
                  </a:moveTo>
                  <a:lnTo>
                    <a:pt x="250" y="573"/>
                  </a:lnTo>
                  <a:lnTo>
                    <a:pt x="322" y="573"/>
                  </a:lnTo>
                  <a:lnTo>
                    <a:pt x="322" y="262"/>
                  </a:lnTo>
                  <a:cubicBezTo>
                    <a:pt x="286" y="289"/>
                    <a:pt x="286" y="312"/>
                    <a:pt x="250" y="329"/>
                  </a:cubicBezTo>
                  <a:close/>
                  <a:moveTo>
                    <a:pt x="143" y="716"/>
                  </a:moveTo>
                  <a:lnTo>
                    <a:pt x="716" y="716"/>
                  </a:lnTo>
                  <a:lnTo>
                    <a:pt x="716" y="645"/>
                  </a:lnTo>
                  <a:lnTo>
                    <a:pt x="143" y="645"/>
                  </a:lnTo>
                  <a:lnTo>
                    <a:pt x="143" y="71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8" name="Freeform 41"/>
            <p:cNvSpPr>
              <a:spLocks/>
            </p:cNvSpPr>
            <p:nvPr/>
          </p:nvSpPr>
          <p:spPr bwMode="auto">
            <a:xfrm>
              <a:off x="8700607" y="3567344"/>
              <a:ext cx="271564" cy="236988"/>
            </a:xfrm>
            <a:custGeom>
              <a:avLst/>
              <a:gdLst>
                <a:gd name="T0" fmla="*/ 860 w 860"/>
                <a:gd name="T1" fmla="*/ 251 h 752"/>
                <a:gd name="T2" fmla="*/ 430 w 860"/>
                <a:gd name="T3" fmla="*/ 0 h 752"/>
                <a:gd name="T4" fmla="*/ 0 w 860"/>
                <a:gd name="T5" fmla="*/ 251 h 752"/>
                <a:gd name="T6" fmla="*/ 144 w 860"/>
                <a:gd name="T7" fmla="*/ 334 h 752"/>
                <a:gd name="T8" fmla="*/ 144 w 860"/>
                <a:gd name="T9" fmla="*/ 475 h 752"/>
                <a:gd name="T10" fmla="*/ 149 w 860"/>
                <a:gd name="T11" fmla="*/ 484 h 752"/>
                <a:gd name="T12" fmla="*/ 430 w 860"/>
                <a:gd name="T13" fmla="*/ 644 h 752"/>
                <a:gd name="T14" fmla="*/ 573 w 860"/>
                <a:gd name="T15" fmla="*/ 610 h 752"/>
                <a:gd name="T16" fmla="*/ 573 w 860"/>
                <a:gd name="T17" fmla="*/ 528 h 752"/>
                <a:gd name="T18" fmla="*/ 430 w 860"/>
                <a:gd name="T19" fmla="*/ 573 h 752"/>
                <a:gd name="T20" fmla="*/ 215 w 860"/>
                <a:gd name="T21" fmla="*/ 455 h 752"/>
                <a:gd name="T22" fmla="*/ 215 w 860"/>
                <a:gd name="T23" fmla="*/ 376 h 752"/>
                <a:gd name="T24" fmla="*/ 430 w 860"/>
                <a:gd name="T25" fmla="*/ 501 h 752"/>
                <a:gd name="T26" fmla="*/ 553 w 860"/>
                <a:gd name="T27" fmla="*/ 430 h 752"/>
                <a:gd name="T28" fmla="*/ 483 w 860"/>
                <a:gd name="T29" fmla="*/ 388 h 752"/>
                <a:gd name="T30" fmla="*/ 430 w 860"/>
                <a:gd name="T31" fmla="*/ 418 h 752"/>
                <a:gd name="T32" fmla="*/ 142 w 860"/>
                <a:gd name="T33" fmla="*/ 251 h 752"/>
                <a:gd name="T34" fmla="*/ 430 w 860"/>
                <a:gd name="T35" fmla="*/ 83 h 752"/>
                <a:gd name="T36" fmla="*/ 718 w 860"/>
                <a:gd name="T37" fmla="*/ 251 h 752"/>
                <a:gd name="T38" fmla="*/ 624 w 860"/>
                <a:gd name="T39" fmla="*/ 305 h 752"/>
                <a:gd name="T40" fmla="*/ 454 w 860"/>
                <a:gd name="T41" fmla="*/ 204 h 752"/>
                <a:gd name="T42" fmla="*/ 391 w 860"/>
                <a:gd name="T43" fmla="*/ 247 h 752"/>
                <a:gd name="T44" fmla="*/ 390 w 860"/>
                <a:gd name="T45" fmla="*/ 249 h 752"/>
                <a:gd name="T46" fmla="*/ 645 w 860"/>
                <a:gd name="T47" fmla="*/ 401 h 752"/>
                <a:gd name="T48" fmla="*/ 645 w 860"/>
                <a:gd name="T49" fmla="*/ 752 h 752"/>
                <a:gd name="T50" fmla="*/ 717 w 860"/>
                <a:gd name="T51" fmla="*/ 752 h 752"/>
                <a:gd name="T52" fmla="*/ 717 w 860"/>
                <a:gd name="T53" fmla="*/ 360 h 752"/>
                <a:gd name="T54" fmla="*/ 694 w 860"/>
                <a:gd name="T55" fmla="*/ 347 h 752"/>
                <a:gd name="T56" fmla="*/ 860 w 860"/>
                <a:gd name="T57" fmla="*/ 251 h 7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860" h="752">
                  <a:moveTo>
                    <a:pt x="860" y="251"/>
                  </a:moveTo>
                  <a:lnTo>
                    <a:pt x="430" y="0"/>
                  </a:lnTo>
                  <a:lnTo>
                    <a:pt x="0" y="251"/>
                  </a:lnTo>
                  <a:lnTo>
                    <a:pt x="144" y="334"/>
                  </a:lnTo>
                  <a:lnTo>
                    <a:pt x="144" y="475"/>
                  </a:lnTo>
                  <a:lnTo>
                    <a:pt x="149" y="484"/>
                  </a:lnTo>
                  <a:cubicBezTo>
                    <a:pt x="207" y="583"/>
                    <a:pt x="315" y="644"/>
                    <a:pt x="430" y="644"/>
                  </a:cubicBezTo>
                  <a:cubicBezTo>
                    <a:pt x="480" y="644"/>
                    <a:pt x="529" y="632"/>
                    <a:pt x="573" y="610"/>
                  </a:cubicBezTo>
                  <a:lnTo>
                    <a:pt x="573" y="528"/>
                  </a:lnTo>
                  <a:cubicBezTo>
                    <a:pt x="532" y="556"/>
                    <a:pt x="482" y="573"/>
                    <a:pt x="430" y="573"/>
                  </a:cubicBezTo>
                  <a:cubicBezTo>
                    <a:pt x="343" y="573"/>
                    <a:pt x="262" y="528"/>
                    <a:pt x="215" y="455"/>
                  </a:cubicBezTo>
                  <a:lnTo>
                    <a:pt x="215" y="376"/>
                  </a:lnTo>
                  <a:lnTo>
                    <a:pt x="430" y="501"/>
                  </a:lnTo>
                  <a:lnTo>
                    <a:pt x="553" y="430"/>
                  </a:lnTo>
                  <a:lnTo>
                    <a:pt x="483" y="388"/>
                  </a:lnTo>
                  <a:lnTo>
                    <a:pt x="430" y="418"/>
                  </a:lnTo>
                  <a:lnTo>
                    <a:pt x="142" y="251"/>
                  </a:lnTo>
                  <a:lnTo>
                    <a:pt x="430" y="83"/>
                  </a:lnTo>
                  <a:lnTo>
                    <a:pt x="718" y="251"/>
                  </a:lnTo>
                  <a:lnTo>
                    <a:pt x="624" y="305"/>
                  </a:lnTo>
                  <a:lnTo>
                    <a:pt x="454" y="204"/>
                  </a:lnTo>
                  <a:lnTo>
                    <a:pt x="391" y="247"/>
                  </a:lnTo>
                  <a:lnTo>
                    <a:pt x="390" y="249"/>
                  </a:lnTo>
                  <a:lnTo>
                    <a:pt x="645" y="401"/>
                  </a:lnTo>
                  <a:lnTo>
                    <a:pt x="645" y="752"/>
                  </a:lnTo>
                  <a:lnTo>
                    <a:pt x="717" y="752"/>
                  </a:lnTo>
                  <a:lnTo>
                    <a:pt x="717" y="360"/>
                  </a:lnTo>
                  <a:lnTo>
                    <a:pt x="694" y="347"/>
                  </a:lnTo>
                  <a:lnTo>
                    <a:pt x="860" y="25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grpSp>
          <p:nvGrpSpPr>
            <p:cNvPr id="69" name="Группа 68"/>
            <p:cNvGrpSpPr/>
            <p:nvPr/>
          </p:nvGrpSpPr>
          <p:grpSpPr>
            <a:xfrm>
              <a:off x="8710946" y="150720"/>
              <a:ext cx="250887" cy="271436"/>
              <a:chOff x="477468" y="2705515"/>
              <a:chExt cx="409903" cy="443477"/>
            </a:xfrm>
          </p:grpSpPr>
          <p:sp>
            <p:nvSpPr>
              <p:cNvPr id="70" name="Freeform 42"/>
              <p:cNvSpPr>
                <a:spLocks noEditPoints="1"/>
              </p:cNvSpPr>
              <p:nvPr/>
            </p:nvSpPr>
            <p:spPr bwMode="auto">
              <a:xfrm>
                <a:off x="477468" y="2705515"/>
                <a:ext cx="409903" cy="387195"/>
              </a:xfrm>
              <a:custGeom>
                <a:avLst/>
                <a:gdLst>
                  <a:gd name="T0" fmla="*/ 218 w 793"/>
                  <a:gd name="T1" fmla="*/ 575 h 751"/>
                  <a:gd name="T2" fmla="*/ 194 w 793"/>
                  <a:gd name="T3" fmla="*/ 95 h 751"/>
                  <a:gd name="T4" fmla="*/ 219 w 793"/>
                  <a:gd name="T5" fmla="*/ 121 h 751"/>
                  <a:gd name="T6" fmla="*/ 149 w 793"/>
                  <a:gd name="T7" fmla="*/ 322 h 751"/>
                  <a:gd name="T8" fmla="*/ 471 w 793"/>
                  <a:gd name="T9" fmla="*/ 644 h 751"/>
                  <a:gd name="T10" fmla="*/ 672 w 793"/>
                  <a:gd name="T11" fmla="*/ 574 h 751"/>
                  <a:gd name="T12" fmla="*/ 698 w 793"/>
                  <a:gd name="T13" fmla="*/ 599 h 751"/>
                  <a:gd name="T14" fmla="*/ 218 w 793"/>
                  <a:gd name="T15" fmla="*/ 575 h 751"/>
                  <a:gd name="T16" fmla="*/ 471 w 793"/>
                  <a:gd name="T17" fmla="*/ 71 h 751"/>
                  <a:gd name="T18" fmla="*/ 722 w 793"/>
                  <a:gd name="T19" fmla="*/ 322 h 751"/>
                  <a:gd name="T20" fmla="*/ 471 w 793"/>
                  <a:gd name="T21" fmla="*/ 573 h 751"/>
                  <a:gd name="T22" fmla="*/ 220 w 793"/>
                  <a:gd name="T23" fmla="*/ 322 h 751"/>
                  <a:gd name="T24" fmla="*/ 471 w 793"/>
                  <a:gd name="T25" fmla="*/ 71 h 751"/>
                  <a:gd name="T26" fmla="*/ 723 w 793"/>
                  <a:gd name="T27" fmla="*/ 523 h 751"/>
                  <a:gd name="T28" fmla="*/ 793 w 793"/>
                  <a:gd name="T29" fmla="*/ 322 h 751"/>
                  <a:gd name="T30" fmla="*/ 471 w 793"/>
                  <a:gd name="T31" fmla="*/ 0 h 751"/>
                  <a:gd name="T32" fmla="*/ 270 w 793"/>
                  <a:gd name="T33" fmla="*/ 71 h 751"/>
                  <a:gd name="T34" fmla="*/ 218 w 793"/>
                  <a:gd name="T35" fmla="*/ 18 h 751"/>
                  <a:gd name="T36" fmla="*/ 192 w 793"/>
                  <a:gd name="T37" fmla="*/ 8 h 751"/>
                  <a:gd name="T38" fmla="*/ 192 w 793"/>
                  <a:gd name="T39" fmla="*/ 8 h 751"/>
                  <a:gd name="T40" fmla="*/ 167 w 793"/>
                  <a:gd name="T41" fmla="*/ 18 h 751"/>
                  <a:gd name="T42" fmla="*/ 167 w 793"/>
                  <a:gd name="T43" fmla="*/ 626 h 751"/>
                  <a:gd name="T44" fmla="*/ 471 w 793"/>
                  <a:gd name="T45" fmla="*/ 751 h 751"/>
                  <a:gd name="T46" fmla="*/ 775 w 793"/>
                  <a:gd name="T47" fmla="*/ 626 h 751"/>
                  <a:gd name="T48" fmla="*/ 785 w 793"/>
                  <a:gd name="T49" fmla="*/ 601 h 751"/>
                  <a:gd name="T50" fmla="*/ 775 w 793"/>
                  <a:gd name="T51" fmla="*/ 575 h 751"/>
                  <a:gd name="T52" fmla="*/ 723 w 793"/>
                  <a:gd name="T53" fmla="*/ 523 h 7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793" h="751">
                    <a:moveTo>
                      <a:pt x="218" y="575"/>
                    </a:moveTo>
                    <a:cubicBezTo>
                      <a:pt x="87" y="444"/>
                      <a:pt x="79" y="236"/>
                      <a:pt x="194" y="95"/>
                    </a:cubicBezTo>
                    <a:lnTo>
                      <a:pt x="219" y="121"/>
                    </a:lnTo>
                    <a:cubicBezTo>
                      <a:pt x="175" y="176"/>
                      <a:pt x="149" y="246"/>
                      <a:pt x="149" y="322"/>
                    </a:cubicBezTo>
                    <a:cubicBezTo>
                      <a:pt x="149" y="500"/>
                      <a:pt x="293" y="644"/>
                      <a:pt x="471" y="644"/>
                    </a:cubicBezTo>
                    <a:cubicBezTo>
                      <a:pt x="547" y="644"/>
                      <a:pt x="617" y="618"/>
                      <a:pt x="672" y="574"/>
                    </a:cubicBezTo>
                    <a:lnTo>
                      <a:pt x="698" y="599"/>
                    </a:lnTo>
                    <a:cubicBezTo>
                      <a:pt x="557" y="714"/>
                      <a:pt x="349" y="706"/>
                      <a:pt x="218" y="575"/>
                    </a:cubicBezTo>
                    <a:close/>
                    <a:moveTo>
                      <a:pt x="471" y="71"/>
                    </a:moveTo>
                    <a:cubicBezTo>
                      <a:pt x="609" y="71"/>
                      <a:pt x="722" y="184"/>
                      <a:pt x="722" y="322"/>
                    </a:cubicBezTo>
                    <a:cubicBezTo>
                      <a:pt x="722" y="460"/>
                      <a:pt x="609" y="573"/>
                      <a:pt x="471" y="573"/>
                    </a:cubicBezTo>
                    <a:cubicBezTo>
                      <a:pt x="333" y="573"/>
                      <a:pt x="220" y="460"/>
                      <a:pt x="220" y="322"/>
                    </a:cubicBezTo>
                    <a:cubicBezTo>
                      <a:pt x="220" y="184"/>
                      <a:pt x="333" y="71"/>
                      <a:pt x="471" y="71"/>
                    </a:cubicBezTo>
                    <a:close/>
                    <a:moveTo>
                      <a:pt x="723" y="523"/>
                    </a:moveTo>
                    <a:cubicBezTo>
                      <a:pt x="767" y="468"/>
                      <a:pt x="793" y="398"/>
                      <a:pt x="793" y="322"/>
                    </a:cubicBezTo>
                    <a:cubicBezTo>
                      <a:pt x="793" y="144"/>
                      <a:pt x="649" y="0"/>
                      <a:pt x="471" y="0"/>
                    </a:cubicBezTo>
                    <a:cubicBezTo>
                      <a:pt x="395" y="0"/>
                      <a:pt x="325" y="26"/>
                      <a:pt x="270" y="71"/>
                    </a:cubicBezTo>
                    <a:lnTo>
                      <a:pt x="218" y="18"/>
                    </a:lnTo>
                    <a:cubicBezTo>
                      <a:pt x="211" y="11"/>
                      <a:pt x="202" y="8"/>
                      <a:pt x="192" y="8"/>
                    </a:cubicBezTo>
                    <a:cubicBezTo>
                      <a:pt x="192" y="8"/>
                      <a:pt x="192" y="8"/>
                      <a:pt x="192" y="8"/>
                    </a:cubicBezTo>
                    <a:cubicBezTo>
                      <a:pt x="183" y="8"/>
                      <a:pt x="174" y="11"/>
                      <a:pt x="167" y="18"/>
                    </a:cubicBezTo>
                    <a:cubicBezTo>
                      <a:pt x="0" y="186"/>
                      <a:pt x="0" y="458"/>
                      <a:pt x="167" y="626"/>
                    </a:cubicBezTo>
                    <a:cubicBezTo>
                      <a:pt x="251" y="710"/>
                      <a:pt x="361" y="751"/>
                      <a:pt x="471" y="751"/>
                    </a:cubicBezTo>
                    <a:cubicBezTo>
                      <a:pt x="581" y="751"/>
                      <a:pt x="691" y="710"/>
                      <a:pt x="775" y="626"/>
                    </a:cubicBezTo>
                    <a:cubicBezTo>
                      <a:pt x="782" y="619"/>
                      <a:pt x="785" y="610"/>
                      <a:pt x="785" y="601"/>
                    </a:cubicBezTo>
                    <a:cubicBezTo>
                      <a:pt x="785" y="591"/>
                      <a:pt x="782" y="582"/>
                      <a:pt x="775" y="575"/>
                    </a:cubicBezTo>
                    <a:lnTo>
                      <a:pt x="723" y="523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1" name="Rectangle 43"/>
              <p:cNvSpPr>
                <a:spLocks noChangeArrowheads="1"/>
              </p:cNvSpPr>
              <p:nvPr/>
            </p:nvSpPr>
            <p:spPr bwMode="auto">
              <a:xfrm>
                <a:off x="637377" y="3110722"/>
                <a:ext cx="148646" cy="38270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sp>
          <p:nvSpPr>
            <p:cNvPr id="72" name="Freeform 44"/>
            <p:cNvSpPr>
              <a:spLocks noEditPoints="1"/>
            </p:cNvSpPr>
            <p:nvPr/>
          </p:nvSpPr>
          <p:spPr bwMode="auto">
            <a:xfrm>
              <a:off x="8704742" y="4098042"/>
              <a:ext cx="263294" cy="285213"/>
            </a:xfrm>
            <a:custGeom>
              <a:avLst/>
              <a:gdLst>
                <a:gd name="T0" fmla="*/ 583 w 837"/>
                <a:gd name="T1" fmla="*/ 579 h 901"/>
                <a:gd name="T2" fmla="*/ 511 w 837"/>
                <a:gd name="T3" fmla="*/ 650 h 901"/>
                <a:gd name="T4" fmla="*/ 583 w 837"/>
                <a:gd name="T5" fmla="*/ 722 h 901"/>
                <a:gd name="T6" fmla="*/ 654 w 837"/>
                <a:gd name="T7" fmla="*/ 650 h 901"/>
                <a:gd name="T8" fmla="*/ 583 w 837"/>
                <a:gd name="T9" fmla="*/ 579 h 901"/>
                <a:gd name="T10" fmla="*/ 332 w 837"/>
                <a:gd name="T11" fmla="*/ 579 h 901"/>
                <a:gd name="T12" fmla="*/ 260 w 837"/>
                <a:gd name="T13" fmla="*/ 650 h 901"/>
                <a:gd name="T14" fmla="*/ 332 w 837"/>
                <a:gd name="T15" fmla="*/ 722 h 901"/>
                <a:gd name="T16" fmla="*/ 404 w 837"/>
                <a:gd name="T17" fmla="*/ 650 h 901"/>
                <a:gd name="T18" fmla="*/ 332 w 837"/>
                <a:gd name="T19" fmla="*/ 579 h 901"/>
                <a:gd name="T20" fmla="*/ 332 w 837"/>
                <a:gd name="T21" fmla="*/ 435 h 901"/>
                <a:gd name="T22" fmla="*/ 260 w 837"/>
                <a:gd name="T23" fmla="*/ 364 h 901"/>
                <a:gd name="T24" fmla="*/ 189 w 837"/>
                <a:gd name="T25" fmla="*/ 435 h 901"/>
                <a:gd name="T26" fmla="*/ 260 w 837"/>
                <a:gd name="T27" fmla="*/ 507 h 901"/>
                <a:gd name="T28" fmla="*/ 332 w 837"/>
                <a:gd name="T29" fmla="*/ 435 h 901"/>
                <a:gd name="T30" fmla="*/ 404 w 837"/>
                <a:gd name="T31" fmla="*/ 185 h 901"/>
                <a:gd name="T32" fmla="*/ 332 w 837"/>
                <a:gd name="T33" fmla="*/ 256 h 901"/>
                <a:gd name="T34" fmla="*/ 404 w 837"/>
                <a:gd name="T35" fmla="*/ 328 h 901"/>
                <a:gd name="T36" fmla="*/ 475 w 837"/>
                <a:gd name="T37" fmla="*/ 256 h 901"/>
                <a:gd name="T38" fmla="*/ 404 w 837"/>
                <a:gd name="T39" fmla="*/ 185 h 901"/>
                <a:gd name="T40" fmla="*/ 757 w 837"/>
                <a:gd name="T41" fmla="*/ 635 h 901"/>
                <a:gd name="T42" fmla="*/ 698 w 837"/>
                <a:gd name="T43" fmla="*/ 711 h 901"/>
                <a:gd name="T44" fmla="*/ 429 w 837"/>
                <a:gd name="T45" fmla="*/ 829 h 901"/>
                <a:gd name="T46" fmla="*/ 207 w 837"/>
                <a:gd name="T47" fmla="*/ 738 h 901"/>
                <a:gd name="T48" fmla="*/ 233 w 837"/>
                <a:gd name="T49" fmla="*/ 231 h 901"/>
                <a:gd name="T50" fmla="*/ 502 w 837"/>
                <a:gd name="T51" fmla="*/ 113 h 901"/>
                <a:gd name="T52" fmla="*/ 658 w 837"/>
                <a:gd name="T53" fmla="*/ 154 h 901"/>
                <a:gd name="T54" fmla="*/ 675 w 837"/>
                <a:gd name="T55" fmla="*/ 177 h 901"/>
                <a:gd name="T56" fmla="*/ 665 w 837"/>
                <a:gd name="T57" fmla="*/ 208 h 901"/>
                <a:gd name="T58" fmla="*/ 602 w 837"/>
                <a:gd name="T59" fmla="*/ 366 h 901"/>
                <a:gd name="T60" fmla="*/ 744 w 837"/>
                <a:gd name="T61" fmla="*/ 584 h 901"/>
                <a:gd name="T62" fmla="*/ 760 w 837"/>
                <a:gd name="T63" fmla="*/ 605 h 901"/>
                <a:gd name="T64" fmla="*/ 757 w 837"/>
                <a:gd name="T65" fmla="*/ 635 h 901"/>
                <a:gd name="T66" fmla="*/ 829 w 837"/>
                <a:gd name="T67" fmla="*/ 585 h 901"/>
                <a:gd name="T68" fmla="*/ 776 w 837"/>
                <a:gd name="T69" fmla="*/ 520 h 901"/>
                <a:gd name="T70" fmla="*/ 673 w 837"/>
                <a:gd name="T71" fmla="*/ 366 h 901"/>
                <a:gd name="T72" fmla="*/ 718 w 837"/>
                <a:gd name="T73" fmla="*/ 257 h 901"/>
                <a:gd name="T74" fmla="*/ 746 w 837"/>
                <a:gd name="T75" fmla="*/ 166 h 901"/>
                <a:gd name="T76" fmla="*/ 694 w 837"/>
                <a:gd name="T77" fmla="*/ 92 h 901"/>
                <a:gd name="T78" fmla="*/ 181 w 837"/>
                <a:gd name="T79" fmla="*/ 181 h 901"/>
                <a:gd name="T80" fmla="*/ 156 w 837"/>
                <a:gd name="T81" fmla="*/ 788 h 901"/>
                <a:gd name="T82" fmla="*/ 429 w 837"/>
                <a:gd name="T83" fmla="*/ 901 h 901"/>
                <a:gd name="T84" fmla="*/ 749 w 837"/>
                <a:gd name="T85" fmla="*/ 761 h 901"/>
                <a:gd name="T86" fmla="*/ 818 w 837"/>
                <a:gd name="T87" fmla="*/ 672 h 901"/>
                <a:gd name="T88" fmla="*/ 829 w 837"/>
                <a:gd name="T89" fmla="*/ 585 h 9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837" h="901">
                  <a:moveTo>
                    <a:pt x="583" y="579"/>
                  </a:moveTo>
                  <a:cubicBezTo>
                    <a:pt x="543" y="579"/>
                    <a:pt x="511" y="611"/>
                    <a:pt x="511" y="650"/>
                  </a:cubicBezTo>
                  <a:cubicBezTo>
                    <a:pt x="511" y="690"/>
                    <a:pt x="543" y="722"/>
                    <a:pt x="583" y="722"/>
                  </a:cubicBezTo>
                  <a:cubicBezTo>
                    <a:pt x="622" y="722"/>
                    <a:pt x="654" y="690"/>
                    <a:pt x="654" y="650"/>
                  </a:cubicBezTo>
                  <a:cubicBezTo>
                    <a:pt x="654" y="611"/>
                    <a:pt x="622" y="579"/>
                    <a:pt x="583" y="579"/>
                  </a:cubicBezTo>
                  <a:close/>
                  <a:moveTo>
                    <a:pt x="332" y="579"/>
                  </a:moveTo>
                  <a:cubicBezTo>
                    <a:pt x="292" y="579"/>
                    <a:pt x="260" y="611"/>
                    <a:pt x="260" y="650"/>
                  </a:cubicBezTo>
                  <a:cubicBezTo>
                    <a:pt x="260" y="690"/>
                    <a:pt x="292" y="722"/>
                    <a:pt x="332" y="722"/>
                  </a:cubicBezTo>
                  <a:cubicBezTo>
                    <a:pt x="372" y="722"/>
                    <a:pt x="404" y="690"/>
                    <a:pt x="404" y="650"/>
                  </a:cubicBezTo>
                  <a:cubicBezTo>
                    <a:pt x="404" y="611"/>
                    <a:pt x="372" y="579"/>
                    <a:pt x="332" y="579"/>
                  </a:cubicBezTo>
                  <a:close/>
                  <a:moveTo>
                    <a:pt x="332" y="435"/>
                  </a:moveTo>
                  <a:cubicBezTo>
                    <a:pt x="332" y="396"/>
                    <a:pt x="300" y="364"/>
                    <a:pt x="260" y="364"/>
                  </a:cubicBezTo>
                  <a:cubicBezTo>
                    <a:pt x="221" y="364"/>
                    <a:pt x="189" y="396"/>
                    <a:pt x="189" y="435"/>
                  </a:cubicBezTo>
                  <a:cubicBezTo>
                    <a:pt x="189" y="475"/>
                    <a:pt x="221" y="507"/>
                    <a:pt x="260" y="507"/>
                  </a:cubicBezTo>
                  <a:cubicBezTo>
                    <a:pt x="300" y="507"/>
                    <a:pt x="332" y="475"/>
                    <a:pt x="332" y="435"/>
                  </a:cubicBezTo>
                  <a:close/>
                  <a:moveTo>
                    <a:pt x="404" y="185"/>
                  </a:moveTo>
                  <a:cubicBezTo>
                    <a:pt x="364" y="185"/>
                    <a:pt x="332" y="217"/>
                    <a:pt x="332" y="256"/>
                  </a:cubicBezTo>
                  <a:cubicBezTo>
                    <a:pt x="332" y="296"/>
                    <a:pt x="364" y="328"/>
                    <a:pt x="404" y="328"/>
                  </a:cubicBezTo>
                  <a:cubicBezTo>
                    <a:pt x="443" y="328"/>
                    <a:pt x="475" y="296"/>
                    <a:pt x="475" y="256"/>
                  </a:cubicBezTo>
                  <a:cubicBezTo>
                    <a:pt x="475" y="217"/>
                    <a:pt x="443" y="185"/>
                    <a:pt x="404" y="185"/>
                  </a:cubicBezTo>
                  <a:close/>
                  <a:moveTo>
                    <a:pt x="757" y="635"/>
                  </a:moveTo>
                  <a:cubicBezTo>
                    <a:pt x="740" y="663"/>
                    <a:pt x="721" y="688"/>
                    <a:pt x="698" y="711"/>
                  </a:cubicBezTo>
                  <a:cubicBezTo>
                    <a:pt x="625" y="786"/>
                    <a:pt x="527" y="829"/>
                    <a:pt x="429" y="829"/>
                  </a:cubicBezTo>
                  <a:cubicBezTo>
                    <a:pt x="343" y="829"/>
                    <a:pt x="265" y="797"/>
                    <a:pt x="207" y="738"/>
                  </a:cubicBezTo>
                  <a:cubicBezTo>
                    <a:pt x="78" y="605"/>
                    <a:pt x="89" y="378"/>
                    <a:pt x="233" y="231"/>
                  </a:cubicBezTo>
                  <a:cubicBezTo>
                    <a:pt x="308" y="154"/>
                    <a:pt x="406" y="113"/>
                    <a:pt x="502" y="113"/>
                  </a:cubicBezTo>
                  <a:cubicBezTo>
                    <a:pt x="557" y="113"/>
                    <a:pt x="610" y="126"/>
                    <a:pt x="658" y="154"/>
                  </a:cubicBezTo>
                  <a:cubicBezTo>
                    <a:pt x="668" y="159"/>
                    <a:pt x="674" y="167"/>
                    <a:pt x="675" y="177"/>
                  </a:cubicBezTo>
                  <a:cubicBezTo>
                    <a:pt x="677" y="188"/>
                    <a:pt x="673" y="199"/>
                    <a:pt x="665" y="208"/>
                  </a:cubicBezTo>
                  <a:cubicBezTo>
                    <a:pt x="624" y="253"/>
                    <a:pt x="602" y="309"/>
                    <a:pt x="602" y="366"/>
                  </a:cubicBezTo>
                  <a:cubicBezTo>
                    <a:pt x="602" y="456"/>
                    <a:pt x="656" y="540"/>
                    <a:pt x="744" y="584"/>
                  </a:cubicBezTo>
                  <a:cubicBezTo>
                    <a:pt x="754" y="590"/>
                    <a:pt x="759" y="600"/>
                    <a:pt x="760" y="605"/>
                  </a:cubicBezTo>
                  <a:cubicBezTo>
                    <a:pt x="763" y="615"/>
                    <a:pt x="762" y="626"/>
                    <a:pt x="757" y="635"/>
                  </a:cubicBezTo>
                  <a:close/>
                  <a:moveTo>
                    <a:pt x="829" y="585"/>
                  </a:moveTo>
                  <a:cubicBezTo>
                    <a:pt x="821" y="557"/>
                    <a:pt x="801" y="533"/>
                    <a:pt x="776" y="520"/>
                  </a:cubicBezTo>
                  <a:cubicBezTo>
                    <a:pt x="713" y="488"/>
                    <a:pt x="673" y="429"/>
                    <a:pt x="673" y="366"/>
                  </a:cubicBezTo>
                  <a:cubicBezTo>
                    <a:pt x="673" y="326"/>
                    <a:pt x="689" y="288"/>
                    <a:pt x="718" y="257"/>
                  </a:cubicBezTo>
                  <a:cubicBezTo>
                    <a:pt x="741" y="231"/>
                    <a:pt x="751" y="198"/>
                    <a:pt x="746" y="166"/>
                  </a:cubicBezTo>
                  <a:cubicBezTo>
                    <a:pt x="741" y="135"/>
                    <a:pt x="722" y="108"/>
                    <a:pt x="694" y="92"/>
                  </a:cubicBezTo>
                  <a:cubicBezTo>
                    <a:pt x="533" y="0"/>
                    <a:pt x="323" y="37"/>
                    <a:pt x="181" y="181"/>
                  </a:cubicBezTo>
                  <a:cubicBezTo>
                    <a:pt x="11" y="356"/>
                    <a:pt x="0" y="628"/>
                    <a:pt x="156" y="788"/>
                  </a:cubicBezTo>
                  <a:cubicBezTo>
                    <a:pt x="227" y="861"/>
                    <a:pt x="324" y="901"/>
                    <a:pt x="429" y="901"/>
                  </a:cubicBezTo>
                  <a:cubicBezTo>
                    <a:pt x="546" y="901"/>
                    <a:pt x="663" y="850"/>
                    <a:pt x="749" y="761"/>
                  </a:cubicBezTo>
                  <a:cubicBezTo>
                    <a:pt x="776" y="734"/>
                    <a:pt x="799" y="704"/>
                    <a:pt x="818" y="672"/>
                  </a:cubicBezTo>
                  <a:cubicBezTo>
                    <a:pt x="833" y="646"/>
                    <a:pt x="837" y="615"/>
                    <a:pt x="829" y="58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3" name="Freeform 45"/>
            <p:cNvSpPr>
              <a:spLocks noEditPoints="1"/>
            </p:cNvSpPr>
            <p:nvPr/>
          </p:nvSpPr>
          <p:spPr bwMode="auto">
            <a:xfrm>
              <a:off x="8701296" y="725091"/>
              <a:ext cx="270186" cy="260412"/>
            </a:xfrm>
            <a:custGeom>
              <a:avLst/>
              <a:gdLst>
                <a:gd name="T0" fmla="*/ 573 w 859"/>
                <a:gd name="T1" fmla="*/ 573 h 824"/>
                <a:gd name="T2" fmla="*/ 573 w 859"/>
                <a:gd name="T3" fmla="*/ 645 h 824"/>
                <a:gd name="T4" fmla="*/ 859 w 859"/>
                <a:gd name="T5" fmla="*/ 645 h 824"/>
                <a:gd name="T6" fmla="*/ 859 w 859"/>
                <a:gd name="T7" fmla="*/ 573 h 824"/>
                <a:gd name="T8" fmla="*/ 573 w 859"/>
                <a:gd name="T9" fmla="*/ 573 h 824"/>
                <a:gd name="T10" fmla="*/ 787 w 859"/>
                <a:gd name="T11" fmla="*/ 537 h 824"/>
                <a:gd name="T12" fmla="*/ 787 w 859"/>
                <a:gd name="T13" fmla="*/ 466 h 824"/>
                <a:gd name="T14" fmla="*/ 573 w 859"/>
                <a:gd name="T15" fmla="*/ 466 h 824"/>
                <a:gd name="T16" fmla="*/ 573 w 859"/>
                <a:gd name="T17" fmla="*/ 537 h 824"/>
                <a:gd name="T18" fmla="*/ 787 w 859"/>
                <a:gd name="T19" fmla="*/ 537 h 824"/>
                <a:gd name="T20" fmla="*/ 250 w 859"/>
                <a:gd name="T21" fmla="*/ 430 h 824"/>
                <a:gd name="T22" fmla="*/ 250 w 859"/>
                <a:gd name="T23" fmla="*/ 698 h 824"/>
                <a:gd name="T24" fmla="*/ 394 w 859"/>
                <a:gd name="T25" fmla="*/ 627 h 824"/>
                <a:gd name="T26" fmla="*/ 537 w 859"/>
                <a:gd name="T27" fmla="*/ 698 h 824"/>
                <a:gd name="T28" fmla="*/ 537 w 859"/>
                <a:gd name="T29" fmla="*/ 430 h 824"/>
                <a:gd name="T30" fmla="*/ 465 w 859"/>
                <a:gd name="T31" fmla="*/ 430 h 824"/>
                <a:gd name="T32" fmla="*/ 465 w 859"/>
                <a:gd name="T33" fmla="*/ 582 h 824"/>
                <a:gd name="T34" fmla="*/ 394 w 859"/>
                <a:gd name="T35" fmla="*/ 547 h 824"/>
                <a:gd name="T36" fmla="*/ 322 w 859"/>
                <a:gd name="T37" fmla="*/ 582 h 824"/>
                <a:gd name="T38" fmla="*/ 322 w 859"/>
                <a:gd name="T39" fmla="*/ 430 h 824"/>
                <a:gd name="T40" fmla="*/ 250 w 859"/>
                <a:gd name="T41" fmla="*/ 430 h 824"/>
                <a:gd name="T42" fmla="*/ 788 w 859"/>
                <a:gd name="T43" fmla="*/ 125 h 824"/>
                <a:gd name="T44" fmla="*/ 662 w 859"/>
                <a:gd name="T45" fmla="*/ 0 h 824"/>
                <a:gd name="T46" fmla="*/ 143 w 859"/>
                <a:gd name="T47" fmla="*/ 0 h 824"/>
                <a:gd name="T48" fmla="*/ 143 w 859"/>
                <a:gd name="T49" fmla="*/ 72 h 824"/>
                <a:gd name="T50" fmla="*/ 662 w 859"/>
                <a:gd name="T51" fmla="*/ 72 h 824"/>
                <a:gd name="T52" fmla="*/ 716 w 859"/>
                <a:gd name="T53" fmla="*/ 125 h 824"/>
                <a:gd name="T54" fmla="*/ 662 w 859"/>
                <a:gd name="T55" fmla="*/ 179 h 824"/>
                <a:gd name="T56" fmla="*/ 143 w 859"/>
                <a:gd name="T57" fmla="*/ 179 h 824"/>
                <a:gd name="T58" fmla="*/ 143 w 859"/>
                <a:gd name="T59" fmla="*/ 251 h 824"/>
                <a:gd name="T60" fmla="*/ 662 w 859"/>
                <a:gd name="T61" fmla="*/ 251 h 824"/>
                <a:gd name="T62" fmla="*/ 788 w 859"/>
                <a:gd name="T63" fmla="*/ 125 h 824"/>
                <a:gd name="T64" fmla="*/ 197 w 859"/>
                <a:gd name="T65" fmla="*/ 537 h 824"/>
                <a:gd name="T66" fmla="*/ 214 w 859"/>
                <a:gd name="T67" fmla="*/ 537 h 824"/>
                <a:gd name="T68" fmla="*/ 214 w 859"/>
                <a:gd name="T69" fmla="*/ 466 h 824"/>
                <a:gd name="T70" fmla="*/ 197 w 859"/>
                <a:gd name="T71" fmla="*/ 466 h 824"/>
                <a:gd name="T72" fmla="*/ 143 w 859"/>
                <a:gd name="T73" fmla="*/ 412 h 824"/>
                <a:gd name="T74" fmla="*/ 197 w 859"/>
                <a:gd name="T75" fmla="*/ 358 h 824"/>
                <a:gd name="T76" fmla="*/ 787 w 859"/>
                <a:gd name="T77" fmla="*/ 358 h 824"/>
                <a:gd name="T78" fmla="*/ 787 w 859"/>
                <a:gd name="T79" fmla="*/ 286 h 824"/>
                <a:gd name="T80" fmla="*/ 197 w 859"/>
                <a:gd name="T81" fmla="*/ 286 h 824"/>
                <a:gd name="T82" fmla="*/ 71 w 859"/>
                <a:gd name="T83" fmla="*/ 412 h 824"/>
                <a:gd name="T84" fmla="*/ 197 w 859"/>
                <a:gd name="T85" fmla="*/ 537 h 824"/>
                <a:gd name="T86" fmla="*/ 71 w 859"/>
                <a:gd name="T87" fmla="*/ 698 h 824"/>
                <a:gd name="T88" fmla="*/ 125 w 859"/>
                <a:gd name="T89" fmla="*/ 645 h 824"/>
                <a:gd name="T90" fmla="*/ 214 w 859"/>
                <a:gd name="T91" fmla="*/ 645 h 824"/>
                <a:gd name="T92" fmla="*/ 214 w 859"/>
                <a:gd name="T93" fmla="*/ 573 h 824"/>
                <a:gd name="T94" fmla="*/ 125 w 859"/>
                <a:gd name="T95" fmla="*/ 573 h 824"/>
                <a:gd name="T96" fmla="*/ 0 w 859"/>
                <a:gd name="T97" fmla="*/ 698 h 824"/>
                <a:gd name="T98" fmla="*/ 125 w 859"/>
                <a:gd name="T99" fmla="*/ 824 h 824"/>
                <a:gd name="T100" fmla="*/ 859 w 859"/>
                <a:gd name="T101" fmla="*/ 824 h 824"/>
                <a:gd name="T102" fmla="*/ 859 w 859"/>
                <a:gd name="T103" fmla="*/ 752 h 824"/>
                <a:gd name="T104" fmla="*/ 125 w 859"/>
                <a:gd name="T105" fmla="*/ 752 h 824"/>
                <a:gd name="T106" fmla="*/ 71 w 859"/>
                <a:gd name="T107" fmla="*/ 698 h 8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859" h="824">
                  <a:moveTo>
                    <a:pt x="573" y="573"/>
                  </a:moveTo>
                  <a:lnTo>
                    <a:pt x="573" y="645"/>
                  </a:lnTo>
                  <a:lnTo>
                    <a:pt x="859" y="645"/>
                  </a:lnTo>
                  <a:lnTo>
                    <a:pt x="859" y="573"/>
                  </a:lnTo>
                  <a:lnTo>
                    <a:pt x="573" y="573"/>
                  </a:lnTo>
                  <a:close/>
                  <a:moveTo>
                    <a:pt x="787" y="537"/>
                  </a:moveTo>
                  <a:lnTo>
                    <a:pt x="787" y="466"/>
                  </a:lnTo>
                  <a:lnTo>
                    <a:pt x="573" y="466"/>
                  </a:lnTo>
                  <a:lnTo>
                    <a:pt x="573" y="537"/>
                  </a:lnTo>
                  <a:lnTo>
                    <a:pt x="787" y="537"/>
                  </a:lnTo>
                  <a:close/>
                  <a:moveTo>
                    <a:pt x="250" y="430"/>
                  </a:moveTo>
                  <a:lnTo>
                    <a:pt x="250" y="698"/>
                  </a:lnTo>
                  <a:lnTo>
                    <a:pt x="394" y="627"/>
                  </a:lnTo>
                  <a:lnTo>
                    <a:pt x="537" y="698"/>
                  </a:lnTo>
                  <a:lnTo>
                    <a:pt x="537" y="430"/>
                  </a:lnTo>
                  <a:lnTo>
                    <a:pt x="465" y="430"/>
                  </a:lnTo>
                  <a:lnTo>
                    <a:pt x="465" y="582"/>
                  </a:lnTo>
                  <a:lnTo>
                    <a:pt x="394" y="547"/>
                  </a:lnTo>
                  <a:lnTo>
                    <a:pt x="322" y="582"/>
                  </a:lnTo>
                  <a:lnTo>
                    <a:pt x="322" y="430"/>
                  </a:lnTo>
                  <a:lnTo>
                    <a:pt x="250" y="430"/>
                  </a:lnTo>
                  <a:close/>
                  <a:moveTo>
                    <a:pt x="788" y="125"/>
                  </a:moveTo>
                  <a:cubicBezTo>
                    <a:pt x="788" y="56"/>
                    <a:pt x="731" y="0"/>
                    <a:pt x="662" y="0"/>
                  </a:cubicBezTo>
                  <a:lnTo>
                    <a:pt x="143" y="0"/>
                  </a:lnTo>
                  <a:lnTo>
                    <a:pt x="143" y="72"/>
                  </a:lnTo>
                  <a:lnTo>
                    <a:pt x="662" y="72"/>
                  </a:lnTo>
                  <a:cubicBezTo>
                    <a:pt x="692" y="72"/>
                    <a:pt x="716" y="96"/>
                    <a:pt x="716" y="125"/>
                  </a:cubicBezTo>
                  <a:cubicBezTo>
                    <a:pt x="716" y="155"/>
                    <a:pt x="692" y="179"/>
                    <a:pt x="662" y="179"/>
                  </a:cubicBezTo>
                  <a:lnTo>
                    <a:pt x="143" y="179"/>
                  </a:lnTo>
                  <a:lnTo>
                    <a:pt x="143" y="251"/>
                  </a:lnTo>
                  <a:lnTo>
                    <a:pt x="662" y="251"/>
                  </a:lnTo>
                  <a:cubicBezTo>
                    <a:pt x="731" y="251"/>
                    <a:pt x="788" y="194"/>
                    <a:pt x="788" y="125"/>
                  </a:cubicBezTo>
                  <a:close/>
                  <a:moveTo>
                    <a:pt x="197" y="537"/>
                  </a:moveTo>
                  <a:lnTo>
                    <a:pt x="214" y="537"/>
                  </a:lnTo>
                  <a:lnTo>
                    <a:pt x="214" y="466"/>
                  </a:lnTo>
                  <a:lnTo>
                    <a:pt x="197" y="466"/>
                  </a:lnTo>
                  <a:cubicBezTo>
                    <a:pt x="167" y="466"/>
                    <a:pt x="143" y="441"/>
                    <a:pt x="143" y="412"/>
                  </a:cubicBezTo>
                  <a:cubicBezTo>
                    <a:pt x="143" y="382"/>
                    <a:pt x="167" y="358"/>
                    <a:pt x="197" y="358"/>
                  </a:cubicBezTo>
                  <a:lnTo>
                    <a:pt x="787" y="358"/>
                  </a:lnTo>
                  <a:lnTo>
                    <a:pt x="787" y="286"/>
                  </a:lnTo>
                  <a:lnTo>
                    <a:pt x="197" y="286"/>
                  </a:lnTo>
                  <a:cubicBezTo>
                    <a:pt x="128" y="286"/>
                    <a:pt x="71" y="343"/>
                    <a:pt x="71" y="412"/>
                  </a:cubicBezTo>
                  <a:cubicBezTo>
                    <a:pt x="71" y="481"/>
                    <a:pt x="128" y="537"/>
                    <a:pt x="197" y="537"/>
                  </a:cubicBezTo>
                  <a:close/>
                  <a:moveTo>
                    <a:pt x="71" y="698"/>
                  </a:moveTo>
                  <a:cubicBezTo>
                    <a:pt x="71" y="669"/>
                    <a:pt x="95" y="645"/>
                    <a:pt x="125" y="645"/>
                  </a:cubicBezTo>
                  <a:lnTo>
                    <a:pt x="214" y="645"/>
                  </a:lnTo>
                  <a:lnTo>
                    <a:pt x="214" y="573"/>
                  </a:lnTo>
                  <a:lnTo>
                    <a:pt x="125" y="573"/>
                  </a:lnTo>
                  <a:cubicBezTo>
                    <a:pt x="56" y="573"/>
                    <a:pt x="0" y="629"/>
                    <a:pt x="0" y="698"/>
                  </a:cubicBezTo>
                  <a:cubicBezTo>
                    <a:pt x="0" y="767"/>
                    <a:pt x="56" y="824"/>
                    <a:pt x="125" y="824"/>
                  </a:cubicBezTo>
                  <a:lnTo>
                    <a:pt x="859" y="824"/>
                  </a:lnTo>
                  <a:lnTo>
                    <a:pt x="859" y="752"/>
                  </a:lnTo>
                  <a:lnTo>
                    <a:pt x="125" y="752"/>
                  </a:lnTo>
                  <a:cubicBezTo>
                    <a:pt x="95" y="752"/>
                    <a:pt x="71" y="728"/>
                    <a:pt x="71" y="69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9" name="Freeform 46"/>
            <p:cNvSpPr>
              <a:spLocks noEditPoints="1"/>
            </p:cNvSpPr>
            <p:nvPr/>
          </p:nvSpPr>
          <p:spPr bwMode="auto">
            <a:xfrm>
              <a:off x="8741962" y="2983368"/>
              <a:ext cx="188855" cy="272813"/>
            </a:xfrm>
            <a:custGeom>
              <a:avLst/>
              <a:gdLst>
                <a:gd name="T0" fmla="*/ 275 w 598"/>
                <a:gd name="T1" fmla="*/ 251 h 860"/>
                <a:gd name="T2" fmla="*/ 347 w 598"/>
                <a:gd name="T3" fmla="*/ 179 h 860"/>
                <a:gd name="T4" fmla="*/ 419 w 598"/>
                <a:gd name="T5" fmla="*/ 251 h 860"/>
                <a:gd name="T6" fmla="*/ 347 w 598"/>
                <a:gd name="T7" fmla="*/ 322 h 860"/>
                <a:gd name="T8" fmla="*/ 275 w 598"/>
                <a:gd name="T9" fmla="*/ 251 h 860"/>
                <a:gd name="T10" fmla="*/ 598 w 598"/>
                <a:gd name="T11" fmla="*/ 752 h 860"/>
                <a:gd name="T12" fmla="*/ 449 w 598"/>
                <a:gd name="T13" fmla="*/ 352 h 860"/>
                <a:gd name="T14" fmla="*/ 490 w 598"/>
                <a:gd name="T15" fmla="*/ 251 h 860"/>
                <a:gd name="T16" fmla="*/ 383 w 598"/>
                <a:gd name="T17" fmla="*/ 113 h 860"/>
                <a:gd name="T18" fmla="*/ 383 w 598"/>
                <a:gd name="T19" fmla="*/ 36 h 860"/>
                <a:gd name="T20" fmla="*/ 347 w 598"/>
                <a:gd name="T21" fmla="*/ 0 h 860"/>
                <a:gd name="T22" fmla="*/ 311 w 598"/>
                <a:gd name="T23" fmla="*/ 36 h 860"/>
                <a:gd name="T24" fmla="*/ 311 w 598"/>
                <a:gd name="T25" fmla="*/ 113 h 860"/>
                <a:gd name="T26" fmla="*/ 204 w 598"/>
                <a:gd name="T27" fmla="*/ 251 h 860"/>
                <a:gd name="T28" fmla="*/ 245 w 598"/>
                <a:gd name="T29" fmla="*/ 352 h 860"/>
                <a:gd name="T30" fmla="*/ 196 w 598"/>
                <a:gd name="T31" fmla="*/ 485 h 860"/>
                <a:gd name="T32" fmla="*/ 260 w 598"/>
                <a:gd name="T33" fmla="*/ 519 h 860"/>
                <a:gd name="T34" fmla="*/ 308 w 598"/>
                <a:gd name="T35" fmla="*/ 388 h 860"/>
                <a:gd name="T36" fmla="*/ 347 w 598"/>
                <a:gd name="T37" fmla="*/ 394 h 860"/>
                <a:gd name="T38" fmla="*/ 386 w 598"/>
                <a:gd name="T39" fmla="*/ 388 h 860"/>
                <a:gd name="T40" fmla="*/ 459 w 598"/>
                <a:gd name="T41" fmla="*/ 586 h 860"/>
                <a:gd name="T42" fmla="*/ 347 w 598"/>
                <a:gd name="T43" fmla="*/ 607 h 860"/>
                <a:gd name="T44" fmla="*/ 72 w 598"/>
                <a:gd name="T45" fmla="*/ 453 h 860"/>
                <a:gd name="T46" fmla="*/ 26 w 598"/>
                <a:gd name="T47" fmla="*/ 440 h 860"/>
                <a:gd name="T48" fmla="*/ 11 w 598"/>
                <a:gd name="T49" fmla="*/ 491 h 860"/>
                <a:gd name="T50" fmla="*/ 145 w 598"/>
                <a:gd name="T51" fmla="*/ 623 h 860"/>
                <a:gd name="T52" fmla="*/ 96 w 598"/>
                <a:gd name="T53" fmla="*/ 752 h 860"/>
                <a:gd name="T54" fmla="*/ 134 w 598"/>
                <a:gd name="T55" fmla="*/ 860 h 860"/>
                <a:gd name="T56" fmla="*/ 210 w 598"/>
                <a:gd name="T57" fmla="*/ 654 h 860"/>
                <a:gd name="T58" fmla="*/ 347 w 598"/>
                <a:gd name="T59" fmla="*/ 679 h 860"/>
                <a:gd name="T60" fmla="*/ 483 w 598"/>
                <a:gd name="T61" fmla="*/ 653 h 860"/>
                <a:gd name="T62" fmla="*/ 560 w 598"/>
                <a:gd name="T63" fmla="*/ 860 h 860"/>
                <a:gd name="T64" fmla="*/ 598 w 598"/>
                <a:gd name="T65" fmla="*/ 752 h 8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98" h="860">
                  <a:moveTo>
                    <a:pt x="275" y="251"/>
                  </a:moveTo>
                  <a:cubicBezTo>
                    <a:pt x="275" y="211"/>
                    <a:pt x="307" y="179"/>
                    <a:pt x="347" y="179"/>
                  </a:cubicBezTo>
                  <a:cubicBezTo>
                    <a:pt x="386" y="179"/>
                    <a:pt x="419" y="211"/>
                    <a:pt x="419" y="251"/>
                  </a:cubicBezTo>
                  <a:cubicBezTo>
                    <a:pt x="419" y="290"/>
                    <a:pt x="386" y="322"/>
                    <a:pt x="347" y="322"/>
                  </a:cubicBezTo>
                  <a:cubicBezTo>
                    <a:pt x="307" y="322"/>
                    <a:pt x="275" y="290"/>
                    <a:pt x="275" y="251"/>
                  </a:cubicBezTo>
                  <a:close/>
                  <a:moveTo>
                    <a:pt x="598" y="752"/>
                  </a:moveTo>
                  <a:lnTo>
                    <a:pt x="449" y="352"/>
                  </a:lnTo>
                  <a:cubicBezTo>
                    <a:pt x="474" y="326"/>
                    <a:pt x="490" y="290"/>
                    <a:pt x="490" y="251"/>
                  </a:cubicBezTo>
                  <a:cubicBezTo>
                    <a:pt x="490" y="184"/>
                    <a:pt x="444" y="129"/>
                    <a:pt x="383" y="113"/>
                  </a:cubicBezTo>
                  <a:lnTo>
                    <a:pt x="383" y="36"/>
                  </a:lnTo>
                  <a:cubicBezTo>
                    <a:pt x="383" y="16"/>
                    <a:pt x="367" y="0"/>
                    <a:pt x="347" y="0"/>
                  </a:cubicBezTo>
                  <a:cubicBezTo>
                    <a:pt x="327" y="0"/>
                    <a:pt x="311" y="16"/>
                    <a:pt x="311" y="36"/>
                  </a:cubicBezTo>
                  <a:lnTo>
                    <a:pt x="311" y="113"/>
                  </a:lnTo>
                  <a:cubicBezTo>
                    <a:pt x="250" y="129"/>
                    <a:pt x="204" y="184"/>
                    <a:pt x="204" y="251"/>
                  </a:cubicBezTo>
                  <a:cubicBezTo>
                    <a:pt x="204" y="290"/>
                    <a:pt x="220" y="326"/>
                    <a:pt x="245" y="352"/>
                  </a:cubicBezTo>
                  <a:lnTo>
                    <a:pt x="196" y="485"/>
                  </a:lnTo>
                  <a:cubicBezTo>
                    <a:pt x="216" y="499"/>
                    <a:pt x="237" y="511"/>
                    <a:pt x="260" y="519"/>
                  </a:cubicBezTo>
                  <a:lnTo>
                    <a:pt x="308" y="388"/>
                  </a:lnTo>
                  <a:cubicBezTo>
                    <a:pt x="321" y="392"/>
                    <a:pt x="333" y="394"/>
                    <a:pt x="347" y="394"/>
                  </a:cubicBezTo>
                  <a:cubicBezTo>
                    <a:pt x="361" y="394"/>
                    <a:pt x="373" y="392"/>
                    <a:pt x="386" y="388"/>
                  </a:cubicBezTo>
                  <a:lnTo>
                    <a:pt x="459" y="586"/>
                  </a:lnTo>
                  <a:cubicBezTo>
                    <a:pt x="423" y="599"/>
                    <a:pt x="386" y="607"/>
                    <a:pt x="347" y="607"/>
                  </a:cubicBezTo>
                  <a:cubicBezTo>
                    <a:pt x="233" y="607"/>
                    <a:pt x="130" y="549"/>
                    <a:pt x="72" y="453"/>
                  </a:cubicBezTo>
                  <a:cubicBezTo>
                    <a:pt x="63" y="438"/>
                    <a:pt x="43" y="432"/>
                    <a:pt x="26" y="440"/>
                  </a:cubicBezTo>
                  <a:cubicBezTo>
                    <a:pt x="7" y="449"/>
                    <a:pt x="0" y="473"/>
                    <a:pt x="11" y="491"/>
                  </a:cubicBezTo>
                  <a:cubicBezTo>
                    <a:pt x="45" y="547"/>
                    <a:pt x="92" y="591"/>
                    <a:pt x="145" y="623"/>
                  </a:cubicBezTo>
                  <a:lnTo>
                    <a:pt x="96" y="752"/>
                  </a:lnTo>
                  <a:lnTo>
                    <a:pt x="134" y="860"/>
                  </a:lnTo>
                  <a:lnTo>
                    <a:pt x="210" y="654"/>
                  </a:lnTo>
                  <a:cubicBezTo>
                    <a:pt x="253" y="670"/>
                    <a:pt x="299" y="679"/>
                    <a:pt x="347" y="679"/>
                  </a:cubicBezTo>
                  <a:cubicBezTo>
                    <a:pt x="394" y="679"/>
                    <a:pt x="440" y="669"/>
                    <a:pt x="483" y="653"/>
                  </a:cubicBezTo>
                  <a:lnTo>
                    <a:pt x="560" y="860"/>
                  </a:lnTo>
                  <a:lnTo>
                    <a:pt x="598" y="75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5" name="Freeform 52"/>
            <p:cNvSpPr>
              <a:spLocks noEditPoints="1"/>
            </p:cNvSpPr>
            <p:nvPr/>
          </p:nvSpPr>
          <p:spPr bwMode="auto">
            <a:xfrm>
              <a:off x="8704053" y="2417306"/>
              <a:ext cx="264672" cy="272813"/>
            </a:xfrm>
            <a:custGeom>
              <a:avLst/>
              <a:gdLst>
                <a:gd name="T0" fmla="*/ 179 w 839"/>
                <a:gd name="T1" fmla="*/ 143 h 860"/>
                <a:gd name="T2" fmla="*/ 609 w 839"/>
                <a:gd name="T3" fmla="*/ 143 h 860"/>
                <a:gd name="T4" fmla="*/ 609 w 839"/>
                <a:gd name="T5" fmla="*/ 269 h 860"/>
                <a:gd name="T6" fmla="*/ 474 w 839"/>
                <a:gd name="T7" fmla="*/ 383 h 860"/>
                <a:gd name="T8" fmla="*/ 526 w 839"/>
                <a:gd name="T9" fmla="*/ 440 h 860"/>
                <a:gd name="T10" fmla="*/ 839 w 839"/>
                <a:gd name="T11" fmla="*/ 208 h 860"/>
                <a:gd name="T12" fmla="*/ 781 w 839"/>
                <a:gd name="T13" fmla="*/ 151 h 860"/>
                <a:gd name="T14" fmla="*/ 680 w 839"/>
                <a:gd name="T15" fmla="*/ 215 h 860"/>
                <a:gd name="T16" fmla="*/ 680 w 839"/>
                <a:gd name="T17" fmla="*/ 72 h 860"/>
                <a:gd name="T18" fmla="*/ 430 w 839"/>
                <a:gd name="T19" fmla="*/ 72 h 860"/>
                <a:gd name="T20" fmla="*/ 430 w 839"/>
                <a:gd name="T21" fmla="*/ 0 h 860"/>
                <a:gd name="T22" fmla="*/ 358 w 839"/>
                <a:gd name="T23" fmla="*/ 0 h 860"/>
                <a:gd name="T24" fmla="*/ 358 w 839"/>
                <a:gd name="T25" fmla="*/ 72 h 860"/>
                <a:gd name="T26" fmla="*/ 107 w 839"/>
                <a:gd name="T27" fmla="*/ 72 h 860"/>
                <a:gd name="T28" fmla="*/ 107 w 839"/>
                <a:gd name="T29" fmla="*/ 537 h 860"/>
                <a:gd name="T30" fmla="*/ 179 w 839"/>
                <a:gd name="T31" fmla="*/ 537 h 860"/>
                <a:gd name="T32" fmla="*/ 179 w 839"/>
                <a:gd name="T33" fmla="*/ 143 h 860"/>
                <a:gd name="T34" fmla="*/ 680 w 839"/>
                <a:gd name="T35" fmla="*/ 537 h 860"/>
                <a:gd name="T36" fmla="*/ 680 w 839"/>
                <a:gd name="T37" fmla="*/ 393 h 860"/>
                <a:gd name="T38" fmla="*/ 609 w 839"/>
                <a:gd name="T39" fmla="*/ 447 h 860"/>
                <a:gd name="T40" fmla="*/ 609 w 839"/>
                <a:gd name="T41" fmla="*/ 537 h 860"/>
                <a:gd name="T42" fmla="*/ 680 w 839"/>
                <a:gd name="T43" fmla="*/ 537 h 860"/>
                <a:gd name="T44" fmla="*/ 371 w 839"/>
                <a:gd name="T45" fmla="*/ 473 h 860"/>
                <a:gd name="T46" fmla="*/ 414 w 839"/>
                <a:gd name="T47" fmla="*/ 530 h 860"/>
                <a:gd name="T48" fmla="*/ 506 w 839"/>
                <a:gd name="T49" fmla="*/ 461 h 860"/>
                <a:gd name="T50" fmla="*/ 463 w 839"/>
                <a:gd name="T51" fmla="*/ 404 h 860"/>
                <a:gd name="T52" fmla="*/ 371 w 839"/>
                <a:gd name="T53" fmla="*/ 473 h 860"/>
                <a:gd name="T54" fmla="*/ 0 w 839"/>
                <a:gd name="T55" fmla="*/ 681 h 860"/>
                <a:gd name="T56" fmla="*/ 233 w 839"/>
                <a:gd name="T57" fmla="*/ 681 h 860"/>
                <a:gd name="T58" fmla="*/ 166 w 839"/>
                <a:gd name="T59" fmla="*/ 860 h 860"/>
                <a:gd name="T60" fmla="*/ 243 w 839"/>
                <a:gd name="T61" fmla="*/ 860 h 860"/>
                <a:gd name="T62" fmla="*/ 310 w 839"/>
                <a:gd name="T63" fmla="*/ 681 h 860"/>
                <a:gd name="T64" fmla="*/ 358 w 839"/>
                <a:gd name="T65" fmla="*/ 681 h 860"/>
                <a:gd name="T66" fmla="*/ 358 w 839"/>
                <a:gd name="T67" fmla="*/ 860 h 860"/>
                <a:gd name="T68" fmla="*/ 430 w 839"/>
                <a:gd name="T69" fmla="*/ 860 h 860"/>
                <a:gd name="T70" fmla="*/ 430 w 839"/>
                <a:gd name="T71" fmla="*/ 681 h 860"/>
                <a:gd name="T72" fmla="*/ 547 w 839"/>
                <a:gd name="T73" fmla="*/ 681 h 860"/>
                <a:gd name="T74" fmla="*/ 614 w 839"/>
                <a:gd name="T75" fmla="*/ 860 h 860"/>
                <a:gd name="T76" fmla="*/ 690 w 839"/>
                <a:gd name="T77" fmla="*/ 860 h 860"/>
                <a:gd name="T78" fmla="*/ 623 w 839"/>
                <a:gd name="T79" fmla="*/ 681 h 860"/>
                <a:gd name="T80" fmla="*/ 788 w 839"/>
                <a:gd name="T81" fmla="*/ 681 h 860"/>
                <a:gd name="T82" fmla="*/ 788 w 839"/>
                <a:gd name="T83" fmla="*/ 609 h 860"/>
                <a:gd name="T84" fmla="*/ 0 w 839"/>
                <a:gd name="T85" fmla="*/ 609 h 860"/>
                <a:gd name="T86" fmla="*/ 0 w 839"/>
                <a:gd name="T87" fmla="*/ 681 h 8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839" h="860">
                  <a:moveTo>
                    <a:pt x="179" y="143"/>
                  </a:moveTo>
                  <a:lnTo>
                    <a:pt x="609" y="143"/>
                  </a:lnTo>
                  <a:lnTo>
                    <a:pt x="609" y="269"/>
                  </a:lnTo>
                  <a:lnTo>
                    <a:pt x="474" y="383"/>
                  </a:lnTo>
                  <a:lnTo>
                    <a:pt x="526" y="440"/>
                  </a:lnTo>
                  <a:lnTo>
                    <a:pt x="839" y="208"/>
                  </a:lnTo>
                  <a:lnTo>
                    <a:pt x="781" y="151"/>
                  </a:lnTo>
                  <a:lnTo>
                    <a:pt x="680" y="215"/>
                  </a:lnTo>
                  <a:lnTo>
                    <a:pt x="680" y="72"/>
                  </a:lnTo>
                  <a:lnTo>
                    <a:pt x="430" y="72"/>
                  </a:lnTo>
                  <a:lnTo>
                    <a:pt x="430" y="0"/>
                  </a:lnTo>
                  <a:lnTo>
                    <a:pt x="358" y="0"/>
                  </a:lnTo>
                  <a:lnTo>
                    <a:pt x="358" y="72"/>
                  </a:lnTo>
                  <a:lnTo>
                    <a:pt x="107" y="72"/>
                  </a:lnTo>
                  <a:lnTo>
                    <a:pt x="107" y="537"/>
                  </a:lnTo>
                  <a:lnTo>
                    <a:pt x="179" y="537"/>
                  </a:lnTo>
                  <a:lnTo>
                    <a:pt x="179" y="143"/>
                  </a:lnTo>
                  <a:close/>
                  <a:moveTo>
                    <a:pt x="680" y="537"/>
                  </a:moveTo>
                  <a:lnTo>
                    <a:pt x="680" y="393"/>
                  </a:lnTo>
                  <a:lnTo>
                    <a:pt x="609" y="447"/>
                  </a:lnTo>
                  <a:lnTo>
                    <a:pt x="609" y="537"/>
                  </a:lnTo>
                  <a:lnTo>
                    <a:pt x="680" y="537"/>
                  </a:lnTo>
                  <a:close/>
                  <a:moveTo>
                    <a:pt x="371" y="473"/>
                  </a:moveTo>
                  <a:lnTo>
                    <a:pt x="414" y="530"/>
                  </a:lnTo>
                  <a:lnTo>
                    <a:pt x="506" y="461"/>
                  </a:lnTo>
                  <a:lnTo>
                    <a:pt x="463" y="404"/>
                  </a:lnTo>
                  <a:lnTo>
                    <a:pt x="371" y="473"/>
                  </a:lnTo>
                  <a:close/>
                  <a:moveTo>
                    <a:pt x="0" y="681"/>
                  </a:moveTo>
                  <a:lnTo>
                    <a:pt x="233" y="681"/>
                  </a:lnTo>
                  <a:lnTo>
                    <a:pt x="166" y="860"/>
                  </a:lnTo>
                  <a:lnTo>
                    <a:pt x="243" y="860"/>
                  </a:lnTo>
                  <a:lnTo>
                    <a:pt x="310" y="681"/>
                  </a:lnTo>
                  <a:lnTo>
                    <a:pt x="358" y="681"/>
                  </a:lnTo>
                  <a:lnTo>
                    <a:pt x="358" y="860"/>
                  </a:lnTo>
                  <a:lnTo>
                    <a:pt x="430" y="860"/>
                  </a:lnTo>
                  <a:lnTo>
                    <a:pt x="430" y="681"/>
                  </a:lnTo>
                  <a:lnTo>
                    <a:pt x="547" y="681"/>
                  </a:lnTo>
                  <a:lnTo>
                    <a:pt x="614" y="860"/>
                  </a:lnTo>
                  <a:lnTo>
                    <a:pt x="690" y="860"/>
                  </a:lnTo>
                  <a:lnTo>
                    <a:pt x="623" y="681"/>
                  </a:lnTo>
                  <a:lnTo>
                    <a:pt x="788" y="681"/>
                  </a:lnTo>
                  <a:lnTo>
                    <a:pt x="788" y="609"/>
                  </a:lnTo>
                  <a:lnTo>
                    <a:pt x="0" y="609"/>
                  </a:lnTo>
                  <a:lnTo>
                    <a:pt x="0" y="68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6" name="Freeform 53"/>
            <p:cNvSpPr>
              <a:spLocks noEditPoints="1"/>
            </p:cNvSpPr>
            <p:nvPr/>
          </p:nvSpPr>
          <p:spPr bwMode="auto">
            <a:xfrm>
              <a:off x="8695782" y="4695336"/>
              <a:ext cx="281214" cy="245254"/>
            </a:xfrm>
            <a:custGeom>
              <a:avLst/>
              <a:gdLst>
                <a:gd name="T0" fmla="*/ 408 w 888"/>
                <a:gd name="T1" fmla="*/ 61 h 777"/>
                <a:gd name="T2" fmla="*/ 337 w 888"/>
                <a:gd name="T3" fmla="*/ 61 h 777"/>
                <a:gd name="T4" fmla="*/ 337 w 888"/>
                <a:gd name="T5" fmla="*/ 539 h 777"/>
                <a:gd name="T6" fmla="*/ 408 w 888"/>
                <a:gd name="T7" fmla="*/ 556 h 777"/>
                <a:gd name="T8" fmla="*/ 408 w 888"/>
                <a:gd name="T9" fmla="*/ 61 h 777"/>
                <a:gd name="T10" fmla="*/ 552 w 888"/>
                <a:gd name="T11" fmla="*/ 61 h 777"/>
                <a:gd name="T12" fmla="*/ 480 w 888"/>
                <a:gd name="T13" fmla="*/ 61 h 777"/>
                <a:gd name="T14" fmla="*/ 480 w 888"/>
                <a:gd name="T15" fmla="*/ 556 h 777"/>
                <a:gd name="T16" fmla="*/ 552 w 888"/>
                <a:gd name="T17" fmla="*/ 539 h 777"/>
                <a:gd name="T18" fmla="*/ 552 w 888"/>
                <a:gd name="T19" fmla="*/ 61 h 777"/>
                <a:gd name="T20" fmla="*/ 829 w 888"/>
                <a:gd name="T21" fmla="*/ 27 h 777"/>
                <a:gd name="T22" fmla="*/ 734 w 888"/>
                <a:gd name="T23" fmla="*/ 5 h 777"/>
                <a:gd name="T24" fmla="*/ 652 w 888"/>
                <a:gd name="T25" fmla="*/ 56 h 777"/>
                <a:gd name="T26" fmla="*/ 696 w 888"/>
                <a:gd name="T27" fmla="*/ 357 h 777"/>
                <a:gd name="T28" fmla="*/ 634 w 888"/>
                <a:gd name="T29" fmla="*/ 526 h 777"/>
                <a:gd name="T30" fmla="*/ 444 w 888"/>
                <a:gd name="T31" fmla="*/ 595 h 777"/>
                <a:gd name="T32" fmla="*/ 254 w 888"/>
                <a:gd name="T33" fmla="*/ 526 h 777"/>
                <a:gd name="T34" fmla="*/ 193 w 888"/>
                <a:gd name="T35" fmla="*/ 357 h 777"/>
                <a:gd name="T36" fmla="*/ 237 w 888"/>
                <a:gd name="T37" fmla="*/ 57 h 777"/>
                <a:gd name="T38" fmla="*/ 155 w 888"/>
                <a:gd name="T39" fmla="*/ 5 h 777"/>
                <a:gd name="T40" fmla="*/ 60 w 888"/>
                <a:gd name="T41" fmla="*/ 27 h 777"/>
                <a:gd name="T42" fmla="*/ 35 w 888"/>
                <a:gd name="T43" fmla="*/ 179 h 777"/>
                <a:gd name="T44" fmla="*/ 92 w 888"/>
                <a:gd name="T45" fmla="*/ 216 h 777"/>
                <a:gd name="T46" fmla="*/ 134 w 888"/>
                <a:gd name="T47" fmla="*/ 189 h 777"/>
                <a:gd name="T48" fmla="*/ 107 w 888"/>
                <a:gd name="T49" fmla="*/ 146 h 777"/>
                <a:gd name="T50" fmla="*/ 93 w 888"/>
                <a:gd name="T51" fmla="*/ 137 h 777"/>
                <a:gd name="T52" fmla="*/ 102 w 888"/>
                <a:gd name="T53" fmla="*/ 85 h 777"/>
                <a:gd name="T54" fmla="*/ 143 w 888"/>
                <a:gd name="T55" fmla="*/ 76 h 777"/>
                <a:gd name="T56" fmla="*/ 179 w 888"/>
                <a:gd name="T57" fmla="*/ 99 h 777"/>
                <a:gd name="T58" fmla="*/ 130 w 888"/>
                <a:gd name="T59" fmla="*/ 321 h 777"/>
                <a:gd name="T60" fmla="*/ 122 w 888"/>
                <a:gd name="T61" fmla="*/ 330 h 777"/>
                <a:gd name="T62" fmla="*/ 122 w 888"/>
                <a:gd name="T63" fmla="*/ 341 h 777"/>
                <a:gd name="T64" fmla="*/ 202 w 888"/>
                <a:gd name="T65" fmla="*/ 575 h 777"/>
                <a:gd name="T66" fmla="*/ 445 w 888"/>
                <a:gd name="T67" fmla="*/ 666 h 777"/>
                <a:gd name="T68" fmla="*/ 687 w 888"/>
                <a:gd name="T69" fmla="*/ 575 h 777"/>
                <a:gd name="T70" fmla="*/ 767 w 888"/>
                <a:gd name="T71" fmla="*/ 341 h 777"/>
                <a:gd name="T72" fmla="*/ 766 w 888"/>
                <a:gd name="T73" fmla="*/ 330 h 777"/>
                <a:gd name="T74" fmla="*/ 759 w 888"/>
                <a:gd name="T75" fmla="*/ 321 h 777"/>
                <a:gd name="T76" fmla="*/ 710 w 888"/>
                <a:gd name="T77" fmla="*/ 98 h 777"/>
                <a:gd name="T78" fmla="*/ 746 w 888"/>
                <a:gd name="T79" fmla="*/ 76 h 777"/>
                <a:gd name="T80" fmla="*/ 787 w 888"/>
                <a:gd name="T81" fmla="*/ 85 h 777"/>
                <a:gd name="T82" fmla="*/ 795 w 888"/>
                <a:gd name="T83" fmla="*/ 137 h 777"/>
                <a:gd name="T84" fmla="*/ 782 w 888"/>
                <a:gd name="T85" fmla="*/ 146 h 777"/>
                <a:gd name="T86" fmla="*/ 754 w 888"/>
                <a:gd name="T87" fmla="*/ 189 h 777"/>
                <a:gd name="T88" fmla="*/ 797 w 888"/>
                <a:gd name="T89" fmla="*/ 216 h 777"/>
                <a:gd name="T90" fmla="*/ 854 w 888"/>
                <a:gd name="T91" fmla="*/ 179 h 777"/>
                <a:gd name="T92" fmla="*/ 829 w 888"/>
                <a:gd name="T93" fmla="*/ 27 h 777"/>
                <a:gd name="T94" fmla="*/ 301 w 888"/>
                <a:gd name="T95" fmla="*/ 777 h 777"/>
                <a:gd name="T96" fmla="*/ 587 w 888"/>
                <a:gd name="T97" fmla="*/ 777 h 777"/>
                <a:gd name="T98" fmla="*/ 587 w 888"/>
                <a:gd name="T99" fmla="*/ 705 h 777"/>
                <a:gd name="T100" fmla="*/ 301 w 888"/>
                <a:gd name="T101" fmla="*/ 705 h 777"/>
                <a:gd name="T102" fmla="*/ 301 w 888"/>
                <a:gd name="T103" fmla="*/ 777 h 7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888" h="777">
                  <a:moveTo>
                    <a:pt x="408" y="61"/>
                  </a:moveTo>
                  <a:lnTo>
                    <a:pt x="337" y="61"/>
                  </a:lnTo>
                  <a:lnTo>
                    <a:pt x="337" y="539"/>
                  </a:lnTo>
                  <a:cubicBezTo>
                    <a:pt x="372" y="548"/>
                    <a:pt x="372" y="554"/>
                    <a:pt x="408" y="556"/>
                  </a:cubicBezTo>
                  <a:lnTo>
                    <a:pt x="408" y="61"/>
                  </a:lnTo>
                  <a:close/>
                  <a:moveTo>
                    <a:pt x="552" y="61"/>
                  </a:moveTo>
                  <a:lnTo>
                    <a:pt x="480" y="61"/>
                  </a:lnTo>
                  <a:lnTo>
                    <a:pt x="480" y="556"/>
                  </a:lnTo>
                  <a:cubicBezTo>
                    <a:pt x="516" y="554"/>
                    <a:pt x="516" y="548"/>
                    <a:pt x="552" y="539"/>
                  </a:cubicBezTo>
                  <a:lnTo>
                    <a:pt x="552" y="61"/>
                  </a:lnTo>
                  <a:close/>
                  <a:moveTo>
                    <a:pt x="829" y="27"/>
                  </a:moveTo>
                  <a:cubicBezTo>
                    <a:pt x="801" y="8"/>
                    <a:pt x="768" y="0"/>
                    <a:pt x="734" y="5"/>
                  </a:cubicBezTo>
                  <a:cubicBezTo>
                    <a:pt x="700" y="11"/>
                    <a:pt x="671" y="29"/>
                    <a:pt x="652" y="56"/>
                  </a:cubicBezTo>
                  <a:cubicBezTo>
                    <a:pt x="591" y="139"/>
                    <a:pt x="637" y="279"/>
                    <a:pt x="696" y="357"/>
                  </a:cubicBezTo>
                  <a:cubicBezTo>
                    <a:pt x="695" y="386"/>
                    <a:pt x="689" y="468"/>
                    <a:pt x="634" y="526"/>
                  </a:cubicBezTo>
                  <a:cubicBezTo>
                    <a:pt x="592" y="572"/>
                    <a:pt x="528" y="595"/>
                    <a:pt x="444" y="595"/>
                  </a:cubicBezTo>
                  <a:cubicBezTo>
                    <a:pt x="361" y="595"/>
                    <a:pt x="297" y="572"/>
                    <a:pt x="254" y="526"/>
                  </a:cubicBezTo>
                  <a:cubicBezTo>
                    <a:pt x="199" y="468"/>
                    <a:pt x="193" y="385"/>
                    <a:pt x="193" y="357"/>
                  </a:cubicBezTo>
                  <a:cubicBezTo>
                    <a:pt x="252" y="279"/>
                    <a:pt x="298" y="139"/>
                    <a:pt x="237" y="57"/>
                  </a:cubicBezTo>
                  <a:cubicBezTo>
                    <a:pt x="217" y="29"/>
                    <a:pt x="188" y="11"/>
                    <a:pt x="155" y="5"/>
                  </a:cubicBezTo>
                  <a:cubicBezTo>
                    <a:pt x="121" y="0"/>
                    <a:pt x="87" y="8"/>
                    <a:pt x="60" y="27"/>
                  </a:cubicBezTo>
                  <a:cubicBezTo>
                    <a:pt x="11" y="63"/>
                    <a:pt x="0" y="130"/>
                    <a:pt x="35" y="179"/>
                  </a:cubicBezTo>
                  <a:cubicBezTo>
                    <a:pt x="49" y="198"/>
                    <a:pt x="69" y="212"/>
                    <a:pt x="92" y="216"/>
                  </a:cubicBezTo>
                  <a:cubicBezTo>
                    <a:pt x="111" y="220"/>
                    <a:pt x="130" y="208"/>
                    <a:pt x="134" y="189"/>
                  </a:cubicBezTo>
                  <a:cubicBezTo>
                    <a:pt x="138" y="169"/>
                    <a:pt x="126" y="150"/>
                    <a:pt x="107" y="146"/>
                  </a:cubicBezTo>
                  <a:cubicBezTo>
                    <a:pt x="101" y="145"/>
                    <a:pt x="96" y="142"/>
                    <a:pt x="93" y="137"/>
                  </a:cubicBezTo>
                  <a:cubicBezTo>
                    <a:pt x="81" y="121"/>
                    <a:pt x="85" y="97"/>
                    <a:pt x="102" y="85"/>
                  </a:cubicBezTo>
                  <a:cubicBezTo>
                    <a:pt x="114" y="77"/>
                    <a:pt x="128" y="73"/>
                    <a:pt x="143" y="76"/>
                  </a:cubicBezTo>
                  <a:cubicBezTo>
                    <a:pt x="157" y="78"/>
                    <a:pt x="170" y="86"/>
                    <a:pt x="179" y="99"/>
                  </a:cubicBezTo>
                  <a:cubicBezTo>
                    <a:pt x="215" y="148"/>
                    <a:pt x="182" y="259"/>
                    <a:pt x="130" y="321"/>
                  </a:cubicBezTo>
                  <a:lnTo>
                    <a:pt x="122" y="330"/>
                  </a:lnTo>
                  <a:lnTo>
                    <a:pt x="122" y="341"/>
                  </a:lnTo>
                  <a:cubicBezTo>
                    <a:pt x="121" y="347"/>
                    <a:pt x="113" y="480"/>
                    <a:pt x="202" y="575"/>
                  </a:cubicBezTo>
                  <a:cubicBezTo>
                    <a:pt x="258" y="636"/>
                    <a:pt x="340" y="666"/>
                    <a:pt x="445" y="666"/>
                  </a:cubicBezTo>
                  <a:cubicBezTo>
                    <a:pt x="549" y="666"/>
                    <a:pt x="630" y="636"/>
                    <a:pt x="687" y="575"/>
                  </a:cubicBezTo>
                  <a:cubicBezTo>
                    <a:pt x="775" y="480"/>
                    <a:pt x="767" y="347"/>
                    <a:pt x="767" y="341"/>
                  </a:cubicBezTo>
                  <a:lnTo>
                    <a:pt x="766" y="330"/>
                  </a:lnTo>
                  <a:lnTo>
                    <a:pt x="759" y="321"/>
                  </a:lnTo>
                  <a:cubicBezTo>
                    <a:pt x="706" y="259"/>
                    <a:pt x="673" y="148"/>
                    <a:pt x="710" y="98"/>
                  </a:cubicBezTo>
                  <a:cubicBezTo>
                    <a:pt x="718" y="86"/>
                    <a:pt x="731" y="78"/>
                    <a:pt x="746" y="76"/>
                  </a:cubicBezTo>
                  <a:cubicBezTo>
                    <a:pt x="760" y="73"/>
                    <a:pt x="775" y="77"/>
                    <a:pt x="787" y="85"/>
                  </a:cubicBezTo>
                  <a:cubicBezTo>
                    <a:pt x="803" y="97"/>
                    <a:pt x="807" y="121"/>
                    <a:pt x="795" y="137"/>
                  </a:cubicBezTo>
                  <a:cubicBezTo>
                    <a:pt x="792" y="142"/>
                    <a:pt x="787" y="145"/>
                    <a:pt x="782" y="146"/>
                  </a:cubicBezTo>
                  <a:cubicBezTo>
                    <a:pt x="762" y="150"/>
                    <a:pt x="750" y="169"/>
                    <a:pt x="754" y="189"/>
                  </a:cubicBezTo>
                  <a:cubicBezTo>
                    <a:pt x="758" y="208"/>
                    <a:pt x="777" y="220"/>
                    <a:pt x="797" y="216"/>
                  </a:cubicBezTo>
                  <a:cubicBezTo>
                    <a:pt x="820" y="212"/>
                    <a:pt x="840" y="198"/>
                    <a:pt x="854" y="179"/>
                  </a:cubicBezTo>
                  <a:cubicBezTo>
                    <a:pt x="888" y="130"/>
                    <a:pt x="877" y="63"/>
                    <a:pt x="829" y="27"/>
                  </a:cubicBezTo>
                  <a:close/>
                  <a:moveTo>
                    <a:pt x="301" y="777"/>
                  </a:moveTo>
                  <a:lnTo>
                    <a:pt x="587" y="777"/>
                  </a:lnTo>
                  <a:lnTo>
                    <a:pt x="587" y="705"/>
                  </a:lnTo>
                  <a:lnTo>
                    <a:pt x="301" y="705"/>
                  </a:lnTo>
                  <a:lnTo>
                    <a:pt x="301" y="77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115" name="AutoShape 4"/>
          <p:cNvSpPr>
            <a:spLocks noChangeAspect="1" noChangeArrowheads="1" noTextEdit="1"/>
          </p:cNvSpPr>
          <p:nvPr/>
        </p:nvSpPr>
        <p:spPr bwMode="auto">
          <a:xfrm>
            <a:off x="5844301" y="1808388"/>
            <a:ext cx="918665" cy="3170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16" name="Рисунок 115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185" name="TextBox 184"/>
          <p:cNvSpPr txBox="1"/>
          <p:nvPr/>
        </p:nvSpPr>
        <p:spPr>
          <a:xfrm>
            <a:off x="394574" y="1545718"/>
            <a:ext cx="6301256" cy="830997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lvl="0" algn="ctr"/>
            <a:r>
              <a:rPr lang="ru-RU" sz="2400" b="1" dirty="0">
                <a:solidFill>
                  <a:srgbClr val="002060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УМК «Классический курс» </a:t>
            </a:r>
            <a:endParaRPr lang="ru-RU" sz="2400" b="1" dirty="0" smtClean="0">
              <a:solidFill>
                <a:srgbClr val="002060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lvl="0" algn="ctr"/>
            <a:r>
              <a:rPr lang="ru-RU" sz="2400" b="1" dirty="0" smtClean="0">
                <a:solidFill>
                  <a:srgbClr val="002060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С.В</a:t>
            </a:r>
            <a:r>
              <a:rPr lang="ru-RU" sz="2400" b="1" dirty="0">
                <a:solidFill>
                  <a:srgbClr val="002060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. </a:t>
            </a:r>
            <a:r>
              <a:rPr lang="ru-RU" sz="2400" b="1" dirty="0" smtClean="0">
                <a:solidFill>
                  <a:srgbClr val="002060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Громова</a:t>
            </a:r>
            <a:r>
              <a:rPr lang="ru-RU" sz="2400" b="1" dirty="0">
                <a:solidFill>
                  <a:srgbClr val="002060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,</a:t>
            </a:r>
            <a:r>
              <a:rPr lang="ru-RU" sz="2400" b="1" dirty="0" smtClean="0">
                <a:solidFill>
                  <a:srgbClr val="002060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 Н.А</a:t>
            </a:r>
            <a:r>
              <a:rPr lang="ru-RU" sz="2400" b="1" dirty="0">
                <a:solidFill>
                  <a:srgbClr val="002060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. Родиной</a:t>
            </a:r>
          </a:p>
        </p:txBody>
      </p:sp>
      <p:grpSp>
        <p:nvGrpSpPr>
          <p:cNvPr id="186" name="Группа 185"/>
          <p:cNvGrpSpPr/>
          <p:nvPr/>
        </p:nvGrpSpPr>
        <p:grpSpPr>
          <a:xfrm>
            <a:off x="339553" y="260649"/>
            <a:ext cx="1268960" cy="438775"/>
            <a:chOff x="254665" y="195486"/>
            <a:chExt cx="951720" cy="329081"/>
          </a:xfrm>
        </p:grpSpPr>
        <p:sp>
          <p:nvSpPr>
            <p:cNvPr id="187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8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9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0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1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2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3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4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5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6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7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8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9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0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pic>
        <p:nvPicPr>
          <p:cNvPr id="54" name="Рисунок 53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6892" y="2927293"/>
            <a:ext cx="1687088" cy="226911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55" name="Рисунок 54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04416" y="2927293"/>
            <a:ext cx="1711227" cy="226911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57" name="Рисунок 56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66079" y="2927293"/>
            <a:ext cx="1716686" cy="226911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50" name="Прямоугольник 49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335360" y="6516869"/>
            <a:ext cx="3411921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914377">
              <a:defRPr/>
            </a:pPr>
            <a:r>
              <a:rPr lang="ru-RU" sz="1200" dirty="0">
                <a:solidFill>
                  <a:prstClr val="white">
                    <a:lumMod val="65000"/>
                  </a:prstClr>
                </a:solidFill>
                <a:latin typeface="Calibri"/>
              </a:rPr>
              <a:t>© АО «Издательство «Просвещение», 20</a:t>
            </a:r>
            <a:r>
              <a:rPr lang="en-US" sz="1200" dirty="0" smtClean="0">
                <a:solidFill>
                  <a:prstClr val="white">
                    <a:lumMod val="65000"/>
                  </a:prstClr>
                </a:solidFill>
                <a:latin typeface="Calibri"/>
              </a:rPr>
              <a:t>21</a:t>
            </a:r>
            <a:endParaRPr lang="ru-RU" sz="1200" dirty="0">
              <a:solidFill>
                <a:prstClr val="white">
                  <a:lumMod val="6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9162590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Прямоугольник 52"/>
          <p:cNvSpPr/>
          <p:nvPr/>
        </p:nvSpPr>
        <p:spPr>
          <a:xfrm>
            <a:off x="0" y="1029099"/>
            <a:ext cx="12192000" cy="3235205"/>
          </a:xfrm>
          <a:prstGeom prst="rect">
            <a:avLst/>
          </a:prstGeom>
          <a:solidFill>
            <a:srgbClr val="F0F8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grpSp>
        <p:nvGrpSpPr>
          <p:cNvPr id="4" name="Группа 3"/>
          <p:cNvGrpSpPr/>
          <p:nvPr/>
        </p:nvGrpSpPr>
        <p:grpSpPr>
          <a:xfrm>
            <a:off x="339553" y="260649"/>
            <a:ext cx="1268960" cy="438775"/>
            <a:chOff x="254665" y="195486"/>
            <a:chExt cx="951720" cy="329081"/>
          </a:xfrm>
        </p:grpSpPr>
        <p:sp>
          <p:nvSpPr>
            <p:cNvPr id="32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33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34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35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36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37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38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39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40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41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42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43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44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45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</p:grpSp>
      <p:cxnSp>
        <p:nvCxnSpPr>
          <p:cNvPr id="47" name="Прямая соединительная линия 46"/>
          <p:cNvCxnSpPr/>
          <p:nvPr/>
        </p:nvCxnSpPr>
        <p:spPr>
          <a:xfrm>
            <a:off x="1967541" y="0"/>
            <a:ext cx="0" cy="670171"/>
          </a:xfrm>
          <a:prstGeom prst="line">
            <a:avLst/>
          </a:prstGeom>
          <a:ln w="6350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29259" y="6432715"/>
            <a:ext cx="719403" cy="356659"/>
          </a:xfrm>
        </p:spPr>
        <p:txBody>
          <a:bodyPr/>
          <a:lstStyle/>
          <a:p>
            <a:fld id="{00000000-1234-1234-1234-123412341234}" type="slidenum">
              <a:rPr lang="en" sz="1600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</a:rPr>
              <a:pPr/>
              <a:t>27</a:t>
            </a:fld>
            <a:endParaRPr lang="en" sz="1600" dirty="0">
              <a:solidFill>
                <a:schemeClr val="tx1">
                  <a:lumMod val="75000"/>
                  <a:lumOff val="25000"/>
                </a:schemeClr>
              </a:solidFill>
              <a:latin typeface="Calibri" pitchFamily="34" charset="0"/>
            </a:endParaRPr>
          </a:p>
        </p:txBody>
      </p:sp>
      <p:sp>
        <p:nvSpPr>
          <p:cNvPr id="21" name="Прямоугольник 20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335360" y="6516869"/>
            <a:ext cx="3411921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914377">
              <a:defRPr/>
            </a:pPr>
            <a:r>
              <a:rPr lang="ru-RU" sz="1200" dirty="0">
                <a:solidFill>
                  <a:prstClr val="white">
                    <a:lumMod val="65000"/>
                  </a:prstClr>
                </a:solidFill>
                <a:latin typeface="Calibri"/>
              </a:rPr>
              <a:t>© АО «Издательство «Просвещение», 20</a:t>
            </a:r>
            <a:r>
              <a:rPr lang="en-US" sz="1200" dirty="0" smtClean="0">
                <a:solidFill>
                  <a:prstClr val="white">
                    <a:lumMod val="65000"/>
                  </a:prstClr>
                </a:solidFill>
                <a:latin typeface="Calibri"/>
              </a:rPr>
              <a:t>21</a:t>
            </a:r>
            <a:endParaRPr lang="ru-RU" sz="1200" dirty="0">
              <a:solidFill>
                <a:prstClr val="white">
                  <a:lumMod val="65000"/>
                </a:prstClr>
              </a:solidFill>
              <a:latin typeface="Calibri"/>
            </a:endParaRPr>
          </a:p>
        </p:txBody>
      </p:sp>
      <p:grpSp>
        <p:nvGrpSpPr>
          <p:cNvPr id="22" name="Группа 21"/>
          <p:cNvGrpSpPr/>
          <p:nvPr/>
        </p:nvGrpSpPr>
        <p:grpSpPr>
          <a:xfrm>
            <a:off x="202010" y="1097298"/>
            <a:ext cx="2949664" cy="2900162"/>
            <a:chOff x="76565" y="49867"/>
            <a:chExt cx="2397434" cy="2404613"/>
          </a:xfrm>
        </p:grpSpPr>
        <p:pic>
          <p:nvPicPr>
            <p:cNvPr id="23" name="Рисунок 22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6565" y="49867"/>
              <a:ext cx="1371235" cy="1881393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  <p:pic>
          <p:nvPicPr>
            <p:cNvPr id="24" name="Рисунок 23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68837" y="319963"/>
              <a:ext cx="1390855" cy="1881393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  <p:pic>
          <p:nvPicPr>
            <p:cNvPr id="25" name="Рисунок 24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78707" y="573087"/>
              <a:ext cx="1395292" cy="1881393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</p:grpSp>
      <p:sp>
        <p:nvSpPr>
          <p:cNvPr id="28" name="TextBox 27"/>
          <p:cNvSpPr txBox="1"/>
          <p:nvPr/>
        </p:nvSpPr>
        <p:spPr>
          <a:xfrm>
            <a:off x="4191112" y="4308465"/>
            <a:ext cx="4331537" cy="3277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ea typeface="Cambria" panose="02040503050406030204" pitchFamily="18" charset="0"/>
                <a:cs typeface="Open Sans Condensed" pitchFamily="34" charset="0"/>
              </a:rPr>
              <a:t>Состав УМК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ea typeface="Cambria" panose="02040503050406030204" pitchFamily="18" charset="0"/>
                <a:cs typeface="Open Sans Condensed" pitchFamily="34" charset="0"/>
              </a:rPr>
              <a:t>: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3239846" y="4636247"/>
            <a:ext cx="7358205" cy="15050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ea typeface="Cambria" panose="02040503050406030204" pitchFamily="18" charset="0"/>
                <a:cs typeface="Open Sans Condensed" pitchFamily="34" charset="0"/>
              </a:rPr>
              <a:t>Учебник </a:t>
            </a:r>
            <a:endParaRPr kumimoji="0" lang="ru-RU" sz="1800" b="0" i="0" u="none" strike="noStrike" kern="1200" cap="none" spc="0" normalizeH="0" baseline="0" noProof="0" dirty="0" smtClean="0">
              <a:ln>
                <a:noFill/>
              </a:ln>
              <a:solidFill>
                <a:srgbClr val="002060"/>
              </a:solidFill>
              <a:effectLst/>
              <a:uLnTx/>
              <a:uFillTx/>
              <a:ea typeface="Cambria" panose="02040503050406030204" pitchFamily="18" charset="0"/>
              <a:cs typeface="Open Sans Condensed" pitchFamily="34" charset="0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ea typeface="Cambria" panose="02040503050406030204" pitchFamily="18" charset="0"/>
                <a:cs typeface="Open Sans Condensed" pitchFamily="34" charset="0"/>
              </a:rPr>
              <a:t>Дидактические материалы </a:t>
            </a:r>
          </a:p>
          <a:p>
            <a:pPr marL="342900" marR="0" lvl="0" indent="-34290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ea typeface="Cambria" panose="02040503050406030204" pitchFamily="18" charset="0"/>
                <a:cs typeface="Open Sans Condensed" pitchFamily="34" charset="0"/>
              </a:rPr>
              <a:t>Рабочие 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ea typeface="Cambria" panose="02040503050406030204" pitchFamily="18" charset="0"/>
                <a:cs typeface="Open Sans Condensed" pitchFamily="34" charset="0"/>
              </a:rPr>
              <a:t>программы</a:t>
            </a:r>
          </a:p>
          <a:p>
            <a:pPr marL="342900" marR="0" lvl="0" indent="-34290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ea typeface="Cambria" panose="02040503050406030204" pitchFamily="18" charset="0"/>
                <a:cs typeface="Open Sans Condensed" pitchFamily="34" charset="0"/>
              </a:rPr>
              <a:t>Поурочные методические рекомендации</a:t>
            </a:r>
          </a:p>
          <a:p>
            <a:pPr marL="342900" marR="0" lvl="0" indent="-34290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ea typeface="Cambria" panose="02040503050406030204" pitchFamily="18" charset="0"/>
                <a:cs typeface="Open Sans Condensed" pitchFamily="34" charset="0"/>
              </a:rPr>
              <a:t>Технологические карты </a:t>
            </a: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ea typeface="Cambria" panose="02040503050406030204" pitchFamily="18" charset="0"/>
                <a:cs typeface="Open Sans Condensed" pitchFamily="34" charset="0"/>
              </a:rPr>
              <a:t>(</a:t>
            </a:r>
            <a:r>
              <a:rPr kumimoji="0" lang="en-US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ea typeface="Cambria" panose="02040503050406030204" pitchFamily="18" charset="0"/>
                <a:cs typeface="Open Sans Condensed" pitchFamily="34" charset="0"/>
              </a:rPr>
              <a:t>I </a:t>
            </a: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ea typeface="Cambria" panose="02040503050406030204" pitchFamily="18" charset="0"/>
                <a:cs typeface="Open Sans Condensed" pitchFamily="34" charset="0"/>
              </a:rPr>
              <a:t>квартал 2021)</a:t>
            </a: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ea typeface="Cambria" panose="02040503050406030204" pitchFamily="18" charset="0"/>
              <a:cs typeface="Open Sans Condensed" pitchFamily="34" charset="0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ea typeface="Cambria" panose="02040503050406030204" pitchFamily="18" charset="0"/>
                <a:cs typeface="Open Sans Condensed" pitchFamily="34" charset="0"/>
              </a:rPr>
              <a:t>Контрольно-измерительные 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ea typeface="Cambria" panose="02040503050406030204" pitchFamily="18" charset="0"/>
                <a:cs typeface="Open Sans Condensed" pitchFamily="34" charset="0"/>
              </a:rPr>
              <a:t>материалы (II квартал 2021)</a:t>
            </a:r>
          </a:p>
        </p:txBody>
      </p:sp>
      <p:pic>
        <p:nvPicPr>
          <p:cNvPr id="30" name="Рисунок 29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23143" y="5158321"/>
            <a:ext cx="462062" cy="216000"/>
          </a:xfrm>
          <a:prstGeom prst="rect">
            <a:avLst/>
          </a:prstGeom>
        </p:spPr>
      </p:pic>
      <p:pic>
        <p:nvPicPr>
          <p:cNvPr id="31" name="Рисунок 30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89691" y="5374321"/>
            <a:ext cx="504000" cy="235605"/>
          </a:xfrm>
          <a:prstGeom prst="rect">
            <a:avLst/>
          </a:prstGeom>
        </p:spPr>
      </p:pic>
      <p:pic>
        <p:nvPicPr>
          <p:cNvPr id="48" name="Рисунок 47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89691" y="5608543"/>
            <a:ext cx="504000" cy="235605"/>
          </a:xfrm>
          <a:prstGeom prst="rect">
            <a:avLst/>
          </a:prstGeom>
        </p:spPr>
      </p:pic>
      <p:sp>
        <p:nvSpPr>
          <p:cNvPr id="50" name="TextBox 49"/>
          <p:cNvSpPr txBox="1"/>
          <p:nvPr/>
        </p:nvSpPr>
        <p:spPr>
          <a:xfrm>
            <a:off x="3197285" y="1510776"/>
            <a:ext cx="8949103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lvl="0" indent="-342900">
              <a:lnSpc>
                <a:spcPct val="150000"/>
              </a:lnSpc>
              <a:buFont typeface="Wingdings" panose="05000000000000000000" pitchFamily="2" charset="2"/>
              <a:buChar char="ü"/>
              <a:defRPr/>
            </a:pPr>
            <a:r>
              <a:rPr lang="ru-RU" dirty="0" smtClean="0">
                <a:solidFill>
                  <a:srgbClr val="002060"/>
                </a:solidFill>
                <a:ea typeface="Cambria" panose="02040503050406030204" pitchFamily="18" charset="0"/>
                <a:cs typeface="Open Sans Condensed" pitchFamily="34" charset="0"/>
              </a:rPr>
              <a:t>Содержит систему заданий, помогающих формировать навыки </a:t>
            </a:r>
            <a:r>
              <a:rPr lang="en-US" dirty="0" smtClean="0">
                <a:solidFill>
                  <a:srgbClr val="002060"/>
                </a:solidFill>
                <a:ea typeface="Cambria" panose="02040503050406030204" pitchFamily="18" charset="0"/>
                <a:cs typeface="Open Sans Condensed" pitchFamily="34" charset="0"/>
              </a:rPr>
              <a:t>XXI </a:t>
            </a:r>
            <a:r>
              <a:rPr lang="ru-RU" dirty="0" smtClean="0">
                <a:solidFill>
                  <a:srgbClr val="002060"/>
                </a:solidFill>
                <a:ea typeface="Cambria" panose="02040503050406030204" pitchFamily="18" charset="0"/>
                <a:cs typeface="Open Sans Condensed" pitchFamily="34" charset="0"/>
              </a:rPr>
              <a:t>века</a:t>
            </a:r>
          </a:p>
          <a:p>
            <a:pPr marL="342900" lvl="0" indent="-342900">
              <a:lnSpc>
                <a:spcPct val="150000"/>
              </a:lnSpc>
              <a:buFont typeface="Wingdings" panose="05000000000000000000" pitchFamily="2" charset="2"/>
              <a:buChar char="ü"/>
              <a:defRPr/>
            </a:pPr>
            <a:r>
              <a:rPr lang="ru-RU" dirty="0" smtClean="0">
                <a:solidFill>
                  <a:srgbClr val="002060"/>
                </a:solidFill>
                <a:ea typeface="Cambria" panose="02040503050406030204" pitchFamily="18" charset="0"/>
                <a:cs typeface="Open Sans Condensed" pitchFamily="34" charset="0"/>
              </a:rPr>
              <a:t>Дидактика соответствует </a:t>
            </a:r>
            <a:r>
              <a:rPr lang="ru-RU" dirty="0">
                <a:solidFill>
                  <a:srgbClr val="002060"/>
                </a:solidFill>
                <a:ea typeface="Cambria" panose="02040503050406030204" pitchFamily="18" charset="0"/>
                <a:cs typeface="Open Sans Condensed" pitchFamily="34" charset="0"/>
              </a:rPr>
              <a:t>новой модели ОГЭ</a:t>
            </a:r>
            <a:endParaRPr lang="ru-RU" dirty="0" smtClean="0">
              <a:solidFill>
                <a:srgbClr val="002060"/>
              </a:solidFill>
              <a:ea typeface="Cambria" panose="02040503050406030204" pitchFamily="18" charset="0"/>
              <a:cs typeface="Open Sans Condensed" pitchFamily="34" charset="0"/>
            </a:endParaRPr>
          </a:p>
          <a:p>
            <a:pPr marL="342900" lvl="0" indent="-342900">
              <a:lnSpc>
                <a:spcPct val="150000"/>
              </a:lnSpc>
              <a:buFont typeface="Wingdings" panose="05000000000000000000" pitchFamily="2" charset="2"/>
              <a:buChar char="ü"/>
              <a:defRPr/>
            </a:pP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ea typeface="Cambria" panose="02040503050406030204" pitchFamily="18" charset="0"/>
                <a:cs typeface="Open Sans Condensed" pitchFamily="34" charset="0"/>
              </a:rPr>
              <a:t>Соблюдается преемственность между разделами физики</a:t>
            </a:r>
          </a:p>
          <a:p>
            <a:pPr marL="342900" lvl="0" indent="-342900">
              <a:lnSpc>
                <a:spcPct val="150000"/>
              </a:lnSpc>
              <a:buFont typeface="Wingdings" panose="05000000000000000000" pitchFamily="2" charset="2"/>
              <a:buChar char="ü"/>
              <a:defRPr/>
            </a:pPr>
            <a:r>
              <a:rPr lang="ru-RU" dirty="0" smtClean="0">
                <a:solidFill>
                  <a:srgbClr val="002060"/>
                </a:solidFill>
                <a:ea typeface="Cambria" panose="02040503050406030204" pitchFamily="18" charset="0"/>
                <a:cs typeface="Open Sans Condensed" pitchFamily="34" charset="0"/>
              </a:rPr>
              <a:t>Использование современных </a:t>
            </a:r>
            <a:r>
              <a:rPr lang="ru-RU" dirty="0">
                <a:solidFill>
                  <a:srgbClr val="002060"/>
                </a:solidFill>
                <a:ea typeface="Cambria" panose="02040503050406030204" pitchFamily="18" charset="0"/>
                <a:cs typeface="Open Sans Condensed" pitchFamily="34" charset="0"/>
              </a:rPr>
              <a:t>научных тенденций </a:t>
            </a:r>
            <a:r>
              <a:rPr lang="ru-RU" dirty="0" smtClean="0">
                <a:solidFill>
                  <a:srgbClr val="002060"/>
                </a:solidFill>
                <a:ea typeface="Cambria" panose="02040503050406030204" pitchFamily="18" charset="0"/>
                <a:cs typeface="Open Sans Condensed" pitchFamily="34" charset="0"/>
              </a:rPr>
              <a:t>при </a:t>
            </a:r>
            <a:r>
              <a:rPr lang="ru-RU" dirty="0">
                <a:solidFill>
                  <a:srgbClr val="002060"/>
                </a:solidFill>
                <a:ea typeface="Cambria" panose="02040503050406030204" pitchFamily="18" charset="0"/>
                <a:cs typeface="Open Sans Condensed" pitchFamily="34" charset="0"/>
              </a:rPr>
              <a:t>изложении материала</a:t>
            </a:r>
            <a:endParaRPr kumimoji="0" lang="en-US" sz="1800" b="0" i="0" u="none" strike="noStrike" kern="1200" cap="none" spc="0" normalizeH="0" baseline="0" noProof="0" dirty="0" smtClean="0">
              <a:ln>
                <a:noFill/>
              </a:ln>
              <a:solidFill>
                <a:srgbClr val="002060"/>
              </a:solidFill>
              <a:effectLst/>
              <a:uLnTx/>
              <a:uFillTx/>
              <a:ea typeface="Cambria" panose="02040503050406030204" pitchFamily="18" charset="0"/>
              <a:cs typeface="Open Sans Condensed" pitchFamily="34" charset="0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ea typeface="Cambria" panose="02040503050406030204" pitchFamily="18" charset="0"/>
                <a:cs typeface="Open Sans Condensed" pitchFamily="34" charset="0"/>
              </a:rPr>
              <a:t>Преемственность с классическими линиями в средней школе: </a:t>
            </a:r>
            <a:r>
              <a:rPr kumimoji="0" lang="ru-RU" sz="18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ea typeface="Cambria" panose="02040503050406030204" pitchFamily="18" charset="0"/>
                <a:cs typeface="Open Sans Condensed" pitchFamily="34" charset="0"/>
              </a:rPr>
              <a:t>Б.Б.Буховцева</a:t>
            </a: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ea typeface="Cambria" panose="02040503050406030204" pitchFamily="18" charset="0"/>
                <a:cs typeface="Open Sans Condensed" pitchFamily="34" charset="0"/>
              </a:rPr>
              <a:t>, Г.Я. Мякишева/ Г.Я.</a:t>
            </a:r>
            <a:r>
              <a:rPr kumimoji="0" lang="ru-RU" sz="1800" b="0" i="0" u="none" strike="noStrike" kern="1200" cap="none" spc="0" normalizeH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ea typeface="Cambria" panose="02040503050406030204" pitchFamily="18" charset="0"/>
                <a:cs typeface="Open Sans Condensed" pitchFamily="34" charset="0"/>
              </a:rPr>
              <a:t> Мякишева, М.А. Петровой</a:t>
            </a: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ea typeface="Cambria" panose="02040503050406030204" pitchFamily="18" charset="0"/>
              <a:cs typeface="Open Sans Condensed" pitchFamily="34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2142105" y="95067"/>
            <a:ext cx="711791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000" b="1" dirty="0" smtClean="0">
                <a:solidFill>
                  <a:srgbClr val="002060"/>
                </a:solidFill>
              </a:rPr>
              <a:t>Линия УМК </a:t>
            </a:r>
            <a:r>
              <a:rPr lang="ru-RU" sz="2000" b="1" dirty="0" smtClean="0">
                <a:solidFill>
                  <a:srgbClr val="FF0000"/>
                </a:solidFill>
              </a:rPr>
              <a:t>«Классический курс» С.В. Громова, Н.А. Родиной</a:t>
            </a:r>
            <a:endParaRPr lang="ru-RU" sz="2000" b="1" dirty="0">
              <a:solidFill>
                <a:srgbClr val="FF0000"/>
              </a:solidFill>
            </a:endParaRPr>
          </a:p>
        </p:txBody>
      </p:sp>
      <p:sp>
        <p:nvSpPr>
          <p:cNvPr id="52" name="TextBox 51"/>
          <p:cNvSpPr txBox="1"/>
          <p:nvPr/>
        </p:nvSpPr>
        <p:spPr>
          <a:xfrm>
            <a:off x="666892" y="4704519"/>
            <a:ext cx="1561571" cy="9294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ea typeface="Cambria" panose="02040503050406030204" pitchFamily="18" charset="0"/>
                <a:cs typeface="Open Sans Condensed" pitchFamily="34" charset="0"/>
              </a:rPr>
              <a:t>В ФПУ</a:t>
            </a:r>
          </a:p>
          <a:p>
            <a:pPr marL="0" marR="0" lvl="0" indent="0" algn="ctr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ea typeface="Cambria" panose="02040503050406030204" pitchFamily="18" charset="0"/>
                <a:cs typeface="Open Sans Condensed" pitchFamily="34" charset="0"/>
              </a:rPr>
              <a:t>1.1.2.5.1.4.1</a:t>
            </a: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ea typeface="Cambria" panose="02040503050406030204" pitchFamily="18" charset="0"/>
              <a:cs typeface="Open Sans Condensed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600" dirty="0" smtClean="0">
                <a:solidFill>
                  <a:srgbClr val="002060"/>
                </a:solidFill>
                <a:ea typeface="Cambria" panose="02040503050406030204" pitchFamily="18" charset="0"/>
                <a:cs typeface="Open Sans Condensed" pitchFamily="34" charset="0"/>
              </a:rPr>
              <a:t>1.</a:t>
            </a: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ea typeface="Cambria" panose="02040503050406030204" pitchFamily="18" charset="0"/>
                <a:cs typeface="Open Sans Condensed" pitchFamily="34" charset="0"/>
              </a:rPr>
              <a:t>1.2.5.1.4.2</a:t>
            </a: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ea typeface="Cambria" panose="02040503050406030204" pitchFamily="18" charset="0"/>
              <a:cs typeface="Open Sans Condensed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ea typeface="Cambria" panose="02040503050406030204" pitchFamily="18" charset="0"/>
                <a:cs typeface="Open Sans Condensed" pitchFamily="34" charset="0"/>
              </a:rPr>
              <a:t>1.1.2.5.1.4.3</a:t>
            </a: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ea typeface="Cambria" panose="02040503050406030204" pitchFamily="18" charset="0"/>
              <a:cs typeface="Open Sans Condensed" pitchFamily="34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5086383" y="1174609"/>
            <a:ext cx="462357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 smtClean="0">
                <a:solidFill>
                  <a:srgbClr val="FF0000"/>
                </a:solidFill>
              </a:rPr>
              <a:t>Современный классический курс по физике</a:t>
            </a:r>
            <a:endParaRPr lang="ru-RU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024516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Прямоугольник 52"/>
          <p:cNvSpPr/>
          <p:nvPr/>
        </p:nvSpPr>
        <p:spPr>
          <a:xfrm>
            <a:off x="0" y="1029099"/>
            <a:ext cx="12192000" cy="3235205"/>
          </a:xfrm>
          <a:prstGeom prst="rect">
            <a:avLst/>
          </a:prstGeom>
          <a:solidFill>
            <a:srgbClr val="F0F8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grpSp>
        <p:nvGrpSpPr>
          <p:cNvPr id="4" name="Группа 3"/>
          <p:cNvGrpSpPr/>
          <p:nvPr/>
        </p:nvGrpSpPr>
        <p:grpSpPr>
          <a:xfrm>
            <a:off x="339553" y="260649"/>
            <a:ext cx="1268960" cy="438775"/>
            <a:chOff x="254665" y="195486"/>
            <a:chExt cx="951720" cy="329081"/>
          </a:xfrm>
        </p:grpSpPr>
        <p:sp>
          <p:nvSpPr>
            <p:cNvPr id="32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33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34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35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36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37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38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39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40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41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42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43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44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45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</p:grpSp>
      <p:cxnSp>
        <p:nvCxnSpPr>
          <p:cNvPr id="47" name="Прямая соединительная линия 46"/>
          <p:cNvCxnSpPr/>
          <p:nvPr/>
        </p:nvCxnSpPr>
        <p:spPr>
          <a:xfrm>
            <a:off x="1967541" y="0"/>
            <a:ext cx="0" cy="670171"/>
          </a:xfrm>
          <a:prstGeom prst="line">
            <a:avLst/>
          </a:prstGeom>
          <a:ln w="6350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29259" y="6432715"/>
            <a:ext cx="719403" cy="356659"/>
          </a:xfrm>
        </p:spPr>
        <p:txBody>
          <a:bodyPr/>
          <a:lstStyle/>
          <a:p>
            <a:fld id="{00000000-1234-1234-1234-123412341234}" type="slidenum">
              <a:rPr lang="en" sz="1600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</a:rPr>
              <a:pPr/>
              <a:t>28</a:t>
            </a:fld>
            <a:endParaRPr lang="en" sz="1600" dirty="0">
              <a:solidFill>
                <a:schemeClr val="tx1">
                  <a:lumMod val="75000"/>
                  <a:lumOff val="25000"/>
                </a:schemeClr>
              </a:solidFill>
              <a:latin typeface="Calibri" pitchFamily="34" charset="0"/>
            </a:endParaRPr>
          </a:p>
        </p:txBody>
      </p:sp>
      <p:sp>
        <p:nvSpPr>
          <p:cNvPr id="21" name="Прямоугольник 20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335360" y="6516869"/>
            <a:ext cx="3411921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914377">
              <a:defRPr/>
            </a:pPr>
            <a:r>
              <a:rPr lang="ru-RU" sz="1200" dirty="0">
                <a:solidFill>
                  <a:prstClr val="white">
                    <a:lumMod val="65000"/>
                  </a:prstClr>
                </a:solidFill>
                <a:latin typeface="Calibri"/>
              </a:rPr>
              <a:t>© АО «Издательство «Просвещение», 20</a:t>
            </a:r>
            <a:r>
              <a:rPr lang="en-US" sz="1200" dirty="0" smtClean="0">
                <a:solidFill>
                  <a:prstClr val="white">
                    <a:lumMod val="65000"/>
                  </a:prstClr>
                </a:solidFill>
                <a:latin typeface="Calibri"/>
              </a:rPr>
              <a:t>21</a:t>
            </a:r>
            <a:endParaRPr lang="ru-RU" sz="1200" dirty="0">
              <a:solidFill>
                <a:prstClr val="white">
                  <a:lumMod val="65000"/>
                </a:prstClr>
              </a:solidFill>
              <a:latin typeface="Calibri"/>
            </a:endParaRPr>
          </a:p>
        </p:txBody>
      </p:sp>
      <p:grpSp>
        <p:nvGrpSpPr>
          <p:cNvPr id="22" name="Группа 21"/>
          <p:cNvGrpSpPr/>
          <p:nvPr/>
        </p:nvGrpSpPr>
        <p:grpSpPr>
          <a:xfrm>
            <a:off x="202010" y="1097298"/>
            <a:ext cx="2949664" cy="2900162"/>
            <a:chOff x="76565" y="49867"/>
            <a:chExt cx="2397434" cy="2404613"/>
          </a:xfrm>
        </p:grpSpPr>
        <p:pic>
          <p:nvPicPr>
            <p:cNvPr id="23" name="Рисунок 22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6565" y="49867"/>
              <a:ext cx="1371235" cy="1881393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  <p:pic>
          <p:nvPicPr>
            <p:cNvPr id="24" name="Рисунок 23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68837" y="319963"/>
              <a:ext cx="1390855" cy="1881393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  <p:pic>
          <p:nvPicPr>
            <p:cNvPr id="25" name="Рисунок 24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78707" y="573087"/>
              <a:ext cx="1395292" cy="1881393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</p:grpSp>
      <p:sp>
        <p:nvSpPr>
          <p:cNvPr id="3" name="TextBox 2"/>
          <p:cNvSpPr txBox="1"/>
          <p:nvPr/>
        </p:nvSpPr>
        <p:spPr>
          <a:xfrm>
            <a:off x="2142105" y="95067"/>
            <a:ext cx="711791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000" b="1" dirty="0" smtClean="0">
                <a:solidFill>
                  <a:srgbClr val="002060"/>
                </a:solidFill>
              </a:rPr>
              <a:t>Линия УМК </a:t>
            </a:r>
            <a:r>
              <a:rPr lang="ru-RU" sz="2000" b="1" dirty="0" smtClean="0">
                <a:solidFill>
                  <a:srgbClr val="FF0000"/>
                </a:solidFill>
              </a:rPr>
              <a:t>«Классический курс» С.В. Громова, Н.А. Родиной</a:t>
            </a:r>
            <a:endParaRPr lang="ru-RU" sz="2000" b="1" dirty="0">
              <a:solidFill>
                <a:srgbClr val="FF0000"/>
              </a:solidFill>
            </a:endParaRPr>
          </a:p>
        </p:txBody>
      </p:sp>
      <p:sp>
        <p:nvSpPr>
          <p:cNvPr id="52" name="TextBox 51"/>
          <p:cNvSpPr txBox="1"/>
          <p:nvPr/>
        </p:nvSpPr>
        <p:spPr>
          <a:xfrm>
            <a:off x="666892" y="4704519"/>
            <a:ext cx="1561571" cy="9294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ea typeface="Cambria" panose="02040503050406030204" pitchFamily="18" charset="0"/>
                <a:cs typeface="Open Sans Condensed" pitchFamily="34" charset="0"/>
              </a:rPr>
              <a:t>В ФПУ</a:t>
            </a:r>
          </a:p>
          <a:p>
            <a:pPr marL="0" marR="0" lvl="0" indent="0" algn="ctr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ea typeface="Cambria" panose="02040503050406030204" pitchFamily="18" charset="0"/>
                <a:cs typeface="Open Sans Condensed" pitchFamily="34" charset="0"/>
              </a:rPr>
              <a:t>1.1.2.5.1.4.1</a:t>
            </a: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ea typeface="Cambria" panose="02040503050406030204" pitchFamily="18" charset="0"/>
              <a:cs typeface="Open Sans Condensed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600" dirty="0" smtClean="0">
                <a:solidFill>
                  <a:srgbClr val="002060"/>
                </a:solidFill>
                <a:ea typeface="Cambria" panose="02040503050406030204" pitchFamily="18" charset="0"/>
                <a:cs typeface="Open Sans Condensed" pitchFamily="34" charset="0"/>
              </a:rPr>
              <a:t>1.</a:t>
            </a: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ea typeface="Cambria" panose="02040503050406030204" pitchFamily="18" charset="0"/>
                <a:cs typeface="Open Sans Condensed" pitchFamily="34" charset="0"/>
              </a:rPr>
              <a:t>1.2.5.1.4.2</a:t>
            </a: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ea typeface="Cambria" panose="02040503050406030204" pitchFamily="18" charset="0"/>
              <a:cs typeface="Open Sans Condensed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ea typeface="Cambria" panose="02040503050406030204" pitchFamily="18" charset="0"/>
                <a:cs typeface="Open Sans Condensed" pitchFamily="34" charset="0"/>
              </a:rPr>
              <a:t>1.1.2.5.1.4.3</a:t>
            </a: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ea typeface="Cambria" panose="02040503050406030204" pitchFamily="18" charset="0"/>
              <a:cs typeface="Open Sans Condensed" pitchFamily="34" charset="0"/>
            </a:endParaRP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10032" y="1210050"/>
            <a:ext cx="3969213" cy="2594873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7" name="TextBox 6"/>
          <p:cNvSpPr txBox="1"/>
          <p:nvPr/>
        </p:nvSpPr>
        <p:spPr>
          <a:xfrm>
            <a:off x="7168344" y="1101109"/>
            <a:ext cx="502060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 smtClean="0">
                <a:solidFill>
                  <a:srgbClr val="002060"/>
                </a:solidFill>
              </a:rPr>
              <a:t>Учебник прошёл </a:t>
            </a:r>
            <a:r>
              <a:rPr lang="ru-RU" b="1" dirty="0" err="1" smtClean="0">
                <a:solidFill>
                  <a:srgbClr val="002060"/>
                </a:solidFill>
              </a:rPr>
              <a:t>аппробацию</a:t>
            </a:r>
            <a:r>
              <a:rPr lang="ru-RU" b="1" dirty="0" smtClean="0">
                <a:solidFill>
                  <a:srgbClr val="002060"/>
                </a:solidFill>
              </a:rPr>
              <a:t> в 10 регионах РФ: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7279245" y="1612087"/>
            <a:ext cx="2362185" cy="16312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Courier New" panose="02070309020205020404" pitchFamily="49" charset="0"/>
              <a:buChar char="o"/>
            </a:pPr>
            <a:r>
              <a:rPr lang="ru-RU" sz="1600" dirty="0" smtClean="0">
                <a:solidFill>
                  <a:srgbClr val="002060"/>
                </a:solidFill>
              </a:rPr>
              <a:t>Москва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ru-RU" sz="1600" dirty="0" smtClean="0">
                <a:solidFill>
                  <a:srgbClr val="002060"/>
                </a:solidFill>
              </a:rPr>
              <a:t>Московская область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ru-RU" sz="1600" dirty="0" smtClean="0">
                <a:solidFill>
                  <a:srgbClr val="002060"/>
                </a:solidFill>
              </a:rPr>
              <a:t>Иркутская область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ru-RU" sz="1600" dirty="0" smtClean="0">
                <a:solidFill>
                  <a:srgbClr val="002060"/>
                </a:solidFill>
              </a:rPr>
              <a:t>Республика Татарстан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ru-RU" sz="1600" dirty="0" smtClean="0">
                <a:solidFill>
                  <a:srgbClr val="002060"/>
                </a:solidFill>
              </a:rPr>
              <a:t>Алтайский край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endParaRPr lang="ru-RU" sz="1600" dirty="0">
              <a:solidFill>
                <a:srgbClr val="002060"/>
              </a:solidFill>
            </a:endParaRPr>
          </a:p>
        </p:txBody>
      </p:sp>
      <p:sp>
        <p:nvSpPr>
          <p:cNvPr id="49" name="TextBox 48"/>
          <p:cNvSpPr txBox="1"/>
          <p:nvPr/>
        </p:nvSpPr>
        <p:spPr>
          <a:xfrm>
            <a:off x="9544640" y="1610540"/>
            <a:ext cx="2552302" cy="156966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Courier New" panose="02070309020205020404" pitchFamily="49" charset="0"/>
              <a:buChar char="o"/>
            </a:pPr>
            <a:r>
              <a:rPr lang="ru-RU" sz="1600" dirty="0" smtClean="0">
                <a:solidFill>
                  <a:srgbClr val="002060"/>
                </a:solidFill>
              </a:rPr>
              <a:t>Санкт-Петербург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ru-RU" sz="1600" dirty="0" smtClean="0">
                <a:solidFill>
                  <a:srgbClr val="002060"/>
                </a:solidFill>
              </a:rPr>
              <a:t>Ленинградская область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ru-RU" sz="1600" dirty="0" smtClean="0">
                <a:solidFill>
                  <a:srgbClr val="002060"/>
                </a:solidFill>
              </a:rPr>
              <a:t>Хабаровский край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ru-RU" sz="1600" dirty="0" smtClean="0">
                <a:solidFill>
                  <a:srgbClr val="002060"/>
                </a:solidFill>
              </a:rPr>
              <a:t>Саратовская область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ru-RU" sz="1600" dirty="0" smtClean="0">
                <a:solidFill>
                  <a:srgbClr val="002060"/>
                </a:solidFill>
              </a:rPr>
              <a:t>Нижегородская область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endParaRPr lang="ru-RU" sz="1600" dirty="0">
              <a:solidFill>
                <a:srgbClr val="002060"/>
              </a:solidFill>
            </a:endParaRPr>
          </a:p>
        </p:txBody>
      </p:sp>
      <p:sp>
        <p:nvSpPr>
          <p:cNvPr id="9" name="Скругленный прямоугольник 8"/>
          <p:cNvSpPr/>
          <p:nvPr/>
        </p:nvSpPr>
        <p:spPr>
          <a:xfrm>
            <a:off x="2293331" y="4086128"/>
            <a:ext cx="4399472" cy="1181820"/>
          </a:xfrm>
          <a:prstGeom prst="roundRect">
            <a:avLst>
              <a:gd name="adj" fmla="val 10432"/>
            </a:avLst>
          </a:prstGeom>
          <a:solidFill>
            <a:schemeClr val="bg1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i="1" dirty="0" smtClean="0">
                <a:solidFill>
                  <a:srgbClr val="002060"/>
                </a:solidFill>
              </a:rPr>
              <a:t>«Учебник С.В. Громова и Н.А. Родиной легче к восприятию учениками нежели другие учебные линии. Очень понравилось разнообразие методических материалов в самом учебнике, а также соответствие привычному курсу преподавания.»</a:t>
            </a:r>
          </a:p>
          <a:p>
            <a:pPr algn="r"/>
            <a:r>
              <a:rPr lang="ru-RU" sz="1200" b="1" dirty="0" smtClean="0">
                <a:solidFill>
                  <a:srgbClr val="002060"/>
                </a:solidFill>
              </a:rPr>
              <a:t>Ю.А. </a:t>
            </a:r>
            <a:r>
              <a:rPr lang="ru-RU" sz="1200" b="1" dirty="0" err="1" smtClean="0">
                <a:solidFill>
                  <a:srgbClr val="002060"/>
                </a:solidFill>
              </a:rPr>
              <a:t>Тютрина</a:t>
            </a:r>
            <a:r>
              <a:rPr lang="ru-RU" sz="1200" b="1" dirty="0" smtClean="0">
                <a:solidFill>
                  <a:srgbClr val="002060"/>
                </a:solidFill>
              </a:rPr>
              <a:t>, учитель высшей </a:t>
            </a:r>
            <a:r>
              <a:rPr lang="ru-RU" sz="1200" b="1" dirty="0" err="1" smtClean="0">
                <a:solidFill>
                  <a:srgbClr val="002060"/>
                </a:solidFill>
              </a:rPr>
              <a:t>кв.кат</a:t>
            </a:r>
            <a:r>
              <a:rPr lang="ru-RU" sz="1200" b="1" dirty="0" smtClean="0">
                <a:solidFill>
                  <a:srgbClr val="002060"/>
                </a:solidFill>
              </a:rPr>
              <a:t> г. Иркутск</a:t>
            </a:r>
            <a:endParaRPr lang="ru-RU" sz="1200" b="1" dirty="0">
              <a:solidFill>
                <a:srgbClr val="002060"/>
              </a:solidFill>
            </a:endParaRPr>
          </a:p>
        </p:txBody>
      </p:sp>
      <p:sp>
        <p:nvSpPr>
          <p:cNvPr id="54" name="Скругленный прямоугольник 53"/>
          <p:cNvSpPr/>
          <p:nvPr/>
        </p:nvSpPr>
        <p:spPr>
          <a:xfrm>
            <a:off x="7242664" y="4086128"/>
            <a:ext cx="4558271" cy="1181820"/>
          </a:xfrm>
          <a:prstGeom prst="roundRect">
            <a:avLst>
              <a:gd name="adj" fmla="val 10432"/>
            </a:avLst>
          </a:prstGeom>
          <a:solidFill>
            <a:schemeClr val="bg1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i="1" dirty="0" smtClean="0">
                <a:solidFill>
                  <a:srgbClr val="002060"/>
                </a:solidFill>
              </a:rPr>
              <a:t>«Очень понравилось работать по данному учебнику, благодаря грамотному изложению материала и системе заданий, можно готовить учеников к ВПР и ОГЭ, при этом не отвлекая детей от главной цели – понять физику!»</a:t>
            </a:r>
          </a:p>
          <a:p>
            <a:pPr algn="r"/>
            <a:r>
              <a:rPr lang="ru-RU" sz="1200" b="1" dirty="0" smtClean="0">
                <a:solidFill>
                  <a:srgbClr val="002060"/>
                </a:solidFill>
              </a:rPr>
              <a:t>В.Г. Степанова, учитель высшей </a:t>
            </a:r>
            <a:r>
              <a:rPr lang="ru-RU" sz="1200" b="1" dirty="0" err="1" smtClean="0">
                <a:solidFill>
                  <a:srgbClr val="002060"/>
                </a:solidFill>
              </a:rPr>
              <a:t>кв.кат</a:t>
            </a:r>
            <a:r>
              <a:rPr lang="ru-RU" sz="1200" b="1" dirty="0" smtClean="0">
                <a:solidFill>
                  <a:srgbClr val="002060"/>
                </a:solidFill>
              </a:rPr>
              <a:t> г. Комсомольск-на-Амуре</a:t>
            </a:r>
            <a:endParaRPr lang="ru-RU" sz="1200" b="1" dirty="0">
              <a:solidFill>
                <a:srgbClr val="002060"/>
              </a:solidFill>
            </a:endParaRPr>
          </a:p>
        </p:txBody>
      </p:sp>
      <p:sp>
        <p:nvSpPr>
          <p:cNvPr id="55" name="Скругленный прямоугольник 54"/>
          <p:cNvSpPr/>
          <p:nvPr/>
        </p:nvSpPr>
        <p:spPr>
          <a:xfrm>
            <a:off x="4493067" y="5356616"/>
            <a:ext cx="4558271" cy="1181820"/>
          </a:xfrm>
          <a:prstGeom prst="roundRect">
            <a:avLst>
              <a:gd name="adj" fmla="val 10432"/>
            </a:avLst>
          </a:prstGeom>
          <a:solidFill>
            <a:schemeClr val="bg1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i="1" dirty="0" smtClean="0">
                <a:solidFill>
                  <a:srgbClr val="002060"/>
                </a:solidFill>
              </a:rPr>
              <a:t>«Великолепный учебник для преподавания физики в 7-9 классах. Система заданий, изложение материала, методический аппарат, а также методическое обеспечение позволяют достигнуть высоких результатов.»</a:t>
            </a:r>
          </a:p>
          <a:p>
            <a:pPr algn="r"/>
            <a:r>
              <a:rPr lang="ru-RU" sz="1200" b="1" dirty="0" smtClean="0">
                <a:solidFill>
                  <a:srgbClr val="002060"/>
                </a:solidFill>
              </a:rPr>
              <a:t>Е.В. </a:t>
            </a:r>
            <a:r>
              <a:rPr lang="ru-RU" sz="1200" b="1" dirty="0" err="1" smtClean="0">
                <a:solidFill>
                  <a:srgbClr val="002060"/>
                </a:solidFill>
              </a:rPr>
              <a:t>Хрисанфов</a:t>
            </a:r>
            <a:r>
              <a:rPr lang="ru-RU" sz="1200" b="1" dirty="0" smtClean="0">
                <a:solidFill>
                  <a:srgbClr val="002060"/>
                </a:solidFill>
              </a:rPr>
              <a:t>, учитель высшей </a:t>
            </a:r>
            <a:r>
              <a:rPr lang="ru-RU" sz="1200" b="1" dirty="0" err="1" smtClean="0">
                <a:solidFill>
                  <a:srgbClr val="002060"/>
                </a:solidFill>
              </a:rPr>
              <a:t>кв.кат</a:t>
            </a:r>
            <a:r>
              <a:rPr lang="ru-RU" sz="1200" b="1" dirty="0" smtClean="0">
                <a:solidFill>
                  <a:srgbClr val="002060"/>
                </a:solidFill>
              </a:rPr>
              <a:t> г. Москва</a:t>
            </a:r>
            <a:endParaRPr lang="ru-RU" sz="1200" b="1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98410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grpSp>
        <p:nvGrpSpPr>
          <p:cNvPr id="4" name="Группа 3"/>
          <p:cNvGrpSpPr/>
          <p:nvPr/>
        </p:nvGrpSpPr>
        <p:grpSpPr>
          <a:xfrm>
            <a:off x="339553" y="260649"/>
            <a:ext cx="1268960" cy="438775"/>
            <a:chOff x="254665" y="195486"/>
            <a:chExt cx="951720" cy="329081"/>
          </a:xfrm>
        </p:grpSpPr>
        <p:sp>
          <p:nvSpPr>
            <p:cNvPr id="32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33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34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35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36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37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38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39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40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41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42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43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44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45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</p:grpSp>
      <p:cxnSp>
        <p:nvCxnSpPr>
          <p:cNvPr id="47" name="Прямая соединительная линия 46"/>
          <p:cNvCxnSpPr/>
          <p:nvPr/>
        </p:nvCxnSpPr>
        <p:spPr>
          <a:xfrm>
            <a:off x="1967541" y="0"/>
            <a:ext cx="0" cy="670171"/>
          </a:xfrm>
          <a:prstGeom prst="line">
            <a:avLst/>
          </a:prstGeom>
          <a:ln w="6350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29259" y="6432715"/>
            <a:ext cx="719403" cy="356659"/>
          </a:xfrm>
        </p:spPr>
        <p:txBody>
          <a:bodyPr/>
          <a:lstStyle/>
          <a:p>
            <a:fld id="{00000000-1234-1234-1234-123412341234}" type="slidenum">
              <a:rPr lang="en" sz="1600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</a:rPr>
              <a:pPr/>
              <a:t>29</a:t>
            </a:fld>
            <a:endParaRPr lang="en" sz="1600" dirty="0">
              <a:solidFill>
                <a:schemeClr val="tx1">
                  <a:lumMod val="75000"/>
                  <a:lumOff val="25000"/>
                </a:schemeClr>
              </a:solidFill>
              <a:latin typeface="Calibri" pitchFamily="34" charset="0"/>
            </a:endParaRPr>
          </a:p>
        </p:txBody>
      </p:sp>
      <p:sp>
        <p:nvSpPr>
          <p:cNvPr id="21" name="Прямоугольник 20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335360" y="6516869"/>
            <a:ext cx="3411921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914377">
              <a:defRPr/>
            </a:pPr>
            <a:r>
              <a:rPr lang="ru-RU" sz="1200" dirty="0">
                <a:solidFill>
                  <a:prstClr val="white">
                    <a:lumMod val="65000"/>
                  </a:prstClr>
                </a:solidFill>
                <a:latin typeface="Calibri"/>
              </a:rPr>
              <a:t>© АО «Издательство «Просвещение», 20</a:t>
            </a:r>
            <a:r>
              <a:rPr lang="en-US" sz="1200" dirty="0" smtClean="0">
                <a:solidFill>
                  <a:prstClr val="white">
                    <a:lumMod val="65000"/>
                  </a:prstClr>
                </a:solidFill>
                <a:latin typeface="Calibri"/>
              </a:rPr>
              <a:t>21</a:t>
            </a:r>
            <a:endParaRPr lang="ru-RU" sz="1200" dirty="0">
              <a:solidFill>
                <a:prstClr val="white">
                  <a:lumMod val="65000"/>
                </a:prstClr>
              </a:solidFill>
              <a:latin typeface="Calibri"/>
            </a:endParaRPr>
          </a:p>
        </p:txBody>
      </p:sp>
      <p:pic>
        <p:nvPicPr>
          <p:cNvPr id="22" name="Рисунок 2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0922" y="880923"/>
            <a:ext cx="1686551" cy="2289312"/>
          </a:xfrm>
          <a:prstGeom prst="rect">
            <a:avLst/>
          </a:prstGeom>
          <a:ln>
            <a:noFill/>
          </a:ln>
          <a:effectLst/>
        </p:spPr>
      </p:pic>
      <p:sp>
        <p:nvSpPr>
          <p:cNvPr id="23" name="TextBox 22"/>
          <p:cNvSpPr txBox="1"/>
          <p:nvPr/>
        </p:nvSpPr>
        <p:spPr>
          <a:xfrm>
            <a:off x="4452568" y="237760"/>
            <a:ext cx="213789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ea typeface="Cambria" panose="02040503050406030204" pitchFamily="18" charset="0"/>
                <a:cs typeface="+mn-cs"/>
              </a:rPr>
              <a:t>СОДЕРЖАНИЕ:</a:t>
            </a:r>
            <a:endParaRPr kumimoji="0" lang="ru-RU" sz="24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ea typeface="Cambria" panose="02040503050406030204" pitchFamily="18" charset="0"/>
              <a:cs typeface="+mn-cs"/>
            </a:endParaRPr>
          </a:p>
        </p:txBody>
      </p:sp>
      <p:pic>
        <p:nvPicPr>
          <p:cNvPr id="24" name="Рисунок 2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860351" y="699424"/>
            <a:ext cx="4039579" cy="5574373"/>
          </a:xfrm>
          <a:prstGeom prst="rect">
            <a:avLst/>
          </a:prstGeom>
        </p:spPr>
      </p:pic>
      <p:pic>
        <p:nvPicPr>
          <p:cNvPr id="25" name="Рисунок 2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089900" y="699424"/>
            <a:ext cx="4032386" cy="5509717"/>
          </a:xfrm>
          <a:prstGeom prst="rect">
            <a:avLst/>
          </a:prstGeom>
        </p:spPr>
      </p:pic>
      <p:cxnSp>
        <p:nvCxnSpPr>
          <p:cNvPr id="26" name="Прямая соединительная линия 25"/>
          <p:cNvCxnSpPr/>
          <p:nvPr/>
        </p:nvCxnSpPr>
        <p:spPr>
          <a:xfrm flipH="1">
            <a:off x="2668076" y="3127471"/>
            <a:ext cx="0" cy="3113997"/>
          </a:xfrm>
          <a:prstGeom prst="line">
            <a:avLst/>
          </a:prstGeom>
          <a:ln w="571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27" name="TextBox 26"/>
          <p:cNvSpPr txBox="1"/>
          <p:nvPr/>
        </p:nvSpPr>
        <p:spPr>
          <a:xfrm rot="16200000">
            <a:off x="1323351" y="4499803"/>
            <a:ext cx="18288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mbria" panose="02040503050406030204" pitchFamily="18" charset="0"/>
                <a:ea typeface="Cambria" panose="02040503050406030204" pitchFamily="18" charset="0"/>
                <a:cs typeface="+mn-cs"/>
              </a:rPr>
              <a:t>«Механика»</a:t>
            </a: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mbria" panose="02040503050406030204" pitchFamily="18" charset="0"/>
              <a:ea typeface="Cambria" panose="02040503050406030204" pitchFamily="18" charset="0"/>
              <a:cs typeface="+mn-cs"/>
            </a:endParaRPr>
          </a:p>
        </p:txBody>
      </p:sp>
      <p:cxnSp>
        <p:nvCxnSpPr>
          <p:cNvPr id="28" name="Прямая соединительная линия 27"/>
          <p:cNvCxnSpPr/>
          <p:nvPr/>
        </p:nvCxnSpPr>
        <p:spPr>
          <a:xfrm flipH="1">
            <a:off x="11122286" y="699424"/>
            <a:ext cx="0" cy="1181069"/>
          </a:xfrm>
          <a:prstGeom prst="line">
            <a:avLst/>
          </a:prstGeom>
          <a:ln w="5715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29" name="TextBox 28"/>
          <p:cNvSpPr txBox="1"/>
          <p:nvPr/>
        </p:nvSpPr>
        <p:spPr>
          <a:xfrm rot="5400000">
            <a:off x="10270123" y="3633752"/>
            <a:ext cx="258268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mbria" panose="02040503050406030204" pitchFamily="18" charset="0"/>
                <a:ea typeface="Cambria" panose="02040503050406030204" pitchFamily="18" charset="0"/>
                <a:cs typeface="+mn-cs"/>
              </a:rPr>
              <a:t>«Гидростатика»</a:t>
            </a: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mbria" panose="02040503050406030204" pitchFamily="18" charset="0"/>
              <a:ea typeface="Cambria" panose="02040503050406030204" pitchFamily="18" charset="0"/>
              <a:cs typeface="+mn-cs"/>
            </a:endParaRPr>
          </a:p>
        </p:txBody>
      </p:sp>
      <p:cxnSp>
        <p:nvCxnSpPr>
          <p:cNvPr id="30" name="Прямая соединительная линия 29"/>
          <p:cNvCxnSpPr/>
          <p:nvPr/>
        </p:nvCxnSpPr>
        <p:spPr>
          <a:xfrm>
            <a:off x="11122286" y="1977148"/>
            <a:ext cx="0" cy="3274342"/>
          </a:xfrm>
          <a:prstGeom prst="line">
            <a:avLst/>
          </a:prstGeom>
          <a:ln w="57150"/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83947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48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cxnSp>
        <p:nvCxnSpPr>
          <p:cNvPr id="68" name="Прямая соединительная линия 67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Freeform 10"/>
          <p:cNvSpPr>
            <a:spLocks noEditPoints="1"/>
          </p:cNvSpPr>
          <p:nvPr/>
        </p:nvSpPr>
        <p:spPr bwMode="auto">
          <a:xfrm>
            <a:off x="7614768" y="2782742"/>
            <a:ext cx="391642" cy="346149"/>
          </a:xfrm>
          <a:custGeom>
            <a:avLst/>
            <a:gdLst>
              <a:gd name="T0" fmla="*/ 608 w 859"/>
              <a:gd name="T1" fmla="*/ 0 h 752"/>
              <a:gd name="T2" fmla="*/ 250 w 859"/>
              <a:gd name="T3" fmla="*/ 0 h 752"/>
              <a:gd name="T4" fmla="*/ 250 w 859"/>
              <a:gd name="T5" fmla="*/ 72 h 752"/>
              <a:gd name="T6" fmla="*/ 608 w 859"/>
              <a:gd name="T7" fmla="*/ 72 h 752"/>
              <a:gd name="T8" fmla="*/ 608 w 859"/>
              <a:gd name="T9" fmla="*/ 0 h 752"/>
              <a:gd name="T10" fmla="*/ 608 w 859"/>
              <a:gd name="T11" fmla="*/ 394 h 752"/>
              <a:gd name="T12" fmla="*/ 608 w 859"/>
              <a:gd name="T13" fmla="*/ 322 h 752"/>
              <a:gd name="T14" fmla="*/ 537 w 859"/>
              <a:gd name="T15" fmla="*/ 322 h 752"/>
              <a:gd name="T16" fmla="*/ 537 w 859"/>
              <a:gd name="T17" fmla="*/ 394 h 752"/>
              <a:gd name="T18" fmla="*/ 322 w 859"/>
              <a:gd name="T19" fmla="*/ 394 h 752"/>
              <a:gd name="T20" fmla="*/ 322 w 859"/>
              <a:gd name="T21" fmla="*/ 322 h 752"/>
              <a:gd name="T22" fmla="*/ 250 w 859"/>
              <a:gd name="T23" fmla="*/ 322 h 752"/>
              <a:gd name="T24" fmla="*/ 250 w 859"/>
              <a:gd name="T25" fmla="*/ 394 h 752"/>
              <a:gd name="T26" fmla="*/ 71 w 859"/>
              <a:gd name="T27" fmla="*/ 394 h 752"/>
              <a:gd name="T28" fmla="*/ 71 w 859"/>
              <a:gd name="T29" fmla="*/ 215 h 752"/>
              <a:gd name="T30" fmla="*/ 787 w 859"/>
              <a:gd name="T31" fmla="*/ 215 h 752"/>
              <a:gd name="T32" fmla="*/ 787 w 859"/>
              <a:gd name="T33" fmla="*/ 394 h 752"/>
              <a:gd name="T34" fmla="*/ 608 w 859"/>
              <a:gd name="T35" fmla="*/ 394 h 752"/>
              <a:gd name="T36" fmla="*/ 0 w 859"/>
              <a:gd name="T37" fmla="*/ 143 h 752"/>
              <a:gd name="T38" fmla="*/ 0 w 859"/>
              <a:gd name="T39" fmla="*/ 376 h 752"/>
              <a:gd name="T40" fmla="*/ 71 w 859"/>
              <a:gd name="T41" fmla="*/ 466 h 752"/>
              <a:gd name="T42" fmla="*/ 250 w 859"/>
              <a:gd name="T43" fmla="*/ 466 h 752"/>
              <a:gd name="T44" fmla="*/ 250 w 859"/>
              <a:gd name="T45" fmla="*/ 537 h 752"/>
              <a:gd name="T46" fmla="*/ 322 w 859"/>
              <a:gd name="T47" fmla="*/ 537 h 752"/>
              <a:gd name="T48" fmla="*/ 322 w 859"/>
              <a:gd name="T49" fmla="*/ 466 h 752"/>
              <a:gd name="T50" fmla="*/ 537 w 859"/>
              <a:gd name="T51" fmla="*/ 466 h 752"/>
              <a:gd name="T52" fmla="*/ 537 w 859"/>
              <a:gd name="T53" fmla="*/ 537 h 752"/>
              <a:gd name="T54" fmla="*/ 608 w 859"/>
              <a:gd name="T55" fmla="*/ 537 h 752"/>
              <a:gd name="T56" fmla="*/ 608 w 859"/>
              <a:gd name="T57" fmla="*/ 466 h 752"/>
              <a:gd name="T58" fmla="*/ 788 w 859"/>
              <a:gd name="T59" fmla="*/ 466 h 752"/>
              <a:gd name="T60" fmla="*/ 859 w 859"/>
              <a:gd name="T61" fmla="*/ 376 h 752"/>
              <a:gd name="T62" fmla="*/ 859 w 859"/>
              <a:gd name="T63" fmla="*/ 143 h 752"/>
              <a:gd name="T64" fmla="*/ 0 w 859"/>
              <a:gd name="T65" fmla="*/ 143 h 752"/>
              <a:gd name="T66" fmla="*/ 716 w 859"/>
              <a:gd name="T67" fmla="*/ 681 h 752"/>
              <a:gd name="T68" fmla="*/ 143 w 859"/>
              <a:gd name="T69" fmla="*/ 681 h 752"/>
              <a:gd name="T70" fmla="*/ 143 w 859"/>
              <a:gd name="T71" fmla="*/ 502 h 752"/>
              <a:gd name="T72" fmla="*/ 71 w 859"/>
              <a:gd name="T73" fmla="*/ 502 h 752"/>
              <a:gd name="T74" fmla="*/ 71 w 859"/>
              <a:gd name="T75" fmla="*/ 668 h 752"/>
              <a:gd name="T76" fmla="*/ 143 w 859"/>
              <a:gd name="T77" fmla="*/ 752 h 752"/>
              <a:gd name="T78" fmla="*/ 716 w 859"/>
              <a:gd name="T79" fmla="*/ 752 h 752"/>
              <a:gd name="T80" fmla="*/ 787 w 859"/>
              <a:gd name="T81" fmla="*/ 668 h 752"/>
              <a:gd name="T82" fmla="*/ 787 w 859"/>
              <a:gd name="T83" fmla="*/ 502 h 752"/>
              <a:gd name="T84" fmla="*/ 716 w 859"/>
              <a:gd name="T85" fmla="*/ 502 h 752"/>
              <a:gd name="T86" fmla="*/ 716 w 859"/>
              <a:gd name="T87" fmla="*/ 68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859" h="752">
                <a:moveTo>
                  <a:pt x="608" y="0"/>
                </a:moveTo>
                <a:lnTo>
                  <a:pt x="250" y="0"/>
                </a:lnTo>
                <a:lnTo>
                  <a:pt x="250" y="72"/>
                </a:lnTo>
                <a:lnTo>
                  <a:pt x="608" y="72"/>
                </a:lnTo>
                <a:lnTo>
                  <a:pt x="608" y="0"/>
                </a:lnTo>
                <a:close/>
                <a:moveTo>
                  <a:pt x="608" y="394"/>
                </a:moveTo>
                <a:lnTo>
                  <a:pt x="608" y="322"/>
                </a:lnTo>
                <a:lnTo>
                  <a:pt x="537" y="322"/>
                </a:lnTo>
                <a:lnTo>
                  <a:pt x="537" y="394"/>
                </a:lnTo>
                <a:lnTo>
                  <a:pt x="322" y="394"/>
                </a:lnTo>
                <a:lnTo>
                  <a:pt x="322" y="322"/>
                </a:lnTo>
                <a:lnTo>
                  <a:pt x="250" y="322"/>
                </a:lnTo>
                <a:lnTo>
                  <a:pt x="250" y="394"/>
                </a:lnTo>
                <a:lnTo>
                  <a:pt x="71" y="394"/>
                </a:lnTo>
                <a:lnTo>
                  <a:pt x="71" y="215"/>
                </a:lnTo>
                <a:lnTo>
                  <a:pt x="787" y="215"/>
                </a:lnTo>
                <a:lnTo>
                  <a:pt x="787" y="394"/>
                </a:lnTo>
                <a:lnTo>
                  <a:pt x="608" y="394"/>
                </a:lnTo>
                <a:close/>
                <a:moveTo>
                  <a:pt x="0" y="143"/>
                </a:moveTo>
                <a:lnTo>
                  <a:pt x="0" y="376"/>
                </a:lnTo>
                <a:cubicBezTo>
                  <a:pt x="0" y="416"/>
                  <a:pt x="32" y="466"/>
                  <a:pt x="71" y="466"/>
                </a:cubicBezTo>
                <a:lnTo>
                  <a:pt x="250" y="466"/>
                </a:lnTo>
                <a:lnTo>
                  <a:pt x="250" y="537"/>
                </a:lnTo>
                <a:lnTo>
                  <a:pt x="322" y="537"/>
                </a:lnTo>
                <a:lnTo>
                  <a:pt x="322" y="466"/>
                </a:lnTo>
                <a:lnTo>
                  <a:pt x="537" y="466"/>
                </a:lnTo>
                <a:lnTo>
                  <a:pt x="537" y="537"/>
                </a:lnTo>
                <a:lnTo>
                  <a:pt x="608" y="537"/>
                </a:lnTo>
                <a:lnTo>
                  <a:pt x="608" y="466"/>
                </a:lnTo>
                <a:lnTo>
                  <a:pt x="788" y="466"/>
                </a:lnTo>
                <a:cubicBezTo>
                  <a:pt x="827" y="466"/>
                  <a:pt x="859" y="416"/>
                  <a:pt x="859" y="376"/>
                </a:cubicBezTo>
                <a:lnTo>
                  <a:pt x="859" y="143"/>
                </a:lnTo>
                <a:lnTo>
                  <a:pt x="0" y="143"/>
                </a:lnTo>
                <a:close/>
                <a:moveTo>
                  <a:pt x="716" y="681"/>
                </a:moveTo>
                <a:lnTo>
                  <a:pt x="143" y="681"/>
                </a:lnTo>
                <a:lnTo>
                  <a:pt x="143" y="502"/>
                </a:lnTo>
                <a:lnTo>
                  <a:pt x="71" y="502"/>
                </a:lnTo>
                <a:lnTo>
                  <a:pt x="71" y="668"/>
                </a:lnTo>
                <a:cubicBezTo>
                  <a:pt x="71" y="704"/>
                  <a:pt x="104" y="752"/>
                  <a:pt x="143" y="752"/>
                </a:cubicBezTo>
                <a:lnTo>
                  <a:pt x="716" y="752"/>
                </a:lnTo>
                <a:cubicBezTo>
                  <a:pt x="755" y="752"/>
                  <a:pt x="787" y="704"/>
                  <a:pt x="787" y="668"/>
                </a:cubicBezTo>
                <a:lnTo>
                  <a:pt x="787" y="502"/>
                </a:lnTo>
                <a:lnTo>
                  <a:pt x="716" y="502"/>
                </a:lnTo>
                <a:lnTo>
                  <a:pt x="716" y="68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4" name="Прямоугольник 23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0" y="6516869"/>
            <a:ext cx="12192000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ГК «Просвещение», 2021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1842298" y="810034"/>
            <a:ext cx="850130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Какое оценочное мероприятие вызывает у Вас наибольшее количество вопросов?</a:t>
            </a:r>
            <a:endParaRPr kumimoji="0" lang="ru-RU" sz="18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1931718" y="108504"/>
            <a:ext cx="472725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ОЦЕНОЧНЫЕ МЕРОПРИЯТИЯ 2021</a:t>
            </a:r>
            <a:endParaRPr kumimoji="0" lang="ru-RU" sz="24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2" name="Овал 21">
            <a:hlinkClick r:id="rId4" action="ppaction://hlinksldjump"/>
          </p:cNvPr>
          <p:cNvSpPr/>
          <p:nvPr/>
        </p:nvSpPr>
        <p:spPr>
          <a:xfrm>
            <a:off x="4485736" y="1729685"/>
            <a:ext cx="414067" cy="439947"/>
          </a:xfrm>
          <a:prstGeom prst="ellipse">
            <a:avLst/>
          </a:prstGeom>
          <a:solidFill>
            <a:srgbClr val="002060"/>
          </a:solidFill>
          <a:ln>
            <a:solidFill>
              <a:srgbClr val="F0F8F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1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/>
                <a:ea typeface="+mn-ea"/>
                <a:cs typeface="+mn-cs"/>
              </a:rPr>
              <a:t>1</a:t>
            </a:r>
            <a:endParaRPr kumimoji="0" lang="ru-RU" sz="1800" b="1" i="1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3" name="Овал 22">
            <a:hlinkClick r:id="rId5" action="ppaction://hlinksldjump"/>
          </p:cNvPr>
          <p:cNvSpPr/>
          <p:nvPr/>
        </p:nvSpPr>
        <p:spPr>
          <a:xfrm>
            <a:off x="4485736" y="2537558"/>
            <a:ext cx="414067" cy="439947"/>
          </a:xfrm>
          <a:prstGeom prst="ellipse">
            <a:avLst/>
          </a:prstGeom>
          <a:solidFill>
            <a:srgbClr val="002060"/>
          </a:solidFill>
          <a:ln>
            <a:solidFill>
              <a:srgbClr val="F0F8F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/>
                <a:ea typeface="+mn-ea"/>
                <a:cs typeface="+mn-cs"/>
              </a:rPr>
              <a:t>2</a:t>
            </a:r>
            <a:endParaRPr kumimoji="0" lang="ru-RU" sz="1800" b="1" i="1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5" name="Овал 24">
            <a:hlinkClick r:id="rId6" action="ppaction://hlinksldjump"/>
          </p:cNvPr>
          <p:cNvSpPr/>
          <p:nvPr/>
        </p:nvSpPr>
        <p:spPr>
          <a:xfrm>
            <a:off x="4485736" y="3350968"/>
            <a:ext cx="414067" cy="439947"/>
          </a:xfrm>
          <a:prstGeom prst="ellipse">
            <a:avLst/>
          </a:prstGeom>
          <a:solidFill>
            <a:srgbClr val="002060"/>
          </a:solidFill>
          <a:ln>
            <a:solidFill>
              <a:srgbClr val="F0F8F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/>
                <a:ea typeface="+mn-ea"/>
                <a:cs typeface="+mn-cs"/>
              </a:rPr>
              <a:t>3</a:t>
            </a:r>
            <a:endParaRPr kumimoji="0" lang="ru-RU" sz="1800" b="1" i="1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6" name="Овал 25">
            <a:hlinkClick r:id="rId7" action="ppaction://hlinksldjump"/>
          </p:cNvPr>
          <p:cNvSpPr/>
          <p:nvPr/>
        </p:nvSpPr>
        <p:spPr>
          <a:xfrm>
            <a:off x="4485736" y="4164378"/>
            <a:ext cx="414067" cy="439947"/>
          </a:xfrm>
          <a:prstGeom prst="ellipse">
            <a:avLst/>
          </a:prstGeom>
          <a:solidFill>
            <a:srgbClr val="002060"/>
          </a:solidFill>
          <a:ln>
            <a:solidFill>
              <a:srgbClr val="F0F8F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/>
                <a:ea typeface="+mn-ea"/>
                <a:cs typeface="+mn-cs"/>
              </a:rPr>
              <a:t>4</a:t>
            </a:r>
            <a:endParaRPr kumimoji="0" lang="ru-RU" sz="1800" b="1" i="1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3381554" y="1187191"/>
            <a:ext cx="513813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Напишите в чат № этого оценочного мероприятия</a:t>
            </a: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5230553" y="1718825"/>
            <a:ext cx="69121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ОГЭ</a:t>
            </a:r>
            <a:endParaRPr kumimoji="0" lang="ru-RU" sz="24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5288261" y="2507526"/>
            <a:ext cx="63350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Е</a:t>
            </a:r>
            <a:r>
              <a:rPr kumimoji="0" lang="ru-RU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ГЭ</a:t>
            </a:r>
            <a:endParaRPr kumimoji="0" lang="ru-RU" sz="24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5281832" y="3322195"/>
            <a:ext cx="71526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ВПР</a:t>
            </a:r>
            <a:endParaRPr kumimoji="0" lang="ru-RU" sz="24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5260480" y="4153518"/>
            <a:ext cx="75796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ISA</a:t>
            </a:r>
            <a:endParaRPr kumimoji="0" lang="ru-RU" sz="24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3605913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2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7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0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5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8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33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36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41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44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22" grpId="0" animBg="1"/>
      <p:bldP spid="23" grpId="0" animBg="1"/>
      <p:bldP spid="25" grpId="0" animBg="1"/>
      <p:bldP spid="26" grpId="0" animBg="1"/>
      <p:bldP spid="16" grpId="0"/>
      <p:bldP spid="17" grpId="0"/>
      <p:bldP spid="28" grpId="0"/>
      <p:bldP spid="29" grpId="0"/>
      <p:bldP spid="30" grpId="0"/>
    </p:bld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grpSp>
        <p:nvGrpSpPr>
          <p:cNvPr id="4" name="Группа 3"/>
          <p:cNvGrpSpPr/>
          <p:nvPr/>
        </p:nvGrpSpPr>
        <p:grpSpPr>
          <a:xfrm>
            <a:off x="339553" y="260649"/>
            <a:ext cx="1268960" cy="438775"/>
            <a:chOff x="254665" y="195486"/>
            <a:chExt cx="951720" cy="329081"/>
          </a:xfrm>
        </p:grpSpPr>
        <p:sp>
          <p:nvSpPr>
            <p:cNvPr id="32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33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34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35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36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37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38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39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40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41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42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43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44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45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</p:grpSp>
      <p:cxnSp>
        <p:nvCxnSpPr>
          <p:cNvPr id="47" name="Прямая соединительная линия 46"/>
          <p:cNvCxnSpPr/>
          <p:nvPr/>
        </p:nvCxnSpPr>
        <p:spPr>
          <a:xfrm>
            <a:off x="1967541" y="0"/>
            <a:ext cx="0" cy="670171"/>
          </a:xfrm>
          <a:prstGeom prst="line">
            <a:avLst/>
          </a:prstGeom>
          <a:ln w="6350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29259" y="6432715"/>
            <a:ext cx="719403" cy="356659"/>
          </a:xfrm>
        </p:spPr>
        <p:txBody>
          <a:bodyPr/>
          <a:lstStyle/>
          <a:p>
            <a:fld id="{00000000-1234-1234-1234-123412341234}" type="slidenum">
              <a:rPr lang="en" sz="1600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</a:rPr>
              <a:pPr/>
              <a:t>30</a:t>
            </a:fld>
            <a:endParaRPr lang="en" sz="1600" dirty="0">
              <a:solidFill>
                <a:schemeClr val="tx1">
                  <a:lumMod val="75000"/>
                  <a:lumOff val="25000"/>
                </a:schemeClr>
              </a:solidFill>
              <a:latin typeface="Calibri" pitchFamily="34" charset="0"/>
            </a:endParaRPr>
          </a:p>
        </p:txBody>
      </p:sp>
      <p:sp>
        <p:nvSpPr>
          <p:cNvPr id="21" name="Прямоугольник 20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335360" y="6516869"/>
            <a:ext cx="3411921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914377">
              <a:defRPr/>
            </a:pPr>
            <a:r>
              <a:rPr lang="ru-RU" sz="1200" dirty="0">
                <a:solidFill>
                  <a:prstClr val="white">
                    <a:lumMod val="65000"/>
                  </a:prstClr>
                </a:solidFill>
                <a:latin typeface="Calibri"/>
              </a:rPr>
              <a:t>© АО «Издательство «Просвещение», 20</a:t>
            </a:r>
            <a:r>
              <a:rPr lang="en-US" sz="1200" dirty="0" smtClean="0">
                <a:solidFill>
                  <a:prstClr val="white">
                    <a:lumMod val="65000"/>
                  </a:prstClr>
                </a:solidFill>
                <a:latin typeface="Calibri"/>
              </a:rPr>
              <a:t>21</a:t>
            </a:r>
            <a:endParaRPr lang="ru-RU" sz="1200" dirty="0">
              <a:solidFill>
                <a:prstClr val="white">
                  <a:lumMod val="65000"/>
                </a:prstClr>
              </a:solidFill>
              <a:latin typeface="Calibri"/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5577242" y="32095"/>
            <a:ext cx="213789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ea typeface="Cambria" panose="02040503050406030204" pitchFamily="18" charset="0"/>
                <a:cs typeface="+mn-cs"/>
              </a:rPr>
              <a:t>СОДЕРЖАНИЕ:</a:t>
            </a:r>
            <a:endParaRPr kumimoji="0" lang="ru-RU" sz="24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ea typeface="Cambria" panose="02040503050406030204" pitchFamily="18" charset="0"/>
              <a:cs typeface="+mn-cs"/>
            </a:endParaRPr>
          </a:p>
        </p:txBody>
      </p:sp>
      <p:pic>
        <p:nvPicPr>
          <p:cNvPr id="46" name="Рисунок 4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21207" y="515556"/>
            <a:ext cx="3881364" cy="5192636"/>
          </a:xfrm>
          <a:prstGeom prst="rect">
            <a:avLst/>
          </a:prstGeom>
        </p:spPr>
      </p:pic>
      <p:pic>
        <p:nvPicPr>
          <p:cNvPr id="48" name="Рисунок 47"/>
          <p:cNvPicPr>
            <a:picLocks noChangeAspect="1"/>
          </p:cNvPicPr>
          <p:nvPr/>
        </p:nvPicPr>
        <p:blipFill rotWithShape="1">
          <a:blip r:embed="rId4"/>
          <a:srcRect t="11181"/>
          <a:stretch/>
        </p:blipFill>
        <p:spPr>
          <a:xfrm>
            <a:off x="7303070" y="659874"/>
            <a:ext cx="3614681" cy="4305999"/>
          </a:xfrm>
          <a:prstGeom prst="rect">
            <a:avLst/>
          </a:prstGeom>
        </p:spPr>
      </p:pic>
      <p:pic>
        <p:nvPicPr>
          <p:cNvPr id="49" name="Рисунок 48"/>
          <p:cNvPicPr>
            <a:picLocks noChangeAspect="1"/>
          </p:cNvPicPr>
          <p:nvPr/>
        </p:nvPicPr>
        <p:blipFill rotWithShape="1">
          <a:blip r:embed="rId5"/>
          <a:srcRect t="4506" b="15459"/>
          <a:stretch/>
        </p:blipFill>
        <p:spPr>
          <a:xfrm>
            <a:off x="7309056" y="4885273"/>
            <a:ext cx="3581400" cy="1471311"/>
          </a:xfrm>
          <a:prstGeom prst="rect">
            <a:avLst/>
          </a:prstGeom>
        </p:spPr>
      </p:pic>
      <p:pic>
        <p:nvPicPr>
          <p:cNvPr id="50" name="Рисунок 49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3257" y="855577"/>
            <a:ext cx="1576968" cy="2110369"/>
          </a:xfrm>
          <a:prstGeom prst="rect">
            <a:avLst/>
          </a:prstGeom>
          <a:ln>
            <a:noFill/>
          </a:ln>
          <a:effectLst/>
        </p:spPr>
      </p:pic>
      <p:pic>
        <p:nvPicPr>
          <p:cNvPr id="52" name="Рисунок 51"/>
          <p:cNvPicPr>
            <a:picLocks noChangeAspect="1"/>
          </p:cNvPicPr>
          <p:nvPr/>
        </p:nvPicPr>
        <p:blipFill rotWithShape="1">
          <a:blip r:embed="rId7"/>
          <a:srcRect t="7866" r="2877" b="23934"/>
          <a:stretch/>
        </p:blipFill>
        <p:spPr>
          <a:xfrm>
            <a:off x="2842136" y="5667370"/>
            <a:ext cx="3860434" cy="509477"/>
          </a:xfrm>
          <a:prstGeom prst="rect">
            <a:avLst/>
          </a:prstGeom>
        </p:spPr>
      </p:pic>
      <p:sp>
        <p:nvSpPr>
          <p:cNvPr id="53" name="TextBox 52"/>
          <p:cNvSpPr txBox="1"/>
          <p:nvPr/>
        </p:nvSpPr>
        <p:spPr>
          <a:xfrm rot="16200000">
            <a:off x="881844" y="2280593"/>
            <a:ext cx="258268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mbria" panose="02040503050406030204" pitchFamily="18" charset="0"/>
                <a:ea typeface="Cambria" panose="02040503050406030204" pitchFamily="18" charset="0"/>
                <a:cs typeface="+mn-cs"/>
              </a:rPr>
              <a:t>«Термодинамика»</a:t>
            </a: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mbria" panose="02040503050406030204" pitchFamily="18" charset="0"/>
              <a:ea typeface="Cambria" panose="02040503050406030204" pitchFamily="18" charset="0"/>
              <a:cs typeface="+mn-cs"/>
            </a:endParaRPr>
          </a:p>
        </p:txBody>
      </p:sp>
      <p:cxnSp>
        <p:nvCxnSpPr>
          <p:cNvPr id="54" name="Прямая соединительная линия 53"/>
          <p:cNvCxnSpPr/>
          <p:nvPr/>
        </p:nvCxnSpPr>
        <p:spPr>
          <a:xfrm flipH="1">
            <a:off x="2616152" y="583043"/>
            <a:ext cx="0" cy="4536000"/>
          </a:xfrm>
          <a:prstGeom prst="line">
            <a:avLst/>
          </a:prstGeom>
          <a:ln w="57150"/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649583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grpSp>
        <p:nvGrpSpPr>
          <p:cNvPr id="4" name="Группа 3"/>
          <p:cNvGrpSpPr/>
          <p:nvPr/>
        </p:nvGrpSpPr>
        <p:grpSpPr>
          <a:xfrm>
            <a:off x="339553" y="260649"/>
            <a:ext cx="1268960" cy="438775"/>
            <a:chOff x="254665" y="195486"/>
            <a:chExt cx="951720" cy="329081"/>
          </a:xfrm>
        </p:grpSpPr>
        <p:sp>
          <p:nvSpPr>
            <p:cNvPr id="32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33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34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35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36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37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38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39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40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41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42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43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44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45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</p:grpSp>
      <p:cxnSp>
        <p:nvCxnSpPr>
          <p:cNvPr id="47" name="Прямая соединительная линия 46"/>
          <p:cNvCxnSpPr/>
          <p:nvPr/>
        </p:nvCxnSpPr>
        <p:spPr>
          <a:xfrm>
            <a:off x="1967541" y="0"/>
            <a:ext cx="0" cy="670171"/>
          </a:xfrm>
          <a:prstGeom prst="line">
            <a:avLst/>
          </a:prstGeom>
          <a:ln w="6350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29259" y="6432715"/>
            <a:ext cx="719403" cy="356659"/>
          </a:xfrm>
        </p:spPr>
        <p:txBody>
          <a:bodyPr/>
          <a:lstStyle/>
          <a:p>
            <a:fld id="{00000000-1234-1234-1234-123412341234}" type="slidenum">
              <a:rPr lang="en" sz="1600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</a:rPr>
              <a:pPr/>
              <a:t>31</a:t>
            </a:fld>
            <a:endParaRPr lang="en" sz="1600" dirty="0">
              <a:solidFill>
                <a:schemeClr val="tx1">
                  <a:lumMod val="75000"/>
                  <a:lumOff val="25000"/>
                </a:schemeClr>
              </a:solidFill>
              <a:latin typeface="Calibri" pitchFamily="34" charset="0"/>
            </a:endParaRPr>
          </a:p>
        </p:txBody>
      </p:sp>
      <p:sp>
        <p:nvSpPr>
          <p:cNvPr id="21" name="Прямоугольник 20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335360" y="6516869"/>
            <a:ext cx="3411921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914377">
              <a:defRPr/>
            </a:pPr>
            <a:r>
              <a:rPr lang="ru-RU" sz="1200" dirty="0">
                <a:solidFill>
                  <a:prstClr val="white">
                    <a:lumMod val="65000"/>
                  </a:prstClr>
                </a:solidFill>
                <a:latin typeface="Calibri"/>
              </a:rPr>
              <a:t>© АО «Издательство «Просвещение», 20</a:t>
            </a:r>
            <a:r>
              <a:rPr lang="en-US" sz="1200" dirty="0" smtClean="0">
                <a:solidFill>
                  <a:prstClr val="white">
                    <a:lumMod val="65000"/>
                  </a:prstClr>
                </a:solidFill>
                <a:latin typeface="Calibri"/>
              </a:rPr>
              <a:t>21</a:t>
            </a:r>
            <a:endParaRPr lang="ru-RU" sz="1200" dirty="0">
              <a:solidFill>
                <a:prstClr val="white">
                  <a:lumMod val="65000"/>
                </a:prstClr>
              </a:solidFill>
              <a:latin typeface="Calibri"/>
            </a:endParaRPr>
          </a:p>
        </p:txBody>
      </p:sp>
      <p:pic>
        <p:nvPicPr>
          <p:cNvPr id="22" name="Рисунок 2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490" y="939532"/>
            <a:ext cx="1292928" cy="1724752"/>
          </a:xfrm>
          <a:prstGeom prst="rect">
            <a:avLst/>
          </a:prstGeom>
          <a:ln>
            <a:noFill/>
          </a:ln>
          <a:effectLst/>
        </p:spPr>
      </p:pic>
      <p:sp>
        <p:nvSpPr>
          <p:cNvPr id="23" name="TextBox 22"/>
          <p:cNvSpPr txBox="1"/>
          <p:nvPr/>
        </p:nvSpPr>
        <p:spPr>
          <a:xfrm>
            <a:off x="4928239" y="157269"/>
            <a:ext cx="213789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ea typeface="Cambria" panose="02040503050406030204" pitchFamily="18" charset="0"/>
                <a:cs typeface="+mn-cs"/>
              </a:rPr>
              <a:t>СОДЕРЖАНИЕ:</a:t>
            </a:r>
            <a:endParaRPr kumimoji="0" lang="ru-RU" sz="24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ea typeface="Cambria" panose="02040503050406030204" pitchFamily="18" charset="0"/>
              <a:cs typeface="+mn-cs"/>
            </a:endParaRPr>
          </a:p>
        </p:txBody>
      </p:sp>
      <p:pic>
        <p:nvPicPr>
          <p:cNvPr id="24" name="Рисунок 2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441362" y="722313"/>
            <a:ext cx="3833137" cy="5413011"/>
          </a:xfrm>
          <a:prstGeom prst="rect">
            <a:avLst/>
          </a:prstGeom>
        </p:spPr>
      </p:pic>
      <p:pic>
        <p:nvPicPr>
          <p:cNvPr id="25" name="Рисунок 2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274499" y="722312"/>
            <a:ext cx="3461540" cy="5413012"/>
          </a:xfrm>
          <a:prstGeom prst="rect">
            <a:avLst/>
          </a:prstGeom>
        </p:spPr>
      </p:pic>
      <p:pic>
        <p:nvPicPr>
          <p:cNvPr id="26" name="Рисунок 25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751724" y="722312"/>
            <a:ext cx="3459875" cy="30644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45041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grpSp>
        <p:nvGrpSpPr>
          <p:cNvPr id="4" name="Группа 3"/>
          <p:cNvGrpSpPr/>
          <p:nvPr/>
        </p:nvGrpSpPr>
        <p:grpSpPr>
          <a:xfrm>
            <a:off x="339553" y="260649"/>
            <a:ext cx="1268960" cy="438775"/>
            <a:chOff x="254665" y="195486"/>
            <a:chExt cx="951720" cy="329081"/>
          </a:xfrm>
        </p:grpSpPr>
        <p:sp>
          <p:nvSpPr>
            <p:cNvPr id="32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33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34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35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36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37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38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39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40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41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42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43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44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45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</p:grpSp>
      <p:cxnSp>
        <p:nvCxnSpPr>
          <p:cNvPr id="47" name="Прямая соединительная линия 46"/>
          <p:cNvCxnSpPr/>
          <p:nvPr/>
        </p:nvCxnSpPr>
        <p:spPr>
          <a:xfrm>
            <a:off x="1967541" y="0"/>
            <a:ext cx="0" cy="670171"/>
          </a:xfrm>
          <a:prstGeom prst="line">
            <a:avLst/>
          </a:prstGeom>
          <a:ln w="6350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29259" y="6432715"/>
            <a:ext cx="719403" cy="356659"/>
          </a:xfrm>
        </p:spPr>
        <p:txBody>
          <a:bodyPr/>
          <a:lstStyle/>
          <a:p>
            <a:fld id="{00000000-1234-1234-1234-123412341234}" type="slidenum">
              <a:rPr lang="en" sz="1600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</a:rPr>
              <a:pPr/>
              <a:t>32</a:t>
            </a:fld>
            <a:endParaRPr lang="en" sz="1600" dirty="0">
              <a:solidFill>
                <a:schemeClr val="tx1">
                  <a:lumMod val="75000"/>
                  <a:lumOff val="25000"/>
                </a:schemeClr>
              </a:solidFill>
              <a:latin typeface="Calibri" pitchFamily="34" charset="0"/>
            </a:endParaRPr>
          </a:p>
        </p:txBody>
      </p:sp>
      <p:sp>
        <p:nvSpPr>
          <p:cNvPr id="21" name="Прямоугольник 20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335360" y="6516869"/>
            <a:ext cx="3411921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914377">
              <a:defRPr/>
            </a:pPr>
            <a:r>
              <a:rPr lang="ru-RU" sz="1200" dirty="0">
                <a:solidFill>
                  <a:prstClr val="white">
                    <a:lumMod val="65000"/>
                  </a:prstClr>
                </a:solidFill>
                <a:latin typeface="Calibri"/>
              </a:rPr>
              <a:t>© АО «Издательство «Просвещение», 20</a:t>
            </a:r>
            <a:r>
              <a:rPr lang="en-US" sz="1200" dirty="0" smtClean="0">
                <a:solidFill>
                  <a:prstClr val="white">
                    <a:lumMod val="65000"/>
                  </a:prstClr>
                </a:solidFill>
                <a:latin typeface="Calibri"/>
              </a:rPr>
              <a:t>21</a:t>
            </a:r>
            <a:endParaRPr lang="ru-RU" sz="1200" dirty="0">
              <a:solidFill>
                <a:prstClr val="white">
                  <a:lumMod val="65000"/>
                </a:prstClr>
              </a:solidFill>
              <a:latin typeface="Calibri"/>
            </a:endParaRPr>
          </a:p>
        </p:txBody>
      </p:sp>
      <p:sp>
        <p:nvSpPr>
          <p:cNvPr id="22" name="Скругленный прямоугольник 21"/>
          <p:cNvSpPr/>
          <p:nvPr/>
        </p:nvSpPr>
        <p:spPr>
          <a:xfrm>
            <a:off x="1910676" y="1506335"/>
            <a:ext cx="4928254" cy="858470"/>
          </a:xfrm>
          <a:prstGeom prst="roundRect">
            <a:avLst/>
          </a:prstGeom>
          <a:noFill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3" name="Выноска 1 (с границей) 22"/>
          <p:cNvSpPr/>
          <p:nvPr/>
        </p:nvSpPr>
        <p:spPr>
          <a:xfrm>
            <a:off x="8281847" y="1182621"/>
            <a:ext cx="3766815" cy="951475"/>
          </a:xfrm>
          <a:prstGeom prst="accentCallout1">
            <a:avLst>
              <a:gd name="adj1" fmla="val 18750"/>
              <a:gd name="adj2" fmla="val -8333"/>
              <a:gd name="adj3" fmla="val 83812"/>
              <a:gd name="adj4" fmla="val -37608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mbria" panose="02040503050406030204" pitchFamily="18" charset="0"/>
                <a:ea typeface="Cambria" panose="02040503050406030204" pitchFamily="18" charset="0"/>
                <a:cs typeface="+mn-cs"/>
              </a:rPr>
              <a:t>Примеры заданий на формирование критического мышления</a:t>
            </a: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mbria" panose="02040503050406030204" pitchFamily="18" charset="0"/>
              <a:ea typeface="Cambria" panose="02040503050406030204" pitchFamily="18" charset="0"/>
              <a:cs typeface="+mn-cs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1967541" y="146334"/>
            <a:ext cx="998904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marL="285750" indent="-285750" algn="just">
              <a:buFont typeface="Arial" panose="020B0604020202020204" pitchFamily="34" charset="0"/>
              <a:buChar char="•"/>
              <a:defRPr>
                <a:solidFill>
                  <a:srgbClr val="002060"/>
                </a:solidFill>
                <a:latin typeface="Cambria" panose="02040503050406030204" pitchFamily="18" charset="0"/>
                <a:ea typeface="Cambria" panose="02040503050406030204" pitchFamily="18" charset="0"/>
              </a:defRPr>
            </a:lvl1pPr>
          </a:lstStyle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uLnTx/>
                <a:uFillTx/>
                <a:latin typeface="+mn-lt"/>
                <a:cs typeface="+mn-cs"/>
              </a:rPr>
              <a:t>Отражение «навыков 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uLnTx/>
                <a:uFillTx/>
                <a:latin typeface="+mn-lt"/>
                <a:cs typeface="+mn-cs"/>
              </a:rPr>
              <a:t>XXI </a:t>
            </a: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uLnTx/>
                <a:uFillTx/>
                <a:latin typeface="+mn-lt"/>
                <a:cs typeface="+mn-cs"/>
              </a:rPr>
              <a:t>века» в </a:t>
            </a:r>
            <a:r>
              <a:rPr kumimoji="0" lang="ru-RU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uLnTx/>
                <a:uFillTx/>
                <a:latin typeface="+mn-lt"/>
                <a:cs typeface="+mn-cs"/>
              </a:rPr>
              <a:t>линии УМК </a:t>
            </a: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uLnTx/>
                <a:uFillTx/>
                <a:latin typeface="+mn-lt"/>
                <a:cs typeface="+mn-cs"/>
              </a:rPr>
              <a:t>«Классический курс»</a:t>
            </a:r>
          </a:p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ru-RU" sz="24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uLnTx/>
              <a:uFillTx/>
              <a:latin typeface="+mn-lt"/>
              <a:cs typeface="+mn-cs"/>
            </a:endParaRPr>
          </a:p>
        </p:txBody>
      </p:sp>
      <p:sp>
        <p:nvSpPr>
          <p:cNvPr id="25" name="Скругленный прямоугольник 24"/>
          <p:cNvSpPr/>
          <p:nvPr/>
        </p:nvSpPr>
        <p:spPr>
          <a:xfrm>
            <a:off x="6747554" y="2715511"/>
            <a:ext cx="5301108" cy="850683"/>
          </a:xfrm>
          <a:prstGeom prst="roundRect">
            <a:avLst/>
          </a:prstGeom>
          <a:noFill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6" name="Выноска 1 (с границей) 25"/>
          <p:cNvSpPr/>
          <p:nvPr/>
        </p:nvSpPr>
        <p:spPr>
          <a:xfrm flipH="1">
            <a:off x="1281677" y="2776494"/>
            <a:ext cx="4324591" cy="799451"/>
          </a:xfrm>
          <a:prstGeom prst="accentCallout1">
            <a:avLst>
              <a:gd name="adj1" fmla="val 18750"/>
              <a:gd name="adj2" fmla="val -8333"/>
              <a:gd name="adj3" fmla="val 49336"/>
              <a:gd name="adj4" fmla="val -26656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mbria" panose="02040503050406030204" pitchFamily="18" charset="0"/>
                <a:ea typeface="Cambria" panose="02040503050406030204" pitchFamily="18" charset="0"/>
                <a:cs typeface="+mn-cs"/>
              </a:rPr>
              <a:t>Примеры заданий на формирование креативного мышления</a:t>
            </a: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mbria" panose="02040503050406030204" pitchFamily="18" charset="0"/>
              <a:ea typeface="Cambria" panose="02040503050406030204" pitchFamily="18" charset="0"/>
              <a:cs typeface="+mn-cs"/>
            </a:endParaRPr>
          </a:p>
        </p:txBody>
      </p:sp>
      <p:sp>
        <p:nvSpPr>
          <p:cNvPr id="27" name="Скругленный прямоугольник 26"/>
          <p:cNvSpPr/>
          <p:nvPr/>
        </p:nvSpPr>
        <p:spPr>
          <a:xfrm>
            <a:off x="372186" y="3945727"/>
            <a:ext cx="4928254" cy="1333697"/>
          </a:xfrm>
          <a:prstGeom prst="roundRect">
            <a:avLst/>
          </a:prstGeom>
          <a:noFill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8" name="Выноска 1 (с границей) 27"/>
          <p:cNvSpPr/>
          <p:nvPr/>
        </p:nvSpPr>
        <p:spPr>
          <a:xfrm>
            <a:off x="6826775" y="4065954"/>
            <a:ext cx="3766815" cy="951475"/>
          </a:xfrm>
          <a:prstGeom prst="accentCallout1">
            <a:avLst>
              <a:gd name="adj1" fmla="val 74691"/>
              <a:gd name="adj2" fmla="val -8333"/>
              <a:gd name="adj3" fmla="val 39346"/>
              <a:gd name="adj4" fmla="val -40507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mbria" panose="02040503050406030204" pitchFamily="18" charset="0"/>
                <a:ea typeface="Cambria" panose="02040503050406030204" pitchFamily="18" charset="0"/>
                <a:cs typeface="+mn-cs"/>
              </a:rPr>
              <a:t>Примеры заданий на формирование коммуникации</a:t>
            </a: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mbria" panose="02040503050406030204" pitchFamily="18" charset="0"/>
              <a:ea typeface="Cambria" panose="02040503050406030204" pitchFamily="18" charset="0"/>
              <a:cs typeface="+mn-cs"/>
            </a:endParaRPr>
          </a:p>
        </p:txBody>
      </p:sp>
      <p:sp>
        <p:nvSpPr>
          <p:cNvPr id="29" name="Скругленный прямоугольник 28"/>
          <p:cNvSpPr/>
          <p:nvPr/>
        </p:nvSpPr>
        <p:spPr>
          <a:xfrm>
            <a:off x="6685450" y="5349275"/>
            <a:ext cx="3908140" cy="948007"/>
          </a:xfrm>
          <a:prstGeom prst="roundRect">
            <a:avLst/>
          </a:prstGeom>
          <a:noFill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0" name="Выноска 1 (с границей) 29"/>
          <p:cNvSpPr/>
          <p:nvPr/>
        </p:nvSpPr>
        <p:spPr>
          <a:xfrm flipH="1">
            <a:off x="1217035" y="5410258"/>
            <a:ext cx="4324591" cy="799451"/>
          </a:xfrm>
          <a:prstGeom prst="accentCallout1">
            <a:avLst>
              <a:gd name="adj1" fmla="val 18750"/>
              <a:gd name="adj2" fmla="val -8333"/>
              <a:gd name="adj3" fmla="val 49336"/>
              <a:gd name="adj4" fmla="val -26656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mbria" panose="02040503050406030204" pitchFamily="18" charset="0"/>
                <a:ea typeface="Cambria" panose="02040503050406030204" pitchFamily="18" charset="0"/>
                <a:cs typeface="+mn-cs"/>
              </a:rPr>
              <a:t>Примеры заданий на формирование кооперации</a:t>
            </a: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mbria" panose="02040503050406030204" pitchFamily="18" charset="0"/>
              <a:ea typeface="Cambria" panose="02040503050406030204" pitchFamily="18" charset="0"/>
              <a:cs typeface="+mn-cs"/>
            </a:endParaRPr>
          </a:p>
        </p:txBody>
      </p:sp>
      <p:pic>
        <p:nvPicPr>
          <p:cNvPr id="31" name="Рисунок 3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40176" y="1653749"/>
            <a:ext cx="4886600" cy="469865"/>
          </a:xfrm>
          <a:prstGeom prst="rect">
            <a:avLst/>
          </a:prstGeom>
        </p:spPr>
      </p:pic>
      <p:pic>
        <p:nvPicPr>
          <p:cNvPr id="46" name="Рисунок 4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799479" y="2863526"/>
            <a:ext cx="5137435" cy="495345"/>
          </a:xfrm>
          <a:prstGeom prst="rect">
            <a:avLst/>
          </a:prstGeom>
        </p:spPr>
      </p:pic>
      <p:pic>
        <p:nvPicPr>
          <p:cNvPr id="48" name="Рисунок 47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09649" y="4018908"/>
            <a:ext cx="4857665" cy="1124245"/>
          </a:xfrm>
          <a:prstGeom prst="rect">
            <a:avLst/>
          </a:prstGeom>
        </p:spPr>
      </p:pic>
      <p:pic>
        <p:nvPicPr>
          <p:cNvPr id="49" name="Рисунок 48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838930" y="5385317"/>
            <a:ext cx="3588530" cy="824392"/>
          </a:xfrm>
          <a:prstGeom prst="rect">
            <a:avLst/>
          </a:prstGeom>
        </p:spPr>
      </p:pic>
      <p:pic>
        <p:nvPicPr>
          <p:cNvPr id="50" name="Рисунок 49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2903" y="801006"/>
            <a:ext cx="1325361" cy="1773659"/>
          </a:xfrm>
          <a:prstGeom prst="rect">
            <a:avLst/>
          </a:prstGeom>
          <a:ln>
            <a:noFill/>
          </a:ln>
          <a:effectLst/>
        </p:spPr>
      </p:pic>
    </p:spTree>
    <p:extLst>
      <p:ext uri="{BB962C8B-B14F-4D97-AF65-F5344CB8AC3E}">
        <p14:creationId xmlns:p14="http://schemas.microsoft.com/office/powerpoint/2010/main" val="31274540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grpSp>
        <p:nvGrpSpPr>
          <p:cNvPr id="4" name="Группа 3"/>
          <p:cNvGrpSpPr/>
          <p:nvPr/>
        </p:nvGrpSpPr>
        <p:grpSpPr>
          <a:xfrm>
            <a:off x="339553" y="260649"/>
            <a:ext cx="1268960" cy="438775"/>
            <a:chOff x="254665" y="195486"/>
            <a:chExt cx="951720" cy="329081"/>
          </a:xfrm>
        </p:grpSpPr>
        <p:sp>
          <p:nvSpPr>
            <p:cNvPr id="32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33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34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35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36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37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38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39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40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41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42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43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44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45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</p:grpSp>
      <p:cxnSp>
        <p:nvCxnSpPr>
          <p:cNvPr id="47" name="Прямая соединительная линия 46"/>
          <p:cNvCxnSpPr/>
          <p:nvPr/>
        </p:nvCxnSpPr>
        <p:spPr>
          <a:xfrm>
            <a:off x="1967541" y="0"/>
            <a:ext cx="0" cy="670171"/>
          </a:xfrm>
          <a:prstGeom prst="line">
            <a:avLst/>
          </a:prstGeom>
          <a:ln w="6350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29259" y="6432715"/>
            <a:ext cx="719403" cy="356659"/>
          </a:xfrm>
        </p:spPr>
        <p:txBody>
          <a:bodyPr/>
          <a:lstStyle/>
          <a:p>
            <a:fld id="{00000000-1234-1234-1234-123412341234}" type="slidenum">
              <a:rPr lang="en" sz="1600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</a:rPr>
              <a:pPr/>
              <a:t>33</a:t>
            </a:fld>
            <a:endParaRPr lang="en" sz="1600" dirty="0">
              <a:solidFill>
                <a:schemeClr val="tx1">
                  <a:lumMod val="75000"/>
                  <a:lumOff val="25000"/>
                </a:schemeClr>
              </a:solidFill>
              <a:latin typeface="Calibri" pitchFamily="34" charset="0"/>
            </a:endParaRPr>
          </a:p>
        </p:txBody>
      </p:sp>
      <p:sp>
        <p:nvSpPr>
          <p:cNvPr id="21" name="Прямоугольник 20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335360" y="6516869"/>
            <a:ext cx="3411921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914377">
              <a:defRPr/>
            </a:pPr>
            <a:r>
              <a:rPr lang="ru-RU" sz="1200" dirty="0">
                <a:solidFill>
                  <a:prstClr val="white">
                    <a:lumMod val="65000"/>
                  </a:prstClr>
                </a:solidFill>
                <a:latin typeface="Calibri"/>
              </a:rPr>
              <a:t>© АО «Издательство «Просвещение», 20</a:t>
            </a:r>
            <a:r>
              <a:rPr lang="en-US" sz="1200" dirty="0" smtClean="0">
                <a:solidFill>
                  <a:prstClr val="white">
                    <a:lumMod val="65000"/>
                  </a:prstClr>
                </a:solidFill>
                <a:latin typeface="Calibri"/>
              </a:rPr>
              <a:t>21</a:t>
            </a:r>
            <a:endParaRPr lang="ru-RU" sz="1200" dirty="0">
              <a:solidFill>
                <a:prstClr val="white">
                  <a:lumMod val="65000"/>
                </a:prstClr>
              </a:solidFill>
              <a:latin typeface="Calibri"/>
            </a:endParaRPr>
          </a:p>
        </p:txBody>
      </p:sp>
      <p:pic>
        <p:nvPicPr>
          <p:cNvPr id="22" name="Рисунок 2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4261" y="829938"/>
            <a:ext cx="1290001" cy="1751038"/>
          </a:xfrm>
          <a:prstGeom prst="rect">
            <a:avLst/>
          </a:prstGeom>
          <a:ln>
            <a:noFill/>
          </a:ln>
          <a:effectLst/>
        </p:spPr>
      </p:pic>
      <p:pic>
        <p:nvPicPr>
          <p:cNvPr id="23" name="Рисунок 2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215176" y="673998"/>
            <a:ext cx="3257644" cy="783484"/>
          </a:xfrm>
          <a:prstGeom prst="rect">
            <a:avLst/>
          </a:prstGeom>
        </p:spPr>
      </p:pic>
      <p:pic>
        <p:nvPicPr>
          <p:cNvPr id="24" name="Рисунок 23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215176" y="1663537"/>
            <a:ext cx="4928254" cy="858470"/>
          </a:xfrm>
          <a:prstGeom prst="rect">
            <a:avLst/>
          </a:prstGeom>
        </p:spPr>
      </p:pic>
      <p:sp>
        <p:nvSpPr>
          <p:cNvPr id="25" name="Выноска 1 (с границей) 24"/>
          <p:cNvSpPr/>
          <p:nvPr/>
        </p:nvSpPr>
        <p:spPr>
          <a:xfrm>
            <a:off x="8045974" y="1457482"/>
            <a:ext cx="2347415" cy="641445"/>
          </a:xfrm>
          <a:prstGeom prst="accentCallout1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mbria" panose="02040503050406030204" pitchFamily="18" charset="0"/>
                <a:ea typeface="Cambria" panose="02040503050406030204" pitchFamily="18" charset="0"/>
                <a:cs typeface="+mn-cs"/>
              </a:rPr>
              <a:t>Установление </a:t>
            </a: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mbria" panose="02040503050406030204" pitchFamily="18" charset="0"/>
                <a:ea typeface="Cambria" panose="02040503050406030204" pitchFamily="18" charset="0"/>
                <a:cs typeface="+mn-cs"/>
              </a:rPr>
              <a:t>аналогий</a:t>
            </a: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mbria" panose="02040503050406030204" pitchFamily="18" charset="0"/>
              <a:ea typeface="Cambria" panose="02040503050406030204" pitchFamily="18" charset="0"/>
              <a:cs typeface="+mn-cs"/>
            </a:endParaRPr>
          </a:p>
        </p:txBody>
      </p:sp>
      <p:pic>
        <p:nvPicPr>
          <p:cNvPr id="26" name="Рисунок 25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94924" y="2864689"/>
            <a:ext cx="4221574" cy="680899"/>
          </a:xfrm>
          <a:prstGeom prst="rect">
            <a:avLst/>
          </a:prstGeom>
        </p:spPr>
      </p:pic>
      <p:pic>
        <p:nvPicPr>
          <p:cNvPr id="27" name="Рисунок 26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037266" y="3575145"/>
            <a:ext cx="4327769" cy="1377650"/>
          </a:xfrm>
          <a:prstGeom prst="rect">
            <a:avLst/>
          </a:prstGeom>
        </p:spPr>
      </p:pic>
      <p:sp>
        <p:nvSpPr>
          <p:cNvPr id="28" name="Скругленный прямоугольник 27"/>
          <p:cNvSpPr/>
          <p:nvPr/>
        </p:nvSpPr>
        <p:spPr>
          <a:xfrm>
            <a:off x="478363" y="2775902"/>
            <a:ext cx="5886671" cy="2325531"/>
          </a:xfrm>
          <a:prstGeom prst="roundRect">
            <a:avLst/>
          </a:prstGeom>
          <a:noFill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9" name="Выноска 1 (с границей) 28"/>
          <p:cNvSpPr/>
          <p:nvPr/>
        </p:nvSpPr>
        <p:spPr>
          <a:xfrm>
            <a:off x="7666116" y="3042882"/>
            <a:ext cx="3403224" cy="641445"/>
          </a:xfrm>
          <a:prstGeom prst="accentCallout1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mbria" panose="02040503050406030204" pitchFamily="18" charset="0"/>
                <a:ea typeface="Cambria" panose="02040503050406030204" pitchFamily="18" charset="0"/>
                <a:cs typeface="+mn-cs"/>
              </a:rPr>
              <a:t>Все способы определения размеров молекул</a:t>
            </a: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mbria" panose="02040503050406030204" pitchFamily="18" charset="0"/>
              <a:ea typeface="Cambria" panose="02040503050406030204" pitchFamily="18" charset="0"/>
              <a:cs typeface="+mn-cs"/>
            </a:endParaRPr>
          </a:p>
        </p:txBody>
      </p:sp>
      <p:pic>
        <p:nvPicPr>
          <p:cNvPr id="30" name="Рисунок 29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61599" y="5218700"/>
            <a:ext cx="3925054" cy="958594"/>
          </a:xfrm>
          <a:prstGeom prst="rect">
            <a:avLst/>
          </a:prstGeom>
        </p:spPr>
      </p:pic>
      <p:pic>
        <p:nvPicPr>
          <p:cNvPr id="31" name="Рисунок 30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281269" y="5538770"/>
            <a:ext cx="4476513" cy="1104403"/>
          </a:xfrm>
          <a:prstGeom prst="rect">
            <a:avLst/>
          </a:prstGeom>
        </p:spPr>
      </p:pic>
      <p:sp>
        <p:nvSpPr>
          <p:cNvPr id="46" name="Скругленный прямоугольник 45"/>
          <p:cNvSpPr/>
          <p:nvPr/>
        </p:nvSpPr>
        <p:spPr>
          <a:xfrm>
            <a:off x="594924" y="5190220"/>
            <a:ext cx="7162858" cy="1511315"/>
          </a:xfrm>
          <a:prstGeom prst="roundRect">
            <a:avLst/>
          </a:prstGeom>
          <a:noFill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8" name="Выноска 1 (с границей) 47"/>
          <p:cNvSpPr/>
          <p:nvPr/>
        </p:nvSpPr>
        <p:spPr>
          <a:xfrm>
            <a:off x="8964927" y="5222544"/>
            <a:ext cx="3136711" cy="872862"/>
          </a:xfrm>
          <a:prstGeom prst="accentCallout1">
            <a:avLst>
              <a:gd name="adj1" fmla="val 18750"/>
              <a:gd name="adj2" fmla="val -8333"/>
              <a:gd name="adj3" fmla="val 93737"/>
              <a:gd name="adj4" fmla="val -37898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mbria" panose="02040503050406030204" pitchFamily="18" charset="0"/>
                <a:ea typeface="Cambria" panose="02040503050406030204" pitchFamily="18" charset="0"/>
                <a:cs typeface="+mn-cs"/>
              </a:rPr>
              <a:t>Использование современных научных тенденций</a:t>
            </a: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mbria" panose="02040503050406030204" pitchFamily="18" charset="0"/>
              <a:ea typeface="Cambria" panose="02040503050406030204" pitchFamily="18" charset="0"/>
              <a:cs typeface="+mn-cs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2127728" y="172254"/>
            <a:ext cx="9485152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1" dirty="0" smtClean="0">
                <a:solidFill>
                  <a:srgbClr val="002060"/>
                </a:solidFill>
              </a:rPr>
              <a:t>Использование современных </a:t>
            </a:r>
            <a:r>
              <a:rPr lang="ru-RU" sz="2000" b="1" dirty="0">
                <a:solidFill>
                  <a:srgbClr val="002060"/>
                </a:solidFill>
              </a:rPr>
              <a:t>научных тенденций при изложении материала</a:t>
            </a:r>
          </a:p>
        </p:txBody>
      </p:sp>
    </p:spTree>
    <p:extLst>
      <p:ext uri="{BB962C8B-B14F-4D97-AF65-F5344CB8AC3E}">
        <p14:creationId xmlns:p14="http://schemas.microsoft.com/office/powerpoint/2010/main" val="17808683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>
            <a:extLst>
              <a:ext uri="{FF2B5EF4-FFF2-40B4-BE49-F238E27FC236}">
                <a16:creationId xmlns:a16="http://schemas.microsoft.com/office/drawing/2014/main" id="{70910FEA-CB3E-4042-8541-ECEC0809078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217" name="Слайд think-cell" r:id="rId5" imgW="7772400" imgH="10058400" progId="TCLayout.ActiveDocument.1">
                  <p:embed/>
                </p:oleObj>
              </mc:Choice>
              <mc:Fallback>
                <p:oleObj name="Слайд think-cell" r:id="rId5" imgW="7772400" imgH="10058400" progId="TCLayout.ActiveDocument.1">
                  <p:embed/>
                  <p:pic>
                    <p:nvPicPr>
                      <p:cNvPr id="10" name="Объект 9" hidden="1">
                        <a:extLst>
                          <a:ext uri="{FF2B5EF4-FFF2-40B4-BE49-F238E27FC236}">
                            <a16:creationId xmlns:a16="http://schemas.microsoft.com/office/drawing/2014/main" id="{70910FEA-CB3E-4042-8541-ECEC080907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Прямоугольник 8" hidden="1">
            <a:extLst>
              <a:ext uri="{FF2B5EF4-FFF2-40B4-BE49-F238E27FC236}">
                <a16:creationId xmlns:a16="http://schemas.microsoft.com/office/drawing/2014/main" id="{4088F8A4-E61C-1F47-9F13-9CE41140190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000" b="1" dirty="0">
              <a:latin typeface="Calibri" panose="020F0502020204030204" pitchFamily="34" charset="0"/>
              <a:ea typeface="+mj-ea"/>
              <a:sym typeface="Calibri" panose="020F0502020204030204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276907" y="150355"/>
            <a:ext cx="7680773" cy="648642"/>
          </a:xfrm>
        </p:spPr>
        <p:txBody>
          <a:bodyPr/>
          <a:lstStyle/>
          <a:p>
            <a:r>
              <a:rPr lang="ru-RU" sz="2400" dirty="0">
                <a:solidFill>
                  <a:srgbClr val="002060"/>
                </a:solidFill>
                <a:latin typeface="+mn-lt"/>
                <a:ea typeface="+mn-ea"/>
                <a:cs typeface="+mn-cs"/>
              </a:rPr>
              <a:t>Компоненты линии </a:t>
            </a:r>
            <a:r>
              <a:rPr lang="ru-RU" dirty="0" smtClean="0">
                <a:solidFill>
                  <a:srgbClr val="FF0000"/>
                </a:solidFill>
              </a:rPr>
              <a:t>УМК ГРОМОВ </a:t>
            </a:r>
            <a:r>
              <a:rPr lang="ru-RU" dirty="0">
                <a:solidFill>
                  <a:srgbClr val="FF0000"/>
                </a:solidFill>
              </a:rPr>
              <a:t>С.В., </a:t>
            </a:r>
            <a:r>
              <a:rPr lang="ru-RU" dirty="0" smtClean="0">
                <a:solidFill>
                  <a:srgbClr val="FF0000"/>
                </a:solidFill>
              </a:rPr>
              <a:t>РОДИНА </a:t>
            </a:r>
            <a:r>
              <a:rPr lang="ru-RU" dirty="0">
                <a:solidFill>
                  <a:srgbClr val="FF0000"/>
                </a:solidFill>
              </a:rPr>
              <a:t>Н.А.</a:t>
            </a:r>
          </a:p>
        </p:txBody>
      </p:sp>
      <p:cxnSp>
        <p:nvCxnSpPr>
          <p:cNvPr id="18" name="Прямая соединительная линия 17"/>
          <p:cNvCxnSpPr/>
          <p:nvPr/>
        </p:nvCxnSpPr>
        <p:spPr>
          <a:xfrm flipH="1" flipV="1">
            <a:off x="4682995" y="670172"/>
            <a:ext cx="28508" cy="1520384"/>
          </a:xfrm>
          <a:prstGeom prst="line">
            <a:avLst/>
          </a:prstGeom>
          <a:solidFill>
            <a:srgbClr val="AE2C25"/>
          </a:solidFill>
          <a:ln w="9525">
            <a:solidFill>
              <a:schemeClr val="tx1">
                <a:lumMod val="50000"/>
                <a:lumOff val="50000"/>
              </a:schemeClr>
            </a:solidFill>
            <a:prstDash val="dash"/>
            <a:miter lim="800000"/>
            <a:headEnd type="none" w="med" len="med"/>
            <a:tailEnd type="none"/>
          </a:ln>
        </p:spPr>
      </p:cxnSp>
      <p:cxnSp>
        <p:nvCxnSpPr>
          <p:cNvPr id="19" name="Прямая соединительная линия 18"/>
          <p:cNvCxnSpPr/>
          <p:nvPr/>
        </p:nvCxnSpPr>
        <p:spPr>
          <a:xfrm flipH="1" flipV="1">
            <a:off x="2095186" y="681443"/>
            <a:ext cx="66989" cy="6005107"/>
          </a:xfrm>
          <a:prstGeom prst="line">
            <a:avLst/>
          </a:prstGeom>
          <a:solidFill>
            <a:srgbClr val="AE2C25"/>
          </a:solidFill>
          <a:ln w="9525">
            <a:solidFill>
              <a:schemeClr val="tx1">
                <a:lumMod val="50000"/>
                <a:lumOff val="50000"/>
              </a:schemeClr>
            </a:solidFill>
            <a:prstDash val="dash"/>
            <a:miter lim="800000"/>
            <a:headEnd type="none" w="med" len="med"/>
            <a:tailEnd type="none"/>
          </a:ln>
        </p:spPr>
      </p:cxnSp>
      <p:sp>
        <p:nvSpPr>
          <p:cNvPr id="21" name="Text Placeholder 3"/>
          <p:cNvSpPr txBox="1">
            <a:spLocks/>
          </p:cNvSpPr>
          <p:nvPr/>
        </p:nvSpPr>
        <p:spPr>
          <a:xfrm>
            <a:off x="699471" y="3323643"/>
            <a:ext cx="1296000" cy="414000"/>
          </a:xfrm>
          <a:prstGeom prst="rect">
            <a:avLst/>
          </a:prstGeom>
        </p:spPr>
        <p:txBody>
          <a:bodyPr vert="horz" lIns="72000" tIns="72000" rIns="36000" bIns="72000" rtlCol="0" anchor="ctr" anchorCtr="0">
            <a:noAutofit/>
          </a:bodyPr>
          <a:lstStyle>
            <a:defPPr>
              <a:defRPr lang="ru-RU"/>
            </a:defPPr>
            <a:lvl1pPr indent="0">
              <a:spcBef>
                <a:spcPts val="600"/>
              </a:spcBef>
              <a:buClr>
                <a:srgbClr val="2D3494"/>
              </a:buClr>
              <a:buFont typeface="Arial" pitchFamily="34" charset="0"/>
              <a:buNone/>
              <a:defRPr b="0" i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 marL="180000" indent="-180000">
              <a:spcBef>
                <a:spcPts val="600"/>
              </a:spcBef>
              <a:buClr>
                <a:srgbClr val="2D3494"/>
              </a:buClr>
              <a:buFont typeface="Wingdings" pitchFamily="2" charset="2"/>
              <a:buChar char="§"/>
              <a:defRPr sz="1400" b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 marL="360000" indent="-180000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–"/>
              <a:defRPr sz="1400" b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 marL="540000" indent="-180000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400" b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 marL="720000" indent="-180000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400" b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>
              <a:spcBef>
                <a:spcPts val="0"/>
              </a:spcBef>
            </a:pPr>
            <a:r>
              <a:rPr lang="ru-RU" sz="1200" dirty="0" smtClean="0">
                <a:solidFill>
                  <a:schemeClr val="tx1"/>
                </a:solidFill>
                <a:latin typeface="+mn-lt"/>
              </a:rPr>
              <a:t>Технологические карты уроков</a:t>
            </a:r>
            <a:endParaRPr lang="ru-RU" sz="12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22" name="Text Placeholder 3"/>
          <p:cNvSpPr txBox="1">
            <a:spLocks/>
          </p:cNvSpPr>
          <p:nvPr/>
        </p:nvSpPr>
        <p:spPr>
          <a:xfrm>
            <a:off x="737644" y="2459033"/>
            <a:ext cx="1296000" cy="414000"/>
          </a:xfrm>
          <a:prstGeom prst="rect">
            <a:avLst/>
          </a:prstGeom>
        </p:spPr>
        <p:txBody>
          <a:bodyPr vert="horz" lIns="72000" tIns="72000" rIns="36000" bIns="72000" rtlCol="0" anchor="ctr" anchorCtr="0">
            <a:noAutofit/>
          </a:bodyPr>
          <a:lstStyle>
            <a:defPPr>
              <a:defRPr lang="ru-RU"/>
            </a:defPPr>
            <a:lvl1pPr indent="0">
              <a:spcBef>
                <a:spcPts val="600"/>
              </a:spcBef>
              <a:buClr>
                <a:srgbClr val="2D3494"/>
              </a:buClr>
              <a:buFont typeface="Arial" pitchFamily="34" charset="0"/>
              <a:buNone/>
              <a:defRPr b="0" i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 marL="180000" indent="-180000">
              <a:spcBef>
                <a:spcPts val="600"/>
              </a:spcBef>
              <a:buClr>
                <a:srgbClr val="2D3494"/>
              </a:buClr>
              <a:buFont typeface="Wingdings" pitchFamily="2" charset="2"/>
              <a:buChar char="§"/>
              <a:defRPr sz="1400" b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 marL="360000" indent="-180000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–"/>
              <a:defRPr sz="1400" b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 marL="540000" indent="-180000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400" b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 marL="720000" indent="-180000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400" b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>
              <a:spcBef>
                <a:spcPts val="0"/>
              </a:spcBef>
            </a:pPr>
            <a:r>
              <a:rPr lang="ru-RU" sz="1200" dirty="0">
                <a:solidFill>
                  <a:schemeClr val="tx1"/>
                </a:solidFill>
                <a:latin typeface="+mn-lt"/>
              </a:rPr>
              <a:t>Рабочая </a:t>
            </a:r>
            <a:r>
              <a:rPr lang="ru-RU" sz="1200" dirty="0" smtClean="0">
                <a:solidFill>
                  <a:schemeClr val="tx1"/>
                </a:solidFill>
                <a:latin typeface="+mn-lt"/>
              </a:rPr>
              <a:t>программа /</a:t>
            </a:r>
          </a:p>
          <a:p>
            <a:pPr>
              <a:spcBef>
                <a:spcPts val="0"/>
              </a:spcBef>
            </a:pPr>
            <a:r>
              <a:rPr lang="ru-RU" sz="1200" dirty="0" smtClean="0">
                <a:solidFill>
                  <a:schemeClr val="tx1"/>
                </a:solidFill>
                <a:latin typeface="+mn-lt"/>
              </a:rPr>
              <a:t>Методические рекомендации</a:t>
            </a:r>
            <a:endParaRPr lang="ru-RU" sz="1200" dirty="0">
              <a:solidFill>
                <a:schemeClr val="tx1"/>
              </a:solidFill>
              <a:latin typeface="+mn-lt"/>
            </a:endParaRPr>
          </a:p>
        </p:txBody>
      </p:sp>
      <p:cxnSp>
        <p:nvCxnSpPr>
          <p:cNvPr id="23" name="Прямая соединительная линия 22"/>
          <p:cNvCxnSpPr/>
          <p:nvPr/>
        </p:nvCxnSpPr>
        <p:spPr>
          <a:xfrm flipH="1">
            <a:off x="804793" y="2208528"/>
            <a:ext cx="10476000" cy="0"/>
          </a:xfrm>
          <a:prstGeom prst="line">
            <a:avLst/>
          </a:prstGeom>
          <a:solidFill>
            <a:srgbClr val="AE2C25"/>
          </a:solidFill>
          <a:ln w="9525">
            <a:solidFill>
              <a:schemeClr val="tx1">
                <a:lumMod val="50000"/>
                <a:lumOff val="50000"/>
              </a:schemeClr>
            </a:solidFill>
            <a:prstDash val="dash"/>
            <a:miter lim="800000"/>
            <a:headEnd type="none" w="med" len="med"/>
            <a:tailEnd type="none"/>
          </a:ln>
        </p:spPr>
      </p:cxnSp>
      <p:cxnSp>
        <p:nvCxnSpPr>
          <p:cNvPr id="24" name="Прямая соединительная линия 23"/>
          <p:cNvCxnSpPr/>
          <p:nvPr/>
        </p:nvCxnSpPr>
        <p:spPr>
          <a:xfrm flipH="1">
            <a:off x="783897" y="3270292"/>
            <a:ext cx="10476000" cy="0"/>
          </a:xfrm>
          <a:prstGeom prst="line">
            <a:avLst/>
          </a:prstGeom>
          <a:solidFill>
            <a:srgbClr val="AE2C25"/>
          </a:solidFill>
          <a:ln w="9525">
            <a:solidFill>
              <a:schemeClr val="tx1">
                <a:lumMod val="50000"/>
                <a:lumOff val="50000"/>
              </a:schemeClr>
            </a:solidFill>
            <a:prstDash val="dash"/>
            <a:miter lim="800000"/>
            <a:headEnd type="none" w="med" len="med"/>
            <a:tailEnd type="none"/>
          </a:ln>
        </p:spPr>
      </p:cxnSp>
      <p:cxnSp>
        <p:nvCxnSpPr>
          <p:cNvPr id="25" name="Прямая соединительная линия 24"/>
          <p:cNvCxnSpPr/>
          <p:nvPr/>
        </p:nvCxnSpPr>
        <p:spPr>
          <a:xfrm flipH="1">
            <a:off x="755071" y="4343341"/>
            <a:ext cx="10476000" cy="0"/>
          </a:xfrm>
          <a:prstGeom prst="line">
            <a:avLst/>
          </a:prstGeom>
          <a:solidFill>
            <a:srgbClr val="AE2C25"/>
          </a:solidFill>
          <a:ln w="9525">
            <a:solidFill>
              <a:schemeClr val="tx1">
                <a:lumMod val="50000"/>
                <a:lumOff val="50000"/>
              </a:schemeClr>
            </a:solidFill>
            <a:prstDash val="dash"/>
            <a:miter lim="800000"/>
            <a:headEnd type="none" w="med" len="med"/>
            <a:tailEnd type="none"/>
          </a:ln>
        </p:spPr>
      </p:cxnSp>
      <p:sp>
        <p:nvSpPr>
          <p:cNvPr id="26" name="Text Placeholder 3"/>
          <p:cNvSpPr txBox="1">
            <a:spLocks/>
          </p:cNvSpPr>
          <p:nvPr/>
        </p:nvSpPr>
        <p:spPr>
          <a:xfrm>
            <a:off x="737644" y="1314420"/>
            <a:ext cx="1296000" cy="414000"/>
          </a:xfrm>
          <a:prstGeom prst="rect">
            <a:avLst/>
          </a:prstGeom>
        </p:spPr>
        <p:txBody>
          <a:bodyPr vert="horz" lIns="72000" tIns="72000" rIns="36000" bIns="72000" rtlCol="0" anchor="ctr" anchorCtr="0">
            <a:noAutofit/>
          </a:bodyPr>
          <a:lstStyle>
            <a:defPPr>
              <a:defRPr lang="ru-RU"/>
            </a:defPPr>
            <a:lvl1pPr indent="0">
              <a:spcBef>
                <a:spcPts val="600"/>
              </a:spcBef>
              <a:buClr>
                <a:srgbClr val="2D3494"/>
              </a:buClr>
              <a:buFont typeface="Arial" pitchFamily="34" charset="0"/>
              <a:buNone/>
              <a:defRPr b="0" i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 marL="180000" indent="-180000">
              <a:spcBef>
                <a:spcPts val="600"/>
              </a:spcBef>
              <a:buClr>
                <a:srgbClr val="2D3494"/>
              </a:buClr>
              <a:buFont typeface="Wingdings" pitchFamily="2" charset="2"/>
              <a:buChar char="§"/>
              <a:defRPr sz="1400" b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 marL="360000" indent="-180000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–"/>
              <a:defRPr sz="1400" b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 marL="540000" indent="-180000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400" b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 marL="720000" indent="-180000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400" b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>
              <a:spcBef>
                <a:spcPts val="0"/>
              </a:spcBef>
            </a:pPr>
            <a:r>
              <a:rPr lang="ru-RU" sz="1200" dirty="0" smtClean="0">
                <a:solidFill>
                  <a:schemeClr val="tx1"/>
                </a:solidFill>
                <a:latin typeface="+mn-lt"/>
              </a:rPr>
              <a:t>Учебник</a:t>
            </a:r>
            <a:r>
              <a:rPr lang="en-US" sz="1200" dirty="0" smtClean="0">
                <a:solidFill>
                  <a:schemeClr val="tx1"/>
                </a:solidFill>
                <a:latin typeface="+mn-lt"/>
              </a:rPr>
              <a:t> / </a:t>
            </a:r>
            <a:r>
              <a:rPr lang="ru-RU" sz="1200" dirty="0" smtClean="0">
                <a:solidFill>
                  <a:schemeClr val="tx1"/>
                </a:solidFill>
                <a:latin typeface="+mn-lt"/>
              </a:rPr>
              <a:t>ЭФУ*</a:t>
            </a:r>
            <a:endParaRPr lang="ru-RU" sz="12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2999873" y="567809"/>
            <a:ext cx="641099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400" b="1" dirty="0">
                <a:solidFill>
                  <a:srgbClr val="2D3494"/>
                </a:solidFill>
                <a:cs typeface="Calibri" panose="020F0502020204030204" pitchFamily="34" charset="0"/>
              </a:rPr>
              <a:t>7</a:t>
            </a:r>
            <a:r>
              <a:rPr lang="ru-RU" sz="1400" b="1" dirty="0">
                <a:solidFill>
                  <a:srgbClr val="2D3494"/>
                </a:solidFill>
                <a:cs typeface="Calibri" panose="020F0502020204030204" pitchFamily="34" charset="0"/>
              </a:rPr>
              <a:t> класс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5811266" y="545327"/>
            <a:ext cx="641099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400" b="1" dirty="0">
                <a:solidFill>
                  <a:srgbClr val="2D3494"/>
                </a:solidFill>
                <a:cs typeface="Calibri" panose="020F0502020204030204" pitchFamily="34" charset="0"/>
              </a:rPr>
              <a:t>8</a:t>
            </a:r>
            <a:r>
              <a:rPr lang="ru-RU" sz="1400" b="1" dirty="0">
                <a:solidFill>
                  <a:srgbClr val="2D3494"/>
                </a:solidFill>
                <a:cs typeface="Calibri" panose="020F0502020204030204" pitchFamily="34" charset="0"/>
              </a:rPr>
              <a:t> класс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8398117" y="567809"/>
            <a:ext cx="641099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400" b="1" dirty="0">
                <a:solidFill>
                  <a:srgbClr val="2D3494"/>
                </a:solidFill>
                <a:cs typeface="Calibri" panose="020F0502020204030204" pitchFamily="34" charset="0"/>
              </a:rPr>
              <a:t>9</a:t>
            </a:r>
            <a:r>
              <a:rPr lang="ru-RU" sz="1400" b="1" dirty="0">
                <a:solidFill>
                  <a:srgbClr val="2D3494"/>
                </a:solidFill>
                <a:cs typeface="Calibri" panose="020F0502020204030204" pitchFamily="34" charset="0"/>
              </a:rPr>
              <a:t> класс</a:t>
            </a:r>
          </a:p>
        </p:txBody>
      </p:sp>
      <p:sp>
        <p:nvSpPr>
          <p:cNvPr id="32" name="Text Placeholder 3"/>
          <p:cNvSpPr txBox="1">
            <a:spLocks/>
          </p:cNvSpPr>
          <p:nvPr/>
        </p:nvSpPr>
        <p:spPr>
          <a:xfrm>
            <a:off x="755071" y="4495247"/>
            <a:ext cx="1296000" cy="414000"/>
          </a:xfrm>
          <a:prstGeom prst="rect">
            <a:avLst/>
          </a:prstGeom>
        </p:spPr>
        <p:txBody>
          <a:bodyPr vert="horz" lIns="72000" tIns="72000" rIns="36000" bIns="72000" rtlCol="0" anchor="ctr" anchorCtr="0">
            <a:noAutofit/>
          </a:bodyPr>
          <a:lstStyle>
            <a:defPPr>
              <a:defRPr lang="ru-RU"/>
            </a:defPPr>
            <a:lvl1pPr indent="0">
              <a:spcBef>
                <a:spcPts val="600"/>
              </a:spcBef>
              <a:buClr>
                <a:srgbClr val="2D3494"/>
              </a:buClr>
              <a:buFont typeface="Arial" pitchFamily="34" charset="0"/>
              <a:buNone/>
              <a:defRPr b="0" i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 marL="180000" indent="-180000">
              <a:spcBef>
                <a:spcPts val="600"/>
              </a:spcBef>
              <a:buClr>
                <a:srgbClr val="2D3494"/>
              </a:buClr>
              <a:buFont typeface="Wingdings" pitchFamily="2" charset="2"/>
              <a:buChar char="§"/>
              <a:defRPr sz="1400" b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 marL="360000" indent="-180000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–"/>
              <a:defRPr sz="1400" b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 marL="540000" indent="-180000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400" b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 marL="720000" indent="-180000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400" b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>
              <a:spcBef>
                <a:spcPts val="0"/>
              </a:spcBef>
            </a:pPr>
            <a:r>
              <a:rPr lang="ru-RU" sz="1200" dirty="0" smtClean="0">
                <a:solidFill>
                  <a:schemeClr val="tx1"/>
                </a:solidFill>
                <a:latin typeface="+mn-lt"/>
              </a:rPr>
              <a:t>Обучающий тренажёр</a:t>
            </a:r>
            <a:endParaRPr lang="ru-RU" sz="12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33" name="Скругленный прямоугольник 32"/>
          <p:cNvSpPr/>
          <p:nvPr/>
        </p:nvSpPr>
        <p:spPr>
          <a:xfrm>
            <a:off x="715881" y="3812674"/>
            <a:ext cx="1104507" cy="349954"/>
          </a:xfrm>
          <a:prstGeom prst="roundRect">
            <a:avLst/>
          </a:prstGeom>
          <a:solidFill>
            <a:srgbClr val="FC0652"/>
          </a:solidFill>
          <a:ln w="9525">
            <a:solidFill>
              <a:srgbClr val="FC065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72000" rIns="0" bIns="72000" rtlCol="0" anchor="ctr" anchorCtr="0"/>
          <a:lstStyle/>
          <a:p>
            <a:pPr algn="ctr"/>
            <a:r>
              <a:rPr lang="ru-RU" sz="1200" b="1" dirty="0" smtClean="0">
                <a:solidFill>
                  <a:schemeClr val="bg1"/>
                </a:solidFill>
                <a:latin typeface="Calibri" panose="020F0502020204030204" pitchFamily="34" charset="0"/>
              </a:rPr>
              <a:t>НОВИНКА </a:t>
            </a:r>
          </a:p>
          <a:p>
            <a:pPr algn="ctr"/>
            <a:r>
              <a:rPr lang="en-US" sz="1200" b="1" dirty="0" smtClean="0">
                <a:solidFill>
                  <a:schemeClr val="bg1"/>
                </a:solidFill>
                <a:latin typeface="Calibri" panose="020F0502020204030204" pitchFamily="34" charset="0"/>
              </a:rPr>
              <a:t>I </a:t>
            </a:r>
            <a:r>
              <a:rPr lang="ru-RU" sz="1200" b="1" dirty="0" smtClean="0">
                <a:solidFill>
                  <a:schemeClr val="bg1"/>
                </a:solidFill>
                <a:latin typeface="Calibri" panose="020F0502020204030204" pitchFamily="34" charset="0"/>
              </a:rPr>
              <a:t>квартал 2021 </a:t>
            </a:r>
            <a:endParaRPr lang="ru-RU" sz="1200" b="1" dirty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sp>
        <p:nvSpPr>
          <p:cNvPr id="34" name="Прямоугольник 33">
            <a:extLst>
              <a:ext uri="{FF2B5EF4-FFF2-40B4-BE49-F238E27FC236}">
                <a16:creationId xmlns:a16="http://schemas.microsoft.com/office/drawing/2014/main" id="{93110AC9-F1A4-4CD9-927C-8BDCA8AD5ECC}"/>
              </a:ext>
            </a:extLst>
          </p:cNvPr>
          <p:cNvSpPr/>
          <p:nvPr/>
        </p:nvSpPr>
        <p:spPr>
          <a:xfrm>
            <a:off x="10720749" y="2509267"/>
            <a:ext cx="1519974" cy="369592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r>
              <a:rPr lang="ru-RU" sz="1050" dirty="0" smtClean="0">
                <a:solidFill>
                  <a:schemeClr val="tx1"/>
                </a:solidFill>
              </a:rPr>
              <a:t>в </a:t>
            </a:r>
            <a:r>
              <a:rPr lang="ru-RU" sz="1050" dirty="0">
                <a:solidFill>
                  <a:schemeClr val="tx1"/>
                </a:solidFill>
              </a:rPr>
              <a:t>электронной форме </a:t>
            </a:r>
            <a:endParaRPr lang="en-US" sz="1050" dirty="0" smtClean="0">
              <a:solidFill>
                <a:schemeClr val="tx1"/>
              </a:solidFill>
            </a:endParaRPr>
          </a:p>
          <a:p>
            <a:r>
              <a:rPr lang="ru-RU" sz="1050" dirty="0" smtClean="0">
                <a:solidFill>
                  <a:schemeClr val="tx1"/>
                </a:solidFill>
              </a:rPr>
              <a:t>на </a:t>
            </a:r>
            <a:r>
              <a:rPr lang="ru-RU" sz="1050" dirty="0">
                <a:solidFill>
                  <a:schemeClr val="tx1"/>
                </a:solidFill>
              </a:rPr>
              <a:t>сайте </a:t>
            </a:r>
            <a:r>
              <a:rPr lang="en-US" sz="1050" u="sng" dirty="0" smtClean="0">
                <a:solidFill>
                  <a:srgbClr val="2D3494"/>
                </a:solidFill>
                <a:hlinkClick r:id="rId7"/>
              </a:rPr>
              <a:t>prosv.ru</a:t>
            </a:r>
            <a:endParaRPr lang="ru-RU" sz="1050" u="sng" dirty="0">
              <a:solidFill>
                <a:srgbClr val="2D3494"/>
              </a:solidFill>
            </a:endParaRPr>
          </a:p>
        </p:txBody>
      </p:sp>
      <p:grpSp>
        <p:nvGrpSpPr>
          <p:cNvPr id="35" name="Группа 34">
            <a:extLst>
              <a:ext uri="{FF2B5EF4-FFF2-40B4-BE49-F238E27FC236}">
                <a16:creationId xmlns:a16="http://schemas.microsoft.com/office/drawing/2014/main" id="{F2FAAE45-885F-420F-8B08-B1745AFAA31A}"/>
              </a:ext>
            </a:extLst>
          </p:cNvPr>
          <p:cNvGrpSpPr/>
          <p:nvPr/>
        </p:nvGrpSpPr>
        <p:grpSpPr>
          <a:xfrm>
            <a:off x="10195645" y="2463084"/>
            <a:ext cx="413238" cy="411773"/>
            <a:chOff x="6382908" y="2872445"/>
            <a:chExt cx="413238" cy="411773"/>
          </a:xfrm>
        </p:grpSpPr>
        <p:sp>
          <p:nvSpPr>
            <p:cNvPr id="36" name="Freeform 20">
              <a:extLst>
                <a:ext uri="{FF2B5EF4-FFF2-40B4-BE49-F238E27FC236}">
                  <a16:creationId xmlns:a16="http://schemas.microsoft.com/office/drawing/2014/main" id="{7ADC8471-57FE-47A0-AD7E-9DB16EEA2A46}"/>
                </a:ext>
              </a:extLst>
            </p:cNvPr>
            <p:cNvSpPr>
              <a:spLocks/>
            </p:cNvSpPr>
            <p:nvPr/>
          </p:nvSpPr>
          <p:spPr bwMode="auto">
            <a:xfrm rot="5400000">
              <a:off x="6465702" y="2983082"/>
              <a:ext cx="235927" cy="191966"/>
            </a:xfrm>
            <a:custGeom>
              <a:avLst/>
              <a:gdLst/>
              <a:ahLst/>
              <a:cxnLst>
                <a:cxn ang="0">
                  <a:pos x="96" y="131"/>
                </a:cxn>
                <a:cxn ang="0">
                  <a:pos x="96" y="131"/>
                </a:cxn>
                <a:cxn ang="0">
                  <a:pos x="95" y="131"/>
                </a:cxn>
                <a:cxn ang="0">
                  <a:pos x="93" y="129"/>
                </a:cxn>
                <a:cxn ang="0">
                  <a:pos x="82" y="119"/>
                </a:cxn>
                <a:cxn ang="0">
                  <a:pos x="82" y="119"/>
                </a:cxn>
                <a:cxn ang="0">
                  <a:pos x="81" y="115"/>
                </a:cxn>
                <a:cxn ang="0">
                  <a:pos x="81" y="115"/>
                </a:cxn>
                <a:cxn ang="0">
                  <a:pos x="82" y="111"/>
                </a:cxn>
                <a:cxn ang="0">
                  <a:pos x="114" y="79"/>
                </a:cxn>
                <a:cxn ang="0">
                  <a:pos x="5" y="79"/>
                </a:cxn>
                <a:cxn ang="0">
                  <a:pos x="5" y="79"/>
                </a:cxn>
                <a:cxn ang="0">
                  <a:pos x="4" y="79"/>
                </a:cxn>
                <a:cxn ang="0">
                  <a:pos x="2" y="78"/>
                </a:cxn>
                <a:cxn ang="0">
                  <a:pos x="1" y="77"/>
                </a:cxn>
                <a:cxn ang="0">
                  <a:pos x="0" y="74"/>
                </a:cxn>
                <a:cxn ang="0">
                  <a:pos x="0" y="56"/>
                </a:cxn>
                <a:cxn ang="0">
                  <a:pos x="0" y="56"/>
                </a:cxn>
                <a:cxn ang="0">
                  <a:pos x="1" y="54"/>
                </a:cxn>
                <a:cxn ang="0">
                  <a:pos x="2" y="52"/>
                </a:cxn>
                <a:cxn ang="0">
                  <a:pos x="4" y="51"/>
                </a:cxn>
                <a:cxn ang="0">
                  <a:pos x="5" y="51"/>
                </a:cxn>
                <a:cxn ang="0">
                  <a:pos x="113" y="51"/>
                </a:cxn>
                <a:cxn ang="0">
                  <a:pos x="82" y="20"/>
                </a:cxn>
                <a:cxn ang="0">
                  <a:pos x="82" y="20"/>
                </a:cxn>
                <a:cxn ang="0">
                  <a:pos x="81" y="17"/>
                </a:cxn>
                <a:cxn ang="0">
                  <a:pos x="81" y="17"/>
                </a:cxn>
                <a:cxn ang="0">
                  <a:pos x="82" y="13"/>
                </a:cxn>
                <a:cxn ang="0">
                  <a:pos x="93" y="1"/>
                </a:cxn>
                <a:cxn ang="0">
                  <a:pos x="93" y="1"/>
                </a:cxn>
                <a:cxn ang="0">
                  <a:pos x="95" y="1"/>
                </a:cxn>
                <a:cxn ang="0">
                  <a:pos x="96" y="0"/>
                </a:cxn>
                <a:cxn ang="0">
                  <a:pos x="96" y="0"/>
                </a:cxn>
                <a:cxn ang="0">
                  <a:pos x="99" y="1"/>
                </a:cxn>
                <a:cxn ang="0">
                  <a:pos x="100" y="1"/>
                </a:cxn>
                <a:cxn ang="0">
                  <a:pos x="160" y="63"/>
                </a:cxn>
                <a:cxn ang="0">
                  <a:pos x="160" y="63"/>
                </a:cxn>
                <a:cxn ang="0">
                  <a:pos x="161" y="64"/>
                </a:cxn>
                <a:cxn ang="0">
                  <a:pos x="161" y="65"/>
                </a:cxn>
                <a:cxn ang="0">
                  <a:pos x="161" y="68"/>
                </a:cxn>
                <a:cxn ang="0">
                  <a:pos x="160" y="69"/>
                </a:cxn>
                <a:cxn ang="0">
                  <a:pos x="100" y="129"/>
                </a:cxn>
                <a:cxn ang="0">
                  <a:pos x="100" y="129"/>
                </a:cxn>
                <a:cxn ang="0">
                  <a:pos x="99" y="131"/>
                </a:cxn>
                <a:cxn ang="0">
                  <a:pos x="96" y="131"/>
                </a:cxn>
                <a:cxn ang="0">
                  <a:pos x="96" y="131"/>
                </a:cxn>
              </a:cxnLst>
              <a:rect l="0" t="0" r="r" b="b"/>
              <a:pathLst>
                <a:path w="161" h="131">
                  <a:moveTo>
                    <a:pt x="96" y="131"/>
                  </a:moveTo>
                  <a:lnTo>
                    <a:pt x="96" y="131"/>
                  </a:lnTo>
                  <a:lnTo>
                    <a:pt x="95" y="131"/>
                  </a:lnTo>
                  <a:lnTo>
                    <a:pt x="93" y="129"/>
                  </a:lnTo>
                  <a:lnTo>
                    <a:pt x="82" y="119"/>
                  </a:lnTo>
                  <a:lnTo>
                    <a:pt x="82" y="119"/>
                  </a:lnTo>
                  <a:lnTo>
                    <a:pt x="81" y="115"/>
                  </a:lnTo>
                  <a:lnTo>
                    <a:pt x="81" y="115"/>
                  </a:lnTo>
                  <a:lnTo>
                    <a:pt x="82" y="111"/>
                  </a:lnTo>
                  <a:lnTo>
                    <a:pt x="114" y="79"/>
                  </a:lnTo>
                  <a:lnTo>
                    <a:pt x="5" y="79"/>
                  </a:lnTo>
                  <a:lnTo>
                    <a:pt x="5" y="79"/>
                  </a:lnTo>
                  <a:lnTo>
                    <a:pt x="4" y="79"/>
                  </a:lnTo>
                  <a:lnTo>
                    <a:pt x="2" y="78"/>
                  </a:lnTo>
                  <a:lnTo>
                    <a:pt x="1" y="77"/>
                  </a:lnTo>
                  <a:lnTo>
                    <a:pt x="0" y="74"/>
                  </a:lnTo>
                  <a:lnTo>
                    <a:pt x="0" y="56"/>
                  </a:lnTo>
                  <a:lnTo>
                    <a:pt x="0" y="56"/>
                  </a:lnTo>
                  <a:lnTo>
                    <a:pt x="1" y="54"/>
                  </a:lnTo>
                  <a:lnTo>
                    <a:pt x="2" y="52"/>
                  </a:lnTo>
                  <a:lnTo>
                    <a:pt x="4" y="51"/>
                  </a:lnTo>
                  <a:lnTo>
                    <a:pt x="5" y="51"/>
                  </a:lnTo>
                  <a:lnTo>
                    <a:pt x="113" y="51"/>
                  </a:lnTo>
                  <a:lnTo>
                    <a:pt x="82" y="20"/>
                  </a:lnTo>
                  <a:lnTo>
                    <a:pt x="82" y="20"/>
                  </a:lnTo>
                  <a:lnTo>
                    <a:pt x="81" y="17"/>
                  </a:lnTo>
                  <a:lnTo>
                    <a:pt x="81" y="17"/>
                  </a:lnTo>
                  <a:lnTo>
                    <a:pt x="82" y="13"/>
                  </a:lnTo>
                  <a:lnTo>
                    <a:pt x="93" y="1"/>
                  </a:lnTo>
                  <a:lnTo>
                    <a:pt x="93" y="1"/>
                  </a:lnTo>
                  <a:lnTo>
                    <a:pt x="95" y="1"/>
                  </a:lnTo>
                  <a:lnTo>
                    <a:pt x="96" y="0"/>
                  </a:lnTo>
                  <a:lnTo>
                    <a:pt x="96" y="0"/>
                  </a:lnTo>
                  <a:lnTo>
                    <a:pt x="99" y="1"/>
                  </a:lnTo>
                  <a:lnTo>
                    <a:pt x="100" y="1"/>
                  </a:lnTo>
                  <a:lnTo>
                    <a:pt x="160" y="63"/>
                  </a:lnTo>
                  <a:lnTo>
                    <a:pt x="160" y="63"/>
                  </a:lnTo>
                  <a:lnTo>
                    <a:pt x="161" y="64"/>
                  </a:lnTo>
                  <a:lnTo>
                    <a:pt x="161" y="65"/>
                  </a:lnTo>
                  <a:lnTo>
                    <a:pt x="161" y="68"/>
                  </a:lnTo>
                  <a:lnTo>
                    <a:pt x="160" y="69"/>
                  </a:lnTo>
                  <a:lnTo>
                    <a:pt x="100" y="129"/>
                  </a:lnTo>
                  <a:lnTo>
                    <a:pt x="100" y="129"/>
                  </a:lnTo>
                  <a:lnTo>
                    <a:pt x="99" y="131"/>
                  </a:lnTo>
                  <a:lnTo>
                    <a:pt x="96" y="131"/>
                  </a:lnTo>
                  <a:lnTo>
                    <a:pt x="96" y="131"/>
                  </a:lnTo>
                  <a:close/>
                </a:path>
              </a:pathLst>
            </a:custGeom>
            <a:solidFill>
              <a:srgbClr val="2F369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endParaRPr lang="en-US" sz="1662"/>
            </a:p>
          </p:txBody>
        </p:sp>
        <p:sp>
          <p:nvSpPr>
            <p:cNvPr id="37" name="Freeform 21">
              <a:extLst>
                <a:ext uri="{FF2B5EF4-FFF2-40B4-BE49-F238E27FC236}">
                  <a16:creationId xmlns:a16="http://schemas.microsoft.com/office/drawing/2014/main" id="{8BFBC387-E640-4870-9518-48BCA2BAFFF7}"/>
                </a:ext>
              </a:extLst>
            </p:cNvPr>
            <p:cNvSpPr>
              <a:spLocks noEditPoints="1"/>
            </p:cNvSpPr>
            <p:nvPr/>
          </p:nvSpPr>
          <p:spPr bwMode="auto">
            <a:xfrm rot="5400000">
              <a:off x="6383640" y="2871713"/>
              <a:ext cx="411773" cy="413238"/>
            </a:xfrm>
            <a:custGeom>
              <a:avLst/>
              <a:gdLst/>
              <a:ahLst/>
              <a:cxnLst>
                <a:cxn ang="0">
                  <a:pos x="125" y="282"/>
                </a:cxn>
                <a:cxn ang="0">
                  <a:pos x="85" y="272"/>
                </a:cxn>
                <a:cxn ang="0">
                  <a:pos x="51" y="250"/>
                </a:cxn>
                <a:cxn ang="0">
                  <a:pos x="23" y="221"/>
                </a:cxn>
                <a:cxn ang="0">
                  <a:pos x="5" y="183"/>
                </a:cxn>
                <a:cxn ang="0">
                  <a:pos x="0" y="141"/>
                </a:cxn>
                <a:cxn ang="0">
                  <a:pos x="2" y="113"/>
                </a:cxn>
                <a:cxn ang="0">
                  <a:pos x="16" y="75"/>
                </a:cxn>
                <a:cxn ang="0">
                  <a:pos x="41" y="41"/>
                </a:cxn>
                <a:cxn ang="0">
                  <a:pos x="73" y="17"/>
                </a:cxn>
                <a:cxn ang="0">
                  <a:pos x="111" y="3"/>
                </a:cxn>
                <a:cxn ang="0">
                  <a:pos x="140" y="0"/>
                </a:cxn>
                <a:cxn ang="0">
                  <a:pos x="181" y="7"/>
                </a:cxn>
                <a:cxn ang="0">
                  <a:pos x="219" y="25"/>
                </a:cxn>
                <a:cxn ang="0">
                  <a:pos x="249" y="52"/>
                </a:cxn>
                <a:cxn ang="0">
                  <a:pos x="270" y="86"/>
                </a:cxn>
                <a:cxn ang="0">
                  <a:pos x="280" y="127"/>
                </a:cxn>
                <a:cxn ang="0">
                  <a:pos x="280" y="157"/>
                </a:cxn>
                <a:cxn ang="0">
                  <a:pos x="270" y="196"/>
                </a:cxn>
                <a:cxn ang="0">
                  <a:pos x="249" y="231"/>
                </a:cxn>
                <a:cxn ang="0">
                  <a:pos x="219" y="259"/>
                </a:cxn>
                <a:cxn ang="0">
                  <a:pos x="181" y="276"/>
                </a:cxn>
                <a:cxn ang="0">
                  <a:pos x="140" y="282"/>
                </a:cxn>
                <a:cxn ang="0">
                  <a:pos x="140" y="21"/>
                </a:cxn>
                <a:cxn ang="0">
                  <a:pos x="105" y="26"/>
                </a:cxn>
                <a:cxn ang="0">
                  <a:pos x="73" y="41"/>
                </a:cxn>
                <a:cxn ang="0">
                  <a:pos x="47" y="64"/>
                </a:cxn>
                <a:cxn ang="0">
                  <a:pos x="29" y="95"/>
                </a:cxn>
                <a:cxn ang="0">
                  <a:pos x="20" y="130"/>
                </a:cxn>
                <a:cxn ang="0">
                  <a:pos x="20" y="154"/>
                </a:cxn>
                <a:cxn ang="0">
                  <a:pos x="29" y="189"/>
                </a:cxn>
                <a:cxn ang="0">
                  <a:pos x="47" y="218"/>
                </a:cxn>
                <a:cxn ang="0">
                  <a:pos x="73" y="242"/>
                </a:cxn>
                <a:cxn ang="0">
                  <a:pos x="105" y="258"/>
                </a:cxn>
                <a:cxn ang="0">
                  <a:pos x="140" y="263"/>
                </a:cxn>
                <a:cxn ang="0">
                  <a:pos x="165" y="260"/>
                </a:cxn>
                <a:cxn ang="0">
                  <a:pos x="198" y="247"/>
                </a:cxn>
                <a:cxn ang="0">
                  <a:pos x="225" y="227"/>
                </a:cxn>
                <a:cxn ang="0">
                  <a:pos x="247" y="199"/>
                </a:cxn>
                <a:cxn ang="0">
                  <a:pos x="258" y="166"/>
                </a:cxn>
                <a:cxn ang="0">
                  <a:pos x="261" y="141"/>
                </a:cxn>
                <a:cxn ang="0">
                  <a:pos x="256" y="105"/>
                </a:cxn>
                <a:cxn ang="0">
                  <a:pos x="240" y="75"/>
                </a:cxn>
                <a:cxn ang="0">
                  <a:pos x="217" y="48"/>
                </a:cxn>
                <a:cxn ang="0">
                  <a:pos x="187" y="30"/>
                </a:cxn>
                <a:cxn ang="0">
                  <a:pos x="152" y="21"/>
                </a:cxn>
              </a:cxnLst>
              <a:rect l="0" t="0" r="r" b="b"/>
              <a:pathLst>
                <a:path w="281" h="282">
                  <a:moveTo>
                    <a:pt x="140" y="282"/>
                  </a:moveTo>
                  <a:lnTo>
                    <a:pt x="140" y="282"/>
                  </a:lnTo>
                  <a:lnTo>
                    <a:pt x="125" y="282"/>
                  </a:lnTo>
                  <a:lnTo>
                    <a:pt x="111" y="279"/>
                  </a:lnTo>
                  <a:lnTo>
                    <a:pt x="98" y="276"/>
                  </a:lnTo>
                  <a:lnTo>
                    <a:pt x="85" y="272"/>
                  </a:lnTo>
                  <a:lnTo>
                    <a:pt x="73" y="265"/>
                  </a:lnTo>
                  <a:lnTo>
                    <a:pt x="61" y="259"/>
                  </a:lnTo>
                  <a:lnTo>
                    <a:pt x="51" y="250"/>
                  </a:lnTo>
                  <a:lnTo>
                    <a:pt x="41" y="241"/>
                  </a:lnTo>
                  <a:lnTo>
                    <a:pt x="32" y="231"/>
                  </a:lnTo>
                  <a:lnTo>
                    <a:pt x="23" y="221"/>
                  </a:lnTo>
                  <a:lnTo>
                    <a:pt x="16" y="209"/>
                  </a:lnTo>
                  <a:lnTo>
                    <a:pt x="10" y="196"/>
                  </a:lnTo>
                  <a:lnTo>
                    <a:pt x="5" y="183"/>
                  </a:lnTo>
                  <a:lnTo>
                    <a:pt x="2" y="169"/>
                  </a:lnTo>
                  <a:lnTo>
                    <a:pt x="0" y="157"/>
                  </a:lnTo>
                  <a:lnTo>
                    <a:pt x="0" y="141"/>
                  </a:lnTo>
                  <a:lnTo>
                    <a:pt x="0" y="141"/>
                  </a:lnTo>
                  <a:lnTo>
                    <a:pt x="0" y="127"/>
                  </a:lnTo>
                  <a:lnTo>
                    <a:pt x="2" y="113"/>
                  </a:lnTo>
                  <a:lnTo>
                    <a:pt x="5" y="100"/>
                  </a:lnTo>
                  <a:lnTo>
                    <a:pt x="10" y="86"/>
                  </a:lnTo>
                  <a:lnTo>
                    <a:pt x="16" y="75"/>
                  </a:lnTo>
                  <a:lnTo>
                    <a:pt x="23" y="63"/>
                  </a:lnTo>
                  <a:lnTo>
                    <a:pt x="32" y="52"/>
                  </a:lnTo>
                  <a:lnTo>
                    <a:pt x="41" y="41"/>
                  </a:lnTo>
                  <a:lnTo>
                    <a:pt x="51" y="32"/>
                  </a:lnTo>
                  <a:lnTo>
                    <a:pt x="61" y="25"/>
                  </a:lnTo>
                  <a:lnTo>
                    <a:pt x="73" y="17"/>
                  </a:lnTo>
                  <a:lnTo>
                    <a:pt x="85" y="12"/>
                  </a:lnTo>
                  <a:lnTo>
                    <a:pt x="98" y="7"/>
                  </a:lnTo>
                  <a:lnTo>
                    <a:pt x="111" y="3"/>
                  </a:lnTo>
                  <a:lnTo>
                    <a:pt x="125" y="2"/>
                  </a:lnTo>
                  <a:lnTo>
                    <a:pt x="140" y="0"/>
                  </a:lnTo>
                  <a:lnTo>
                    <a:pt x="140" y="0"/>
                  </a:lnTo>
                  <a:lnTo>
                    <a:pt x="155" y="2"/>
                  </a:lnTo>
                  <a:lnTo>
                    <a:pt x="169" y="3"/>
                  </a:lnTo>
                  <a:lnTo>
                    <a:pt x="181" y="7"/>
                  </a:lnTo>
                  <a:lnTo>
                    <a:pt x="194" y="12"/>
                  </a:lnTo>
                  <a:lnTo>
                    <a:pt x="207" y="17"/>
                  </a:lnTo>
                  <a:lnTo>
                    <a:pt x="219" y="25"/>
                  </a:lnTo>
                  <a:lnTo>
                    <a:pt x="230" y="32"/>
                  </a:lnTo>
                  <a:lnTo>
                    <a:pt x="239" y="41"/>
                  </a:lnTo>
                  <a:lnTo>
                    <a:pt x="249" y="52"/>
                  </a:lnTo>
                  <a:lnTo>
                    <a:pt x="257" y="63"/>
                  </a:lnTo>
                  <a:lnTo>
                    <a:pt x="263" y="75"/>
                  </a:lnTo>
                  <a:lnTo>
                    <a:pt x="270" y="86"/>
                  </a:lnTo>
                  <a:lnTo>
                    <a:pt x="275" y="100"/>
                  </a:lnTo>
                  <a:lnTo>
                    <a:pt x="279" y="113"/>
                  </a:lnTo>
                  <a:lnTo>
                    <a:pt x="280" y="127"/>
                  </a:lnTo>
                  <a:lnTo>
                    <a:pt x="281" y="141"/>
                  </a:lnTo>
                  <a:lnTo>
                    <a:pt x="281" y="141"/>
                  </a:lnTo>
                  <a:lnTo>
                    <a:pt x="280" y="157"/>
                  </a:lnTo>
                  <a:lnTo>
                    <a:pt x="279" y="169"/>
                  </a:lnTo>
                  <a:lnTo>
                    <a:pt x="275" y="183"/>
                  </a:lnTo>
                  <a:lnTo>
                    <a:pt x="270" y="196"/>
                  </a:lnTo>
                  <a:lnTo>
                    <a:pt x="263" y="209"/>
                  </a:lnTo>
                  <a:lnTo>
                    <a:pt x="257" y="221"/>
                  </a:lnTo>
                  <a:lnTo>
                    <a:pt x="249" y="231"/>
                  </a:lnTo>
                  <a:lnTo>
                    <a:pt x="239" y="241"/>
                  </a:lnTo>
                  <a:lnTo>
                    <a:pt x="230" y="250"/>
                  </a:lnTo>
                  <a:lnTo>
                    <a:pt x="219" y="259"/>
                  </a:lnTo>
                  <a:lnTo>
                    <a:pt x="207" y="265"/>
                  </a:lnTo>
                  <a:lnTo>
                    <a:pt x="194" y="272"/>
                  </a:lnTo>
                  <a:lnTo>
                    <a:pt x="181" y="276"/>
                  </a:lnTo>
                  <a:lnTo>
                    <a:pt x="169" y="279"/>
                  </a:lnTo>
                  <a:lnTo>
                    <a:pt x="155" y="282"/>
                  </a:lnTo>
                  <a:lnTo>
                    <a:pt x="140" y="282"/>
                  </a:lnTo>
                  <a:lnTo>
                    <a:pt x="140" y="282"/>
                  </a:lnTo>
                  <a:close/>
                  <a:moveTo>
                    <a:pt x="140" y="21"/>
                  </a:moveTo>
                  <a:lnTo>
                    <a:pt x="140" y="21"/>
                  </a:lnTo>
                  <a:lnTo>
                    <a:pt x="128" y="21"/>
                  </a:lnTo>
                  <a:lnTo>
                    <a:pt x="116" y="24"/>
                  </a:lnTo>
                  <a:lnTo>
                    <a:pt x="105" y="26"/>
                  </a:lnTo>
                  <a:lnTo>
                    <a:pt x="93" y="30"/>
                  </a:lnTo>
                  <a:lnTo>
                    <a:pt x="83" y="35"/>
                  </a:lnTo>
                  <a:lnTo>
                    <a:pt x="73" y="41"/>
                  </a:lnTo>
                  <a:lnTo>
                    <a:pt x="64" y="48"/>
                  </a:lnTo>
                  <a:lnTo>
                    <a:pt x="55" y="57"/>
                  </a:lnTo>
                  <a:lnTo>
                    <a:pt x="47" y="64"/>
                  </a:lnTo>
                  <a:lnTo>
                    <a:pt x="39" y="75"/>
                  </a:lnTo>
                  <a:lnTo>
                    <a:pt x="34" y="84"/>
                  </a:lnTo>
                  <a:lnTo>
                    <a:pt x="29" y="95"/>
                  </a:lnTo>
                  <a:lnTo>
                    <a:pt x="24" y="105"/>
                  </a:lnTo>
                  <a:lnTo>
                    <a:pt x="21" y="117"/>
                  </a:lnTo>
                  <a:lnTo>
                    <a:pt x="20" y="130"/>
                  </a:lnTo>
                  <a:lnTo>
                    <a:pt x="19" y="141"/>
                  </a:lnTo>
                  <a:lnTo>
                    <a:pt x="19" y="141"/>
                  </a:lnTo>
                  <a:lnTo>
                    <a:pt x="20" y="154"/>
                  </a:lnTo>
                  <a:lnTo>
                    <a:pt x="21" y="166"/>
                  </a:lnTo>
                  <a:lnTo>
                    <a:pt x="24" y="177"/>
                  </a:lnTo>
                  <a:lnTo>
                    <a:pt x="29" y="189"/>
                  </a:lnTo>
                  <a:lnTo>
                    <a:pt x="34" y="199"/>
                  </a:lnTo>
                  <a:lnTo>
                    <a:pt x="39" y="209"/>
                  </a:lnTo>
                  <a:lnTo>
                    <a:pt x="47" y="218"/>
                  </a:lnTo>
                  <a:lnTo>
                    <a:pt x="55" y="227"/>
                  </a:lnTo>
                  <a:lnTo>
                    <a:pt x="64" y="235"/>
                  </a:lnTo>
                  <a:lnTo>
                    <a:pt x="73" y="242"/>
                  </a:lnTo>
                  <a:lnTo>
                    <a:pt x="83" y="247"/>
                  </a:lnTo>
                  <a:lnTo>
                    <a:pt x="93" y="253"/>
                  </a:lnTo>
                  <a:lnTo>
                    <a:pt x="105" y="258"/>
                  </a:lnTo>
                  <a:lnTo>
                    <a:pt x="116" y="260"/>
                  </a:lnTo>
                  <a:lnTo>
                    <a:pt x="128" y="262"/>
                  </a:lnTo>
                  <a:lnTo>
                    <a:pt x="140" y="263"/>
                  </a:lnTo>
                  <a:lnTo>
                    <a:pt x="140" y="263"/>
                  </a:lnTo>
                  <a:lnTo>
                    <a:pt x="152" y="262"/>
                  </a:lnTo>
                  <a:lnTo>
                    <a:pt x="165" y="260"/>
                  </a:lnTo>
                  <a:lnTo>
                    <a:pt x="176" y="258"/>
                  </a:lnTo>
                  <a:lnTo>
                    <a:pt x="187" y="253"/>
                  </a:lnTo>
                  <a:lnTo>
                    <a:pt x="198" y="247"/>
                  </a:lnTo>
                  <a:lnTo>
                    <a:pt x="207" y="242"/>
                  </a:lnTo>
                  <a:lnTo>
                    <a:pt x="217" y="235"/>
                  </a:lnTo>
                  <a:lnTo>
                    <a:pt x="225" y="227"/>
                  </a:lnTo>
                  <a:lnTo>
                    <a:pt x="234" y="218"/>
                  </a:lnTo>
                  <a:lnTo>
                    <a:pt x="240" y="209"/>
                  </a:lnTo>
                  <a:lnTo>
                    <a:pt x="247" y="199"/>
                  </a:lnTo>
                  <a:lnTo>
                    <a:pt x="252" y="189"/>
                  </a:lnTo>
                  <a:lnTo>
                    <a:pt x="256" y="177"/>
                  </a:lnTo>
                  <a:lnTo>
                    <a:pt x="258" y="166"/>
                  </a:lnTo>
                  <a:lnTo>
                    <a:pt x="261" y="154"/>
                  </a:lnTo>
                  <a:lnTo>
                    <a:pt x="261" y="141"/>
                  </a:lnTo>
                  <a:lnTo>
                    <a:pt x="261" y="141"/>
                  </a:lnTo>
                  <a:lnTo>
                    <a:pt x="261" y="130"/>
                  </a:lnTo>
                  <a:lnTo>
                    <a:pt x="258" y="117"/>
                  </a:lnTo>
                  <a:lnTo>
                    <a:pt x="256" y="105"/>
                  </a:lnTo>
                  <a:lnTo>
                    <a:pt x="252" y="95"/>
                  </a:lnTo>
                  <a:lnTo>
                    <a:pt x="247" y="84"/>
                  </a:lnTo>
                  <a:lnTo>
                    <a:pt x="240" y="75"/>
                  </a:lnTo>
                  <a:lnTo>
                    <a:pt x="234" y="64"/>
                  </a:lnTo>
                  <a:lnTo>
                    <a:pt x="225" y="57"/>
                  </a:lnTo>
                  <a:lnTo>
                    <a:pt x="217" y="48"/>
                  </a:lnTo>
                  <a:lnTo>
                    <a:pt x="207" y="41"/>
                  </a:lnTo>
                  <a:lnTo>
                    <a:pt x="198" y="35"/>
                  </a:lnTo>
                  <a:lnTo>
                    <a:pt x="187" y="30"/>
                  </a:lnTo>
                  <a:lnTo>
                    <a:pt x="176" y="26"/>
                  </a:lnTo>
                  <a:lnTo>
                    <a:pt x="165" y="24"/>
                  </a:lnTo>
                  <a:lnTo>
                    <a:pt x="152" y="21"/>
                  </a:lnTo>
                  <a:lnTo>
                    <a:pt x="140" y="21"/>
                  </a:lnTo>
                  <a:lnTo>
                    <a:pt x="140" y="21"/>
                  </a:lnTo>
                  <a:close/>
                </a:path>
              </a:pathLst>
            </a:custGeom>
            <a:solidFill>
              <a:srgbClr val="2F369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endParaRPr lang="en-US" sz="1662"/>
            </a:p>
          </p:txBody>
        </p:sp>
      </p:grpSp>
      <p:grpSp>
        <p:nvGrpSpPr>
          <p:cNvPr id="39" name="Группа 38">
            <a:extLst>
              <a:ext uri="{FF2B5EF4-FFF2-40B4-BE49-F238E27FC236}">
                <a16:creationId xmlns:a16="http://schemas.microsoft.com/office/drawing/2014/main" id="{F2FAAE45-885F-420F-8B08-B1745AFAA31A}"/>
              </a:ext>
            </a:extLst>
          </p:cNvPr>
          <p:cNvGrpSpPr/>
          <p:nvPr/>
        </p:nvGrpSpPr>
        <p:grpSpPr>
          <a:xfrm>
            <a:off x="10154891" y="3618459"/>
            <a:ext cx="413238" cy="411773"/>
            <a:chOff x="6382908" y="2872445"/>
            <a:chExt cx="413238" cy="411773"/>
          </a:xfrm>
        </p:grpSpPr>
        <p:sp>
          <p:nvSpPr>
            <p:cNvPr id="40" name="Freeform 20">
              <a:extLst>
                <a:ext uri="{FF2B5EF4-FFF2-40B4-BE49-F238E27FC236}">
                  <a16:creationId xmlns:a16="http://schemas.microsoft.com/office/drawing/2014/main" id="{7ADC8471-57FE-47A0-AD7E-9DB16EEA2A46}"/>
                </a:ext>
              </a:extLst>
            </p:cNvPr>
            <p:cNvSpPr>
              <a:spLocks/>
            </p:cNvSpPr>
            <p:nvPr/>
          </p:nvSpPr>
          <p:spPr bwMode="auto">
            <a:xfrm rot="5400000">
              <a:off x="6465702" y="2983082"/>
              <a:ext cx="235927" cy="191966"/>
            </a:xfrm>
            <a:custGeom>
              <a:avLst/>
              <a:gdLst/>
              <a:ahLst/>
              <a:cxnLst>
                <a:cxn ang="0">
                  <a:pos x="96" y="131"/>
                </a:cxn>
                <a:cxn ang="0">
                  <a:pos x="96" y="131"/>
                </a:cxn>
                <a:cxn ang="0">
                  <a:pos x="95" y="131"/>
                </a:cxn>
                <a:cxn ang="0">
                  <a:pos x="93" y="129"/>
                </a:cxn>
                <a:cxn ang="0">
                  <a:pos x="82" y="119"/>
                </a:cxn>
                <a:cxn ang="0">
                  <a:pos x="82" y="119"/>
                </a:cxn>
                <a:cxn ang="0">
                  <a:pos x="81" y="115"/>
                </a:cxn>
                <a:cxn ang="0">
                  <a:pos x="81" y="115"/>
                </a:cxn>
                <a:cxn ang="0">
                  <a:pos x="82" y="111"/>
                </a:cxn>
                <a:cxn ang="0">
                  <a:pos x="114" y="79"/>
                </a:cxn>
                <a:cxn ang="0">
                  <a:pos x="5" y="79"/>
                </a:cxn>
                <a:cxn ang="0">
                  <a:pos x="5" y="79"/>
                </a:cxn>
                <a:cxn ang="0">
                  <a:pos x="4" y="79"/>
                </a:cxn>
                <a:cxn ang="0">
                  <a:pos x="2" y="78"/>
                </a:cxn>
                <a:cxn ang="0">
                  <a:pos x="1" y="77"/>
                </a:cxn>
                <a:cxn ang="0">
                  <a:pos x="0" y="74"/>
                </a:cxn>
                <a:cxn ang="0">
                  <a:pos x="0" y="56"/>
                </a:cxn>
                <a:cxn ang="0">
                  <a:pos x="0" y="56"/>
                </a:cxn>
                <a:cxn ang="0">
                  <a:pos x="1" y="54"/>
                </a:cxn>
                <a:cxn ang="0">
                  <a:pos x="2" y="52"/>
                </a:cxn>
                <a:cxn ang="0">
                  <a:pos x="4" y="51"/>
                </a:cxn>
                <a:cxn ang="0">
                  <a:pos x="5" y="51"/>
                </a:cxn>
                <a:cxn ang="0">
                  <a:pos x="113" y="51"/>
                </a:cxn>
                <a:cxn ang="0">
                  <a:pos x="82" y="20"/>
                </a:cxn>
                <a:cxn ang="0">
                  <a:pos x="82" y="20"/>
                </a:cxn>
                <a:cxn ang="0">
                  <a:pos x="81" y="17"/>
                </a:cxn>
                <a:cxn ang="0">
                  <a:pos x="81" y="17"/>
                </a:cxn>
                <a:cxn ang="0">
                  <a:pos x="82" y="13"/>
                </a:cxn>
                <a:cxn ang="0">
                  <a:pos x="93" y="1"/>
                </a:cxn>
                <a:cxn ang="0">
                  <a:pos x="93" y="1"/>
                </a:cxn>
                <a:cxn ang="0">
                  <a:pos x="95" y="1"/>
                </a:cxn>
                <a:cxn ang="0">
                  <a:pos x="96" y="0"/>
                </a:cxn>
                <a:cxn ang="0">
                  <a:pos x="96" y="0"/>
                </a:cxn>
                <a:cxn ang="0">
                  <a:pos x="99" y="1"/>
                </a:cxn>
                <a:cxn ang="0">
                  <a:pos x="100" y="1"/>
                </a:cxn>
                <a:cxn ang="0">
                  <a:pos x="160" y="63"/>
                </a:cxn>
                <a:cxn ang="0">
                  <a:pos x="160" y="63"/>
                </a:cxn>
                <a:cxn ang="0">
                  <a:pos x="161" y="64"/>
                </a:cxn>
                <a:cxn ang="0">
                  <a:pos x="161" y="65"/>
                </a:cxn>
                <a:cxn ang="0">
                  <a:pos x="161" y="68"/>
                </a:cxn>
                <a:cxn ang="0">
                  <a:pos x="160" y="69"/>
                </a:cxn>
                <a:cxn ang="0">
                  <a:pos x="100" y="129"/>
                </a:cxn>
                <a:cxn ang="0">
                  <a:pos x="100" y="129"/>
                </a:cxn>
                <a:cxn ang="0">
                  <a:pos x="99" y="131"/>
                </a:cxn>
                <a:cxn ang="0">
                  <a:pos x="96" y="131"/>
                </a:cxn>
                <a:cxn ang="0">
                  <a:pos x="96" y="131"/>
                </a:cxn>
              </a:cxnLst>
              <a:rect l="0" t="0" r="r" b="b"/>
              <a:pathLst>
                <a:path w="161" h="131">
                  <a:moveTo>
                    <a:pt x="96" y="131"/>
                  </a:moveTo>
                  <a:lnTo>
                    <a:pt x="96" y="131"/>
                  </a:lnTo>
                  <a:lnTo>
                    <a:pt x="95" y="131"/>
                  </a:lnTo>
                  <a:lnTo>
                    <a:pt x="93" y="129"/>
                  </a:lnTo>
                  <a:lnTo>
                    <a:pt x="82" y="119"/>
                  </a:lnTo>
                  <a:lnTo>
                    <a:pt x="82" y="119"/>
                  </a:lnTo>
                  <a:lnTo>
                    <a:pt x="81" y="115"/>
                  </a:lnTo>
                  <a:lnTo>
                    <a:pt x="81" y="115"/>
                  </a:lnTo>
                  <a:lnTo>
                    <a:pt x="82" y="111"/>
                  </a:lnTo>
                  <a:lnTo>
                    <a:pt x="114" y="79"/>
                  </a:lnTo>
                  <a:lnTo>
                    <a:pt x="5" y="79"/>
                  </a:lnTo>
                  <a:lnTo>
                    <a:pt x="5" y="79"/>
                  </a:lnTo>
                  <a:lnTo>
                    <a:pt x="4" y="79"/>
                  </a:lnTo>
                  <a:lnTo>
                    <a:pt x="2" y="78"/>
                  </a:lnTo>
                  <a:lnTo>
                    <a:pt x="1" y="77"/>
                  </a:lnTo>
                  <a:lnTo>
                    <a:pt x="0" y="74"/>
                  </a:lnTo>
                  <a:lnTo>
                    <a:pt x="0" y="56"/>
                  </a:lnTo>
                  <a:lnTo>
                    <a:pt x="0" y="56"/>
                  </a:lnTo>
                  <a:lnTo>
                    <a:pt x="1" y="54"/>
                  </a:lnTo>
                  <a:lnTo>
                    <a:pt x="2" y="52"/>
                  </a:lnTo>
                  <a:lnTo>
                    <a:pt x="4" y="51"/>
                  </a:lnTo>
                  <a:lnTo>
                    <a:pt x="5" y="51"/>
                  </a:lnTo>
                  <a:lnTo>
                    <a:pt x="113" y="51"/>
                  </a:lnTo>
                  <a:lnTo>
                    <a:pt x="82" y="20"/>
                  </a:lnTo>
                  <a:lnTo>
                    <a:pt x="82" y="20"/>
                  </a:lnTo>
                  <a:lnTo>
                    <a:pt x="81" y="17"/>
                  </a:lnTo>
                  <a:lnTo>
                    <a:pt x="81" y="17"/>
                  </a:lnTo>
                  <a:lnTo>
                    <a:pt x="82" y="13"/>
                  </a:lnTo>
                  <a:lnTo>
                    <a:pt x="93" y="1"/>
                  </a:lnTo>
                  <a:lnTo>
                    <a:pt x="93" y="1"/>
                  </a:lnTo>
                  <a:lnTo>
                    <a:pt x="95" y="1"/>
                  </a:lnTo>
                  <a:lnTo>
                    <a:pt x="96" y="0"/>
                  </a:lnTo>
                  <a:lnTo>
                    <a:pt x="96" y="0"/>
                  </a:lnTo>
                  <a:lnTo>
                    <a:pt x="99" y="1"/>
                  </a:lnTo>
                  <a:lnTo>
                    <a:pt x="100" y="1"/>
                  </a:lnTo>
                  <a:lnTo>
                    <a:pt x="160" y="63"/>
                  </a:lnTo>
                  <a:lnTo>
                    <a:pt x="160" y="63"/>
                  </a:lnTo>
                  <a:lnTo>
                    <a:pt x="161" y="64"/>
                  </a:lnTo>
                  <a:lnTo>
                    <a:pt x="161" y="65"/>
                  </a:lnTo>
                  <a:lnTo>
                    <a:pt x="161" y="68"/>
                  </a:lnTo>
                  <a:lnTo>
                    <a:pt x="160" y="69"/>
                  </a:lnTo>
                  <a:lnTo>
                    <a:pt x="100" y="129"/>
                  </a:lnTo>
                  <a:lnTo>
                    <a:pt x="100" y="129"/>
                  </a:lnTo>
                  <a:lnTo>
                    <a:pt x="99" y="131"/>
                  </a:lnTo>
                  <a:lnTo>
                    <a:pt x="96" y="131"/>
                  </a:lnTo>
                  <a:lnTo>
                    <a:pt x="96" y="131"/>
                  </a:lnTo>
                  <a:close/>
                </a:path>
              </a:pathLst>
            </a:custGeom>
            <a:solidFill>
              <a:srgbClr val="2F369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endParaRPr lang="en-US" sz="1662"/>
            </a:p>
          </p:txBody>
        </p:sp>
        <p:sp>
          <p:nvSpPr>
            <p:cNvPr id="41" name="Freeform 21">
              <a:extLst>
                <a:ext uri="{FF2B5EF4-FFF2-40B4-BE49-F238E27FC236}">
                  <a16:creationId xmlns:a16="http://schemas.microsoft.com/office/drawing/2014/main" id="{8BFBC387-E640-4870-9518-48BCA2BAFFF7}"/>
                </a:ext>
              </a:extLst>
            </p:cNvPr>
            <p:cNvSpPr>
              <a:spLocks noEditPoints="1"/>
            </p:cNvSpPr>
            <p:nvPr/>
          </p:nvSpPr>
          <p:spPr bwMode="auto">
            <a:xfrm rot="5400000">
              <a:off x="6383640" y="2871713"/>
              <a:ext cx="411773" cy="413238"/>
            </a:xfrm>
            <a:custGeom>
              <a:avLst/>
              <a:gdLst/>
              <a:ahLst/>
              <a:cxnLst>
                <a:cxn ang="0">
                  <a:pos x="125" y="282"/>
                </a:cxn>
                <a:cxn ang="0">
                  <a:pos x="85" y="272"/>
                </a:cxn>
                <a:cxn ang="0">
                  <a:pos x="51" y="250"/>
                </a:cxn>
                <a:cxn ang="0">
                  <a:pos x="23" y="221"/>
                </a:cxn>
                <a:cxn ang="0">
                  <a:pos x="5" y="183"/>
                </a:cxn>
                <a:cxn ang="0">
                  <a:pos x="0" y="141"/>
                </a:cxn>
                <a:cxn ang="0">
                  <a:pos x="2" y="113"/>
                </a:cxn>
                <a:cxn ang="0">
                  <a:pos x="16" y="75"/>
                </a:cxn>
                <a:cxn ang="0">
                  <a:pos x="41" y="41"/>
                </a:cxn>
                <a:cxn ang="0">
                  <a:pos x="73" y="17"/>
                </a:cxn>
                <a:cxn ang="0">
                  <a:pos x="111" y="3"/>
                </a:cxn>
                <a:cxn ang="0">
                  <a:pos x="140" y="0"/>
                </a:cxn>
                <a:cxn ang="0">
                  <a:pos x="181" y="7"/>
                </a:cxn>
                <a:cxn ang="0">
                  <a:pos x="219" y="25"/>
                </a:cxn>
                <a:cxn ang="0">
                  <a:pos x="249" y="52"/>
                </a:cxn>
                <a:cxn ang="0">
                  <a:pos x="270" y="86"/>
                </a:cxn>
                <a:cxn ang="0">
                  <a:pos x="280" y="127"/>
                </a:cxn>
                <a:cxn ang="0">
                  <a:pos x="280" y="157"/>
                </a:cxn>
                <a:cxn ang="0">
                  <a:pos x="270" y="196"/>
                </a:cxn>
                <a:cxn ang="0">
                  <a:pos x="249" y="231"/>
                </a:cxn>
                <a:cxn ang="0">
                  <a:pos x="219" y="259"/>
                </a:cxn>
                <a:cxn ang="0">
                  <a:pos x="181" y="276"/>
                </a:cxn>
                <a:cxn ang="0">
                  <a:pos x="140" y="282"/>
                </a:cxn>
                <a:cxn ang="0">
                  <a:pos x="140" y="21"/>
                </a:cxn>
                <a:cxn ang="0">
                  <a:pos x="105" y="26"/>
                </a:cxn>
                <a:cxn ang="0">
                  <a:pos x="73" y="41"/>
                </a:cxn>
                <a:cxn ang="0">
                  <a:pos x="47" y="64"/>
                </a:cxn>
                <a:cxn ang="0">
                  <a:pos x="29" y="95"/>
                </a:cxn>
                <a:cxn ang="0">
                  <a:pos x="20" y="130"/>
                </a:cxn>
                <a:cxn ang="0">
                  <a:pos x="20" y="154"/>
                </a:cxn>
                <a:cxn ang="0">
                  <a:pos x="29" y="189"/>
                </a:cxn>
                <a:cxn ang="0">
                  <a:pos x="47" y="218"/>
                </a:cxn>
                <a:cxn ang="0">
                  <a:pos x="73" y="242"/>
                </a:cxn>
                <a:cxn ang="0">
                  <a:pos x="105" y="258"/>
                </a:cxn>
                <a:cxn ang="0">
                  <a:pos x="140" y="263"/>
                </a:cxn>
                <a:cxn ang="0">
                  <a:pos x="165" y="260"/>
                </a:cxn>
                <a:cxn ang="0">
                  <a:pos x="198" y="247"/>
                </a:cxn>
                <a:cxn ang="0">
                  <a:pos x="225" y="227"/>
                </a:cxn>
                <a:cxn ang="0">
                  <a:pos x="247" y="199"/>
                </a:cxn>
                <a:cxn ang="0">
                  <a:pos x="258" y="166"/>
                </a:cxn>
                <a:cxn ang="0">
                  <a:pos x="261" y="141"/>
                </a:cxn>
                <a:cxn ang="0">
                  <a:pos x="256" y="105"/>
                </a:cxn>
                <a:cxn ang="0">
                  <a:pos x="240" y="75"/>
                </a:cxn>
                <a:cxn ang="0">
                  <a:pos x="217" y="48"/>
                </a:cxn>
                <a:cxn ang="0">
                  <a:pos x="187" y="30"/>
                </a:cxn>
                <a:cxn ang="0">
                  <a:pos x="152" y="21"/>
                </a:cxn>
              </a:cxnLst>
              <a:rect l="0" t="0" r="r" b="b"/>
              <a:pathLst>
                <a:path w="281" h="282">
                  <a:moveTo>
                    <a:pt x="140" y="282"/>
                  </a:moveTo>
                  <a:lnTo>
                    <a:pt x="140" y="282"/>
                  </a:lnTo>
                  <a:lnTo>
                    <a:pt x="125" y="282"/>
                  </a:lnTo>
                  <a:lnTo>
                    <a:pt x="111" y="279"/>
                  </a:lnTo>
                  <a:lnTo>
                    <a:pt x="98" y="276"/>
                  </a:lnTo>
                  <a:lnTo>
                    <a:pt x="85" y="272"/>
                  </a:lnTo>
                  <a:lnTo>
                    <a:pt x="73" y="265"/>
                  </a:lnTo>
                  <a:lnTo>
                    <a:pt x="61" y="259"/>
                  </a:lnTo>
                  <a:lnTo>
                    <a:pt x="51" y="250"/>
                  </a:lnTo>
                  <a:lnTo>
                    <a:pt x="41" y="241"/>
                  </a:lnTo>
                  <a:lnTo>
                    <a:pt x="32" y="231"/>
                  </a:lnTo>
                  <a:lnTo>
                    <a:pt x="23" y="221"/>
                  </a:lnTo>
                  <a:lnTo>
                    <a:pt x="16" y="209"/>
                  </a:lnTo>
                  <a:lnTo>
                    <a:pt x="10" y="196"/>
                  </a:lnTo>
                  <a:lnTo>
                    <a:pt x="5" y="183"/>
                  </a:lnTo>
                  <a:lnTo>
                    <a:pt x="2" y="169"/>
                  </a:lnTo>
                  <a:lnTo>
                    <a:pt x="0" y="157"/>
                  </a:lnTo>
                  <a:lnTo>
                    <a:pt x="0" y="141"/>
                  </a:lnTo>
                  <a:lnTo>
                    <a:pt x="0" y="141"/>
                  </a:lnTo>
                  <a:lnTo>
                    <a:pt x="0" y="127"/>
                  </a:lnTo>
                  <a:lnTo>
                    <a:pt x="2" y="113"/>
                  </a:lnTo>
                  <a:lnTo>
                    <a:pt x="5" y="100"/>
                  </a:lnTo>
                  <a:lnTo>
                    <a:pt x="10" y="86"/>
                  </a:lnTo>
                  <a:lnTo>
                    <a:pt x="16" y="75"/>
                  </a:lnTo>
                  <a:lnTo>
                    <a:pt x="23" y="63"/>
                  </a:lnTo>
                  <a:lnTo>
                    <a:pt x="32" y="52"/>
                  </a:lnTo>
                  <a:lnTo>
                    <a:pt x="41" y="41"/>
                  </a:lnTo>
                  <a:lnTo>
                    <a:pt x="51" y="32"/>
                  </a:lnTo>
                  <a:lnTo>
                    <a:pt x="61" y="25"/>
                  </a:lnTo>
                  <a:lnTo>
                    <a:pt x="73" y="17"/>
                  </a:lnTo>
                  <a:lnTo>
                    <a:pt x="85" y="12"/>
                  </a:lnTo>
                  <a:lnTo>
                    <a:pt x="98" y="7"/>
                  </a:lnTo>
                  <a:lnTo>
                    <a:pt x="111" y="3"/>
                  </a:lnTo>
                  <a:lnTo>
                    <a:pt x="125" y="2"/>
                  </a:lnTo>
                  <a:lnTo>
                    <a:pt x="140" y="0"/>
                  </a:lnTo>
                  <a:lnTo>
                    <a:pt x="140" y="0"/>
                  </a:lnTo>
                  <a:lnTo>
                    <a:pt x="155" y="2"/>
                  </a:lnTo>
                  <a:lnTo>
                    <a:pt x="169" y="3"/>
                  </a:lnTo>
                  <a:lnTo>
                    <a:pt x="181" y="7"/>
                  </a:lnTo>
                  <a:lnTo>
                    <a:pt x="194" y="12"/>
                  </a:lnTo>
                  <a:lnTo>
                    <a:pt x="207" y="17"/>
                  </a:lnTo>
                  <a:lnTo>
                    <a:pt x="219" y="25"/>
                  </a:lnTo>
                  <a:lnTo>
                    <a:pt x="230" y="32"/>
                  </a:lnTo>
                  <a:lnTo>
                    <a:pt x="239" y="41"/>
                  </a:lnTo>
                  <a:lnTo>
                    <a:pt x="249" y="52"/>
                  </a:lnTo>
                  <a:lnTo>
                    <a:pt x="257" y="63"/>
                  </a:lnTo>
                  <a:lnTo>
                    <a:pt x="263" y="75"/>
                  </a:lnTo>
                  <a:lnTo>
                    <a:pt x="270" y="86"/>
                  </a:lnTo>
                  <a:lnTo>
                    <a:pt x="275" y="100"/>
                  </a:lnTo>
                  <a:lnTo>
                    <a:pt x="279" y="113"/>
                  </a:lnTo>
                  <a:lnTo>
                    <a:pt x="280" y="127"/>
                  </a:lnTo>
                  <a:lnTo>
                    <a:pt x="281" y="141"/>
                  </a:lnTo>
                  <a:lnTo>
                    <a:pt x="281" y="141"/>
                  </a:lnTo>
                  <a:lnTo>
                    <a:pt x="280" y="157"/>
                  </a:lnTo>
                  <a:lnTo>
                    <a:pt x="279" y="169"/>
                  </a:lnTo>
                  <a:lnTo>
                    <a:pt x="275" y="183"/>
                  </a:lnTo>
                  <a:lnTo>
                    <a:pt x="270" y="196"/>
                  </a:lnTo>
                  <a:lnTo>
                    <a:pt x="263" y="209"/>
                  </a:lnTo>
                  <a:lnTo>
                    <a:pt x="257" y="221"/>
                  </a:lnTo>
                  <a:lnTo>
                    <a:pt x="249" y="231"/>
                  </a:lnTo>
                  <a:lnTo>
                    <a:pt x="239" y="241"/>
                  </a:lnTo>
                  <a:lnTo>
                    <a:pt x="230" y="250"/>
                  </a:lnTo>
                  <a:lnTo>
                    <a:pt x="219" y="259"/>
                  </a:lnTo>
                  <a:lnTo>
                    <a:pt x="207" y="265"/>
                  </a:lnTo>
                  <a:lnTo>
                    <a:pt x="194" y="272"/>
                  </a:lnTo>
                  <a:lnTo>
                    <a:pt x="181" y="276"/>
                  </a:lnTo>
                  <a:lnTo>
                    <a:pt x="169" y="279"/>
                  </a:lnTo>
                  <a:lnTo>
                    <a:pt x="155" y="282"/>
                  </a:lnTo>
                  <a:lnTo>
                    <a:pt x="140" y="282"/>
                  </a:lnTo>
                  <a:lnTo>
                    <a:pt x="140" y="282"/>
                  </a:lnTo>
                  <a:close/>
                  <a:moveTo>
                    <a:pt x="140" y="21"/>
                  </a:moveTo>
                  <a:lnTo>
                    <a:pt x="140" y="21"/>
                  </a:lnTo>
                  <a:lnTo>
                    <a:pt x="128" y="21"/>
                  </a:lnTo>
                  <a:lnTo>
                    <a:pt x="116" y="24"/>
                  </a:lnTo>
                  <a:lnTo>
                    <a:pt x="105" y="26"/>
                  </a:lnTo>
                  <a:lnTo>
                    <a:pt x="93" y="30"/>
                  </a:lnTo>
                  <a:lnTo>
                    <a:pt x="83" y="35"/>
                  </a:lnTo>
                  <a:lnTo>
                    <a:pt x="73" y="41"/>
                  </a:lnTo>
                  <a:lnTo>
                    <a:pt x="64" y="48"/>
                  </a:lnTo>
                  <a:lnTo>
                    <a:pt x="55" y="57"/>
                  </a:lnTo>
                  <a:lnTo>
                    <a:pt x="47" y="64"/>
                  </a:lnTo>
                  <a:lnTo>
                    <a:pt x="39" y="75"/>
                  </a:lnTo>
                  <a:lnTo>
                    <a:pt x="34" y="84"/>
                  </a:lnTo>
                  <a:lnTo>
                    <a:pt x="29" y="95"/>
                  </a:lnTo>
                  <a:lnTo>
                    <a:pt x="24" y="105"/>
                  </a:lnTo>
                  <a:lnTo>
                    <a:pt x="21" y="117"/>
                  </a:lnTo>
                  <a:lnTo>
                    <a:pt x="20" y="130"/>
                  </a:lnTo>
                  <a:lnTo>
                    <a:pt x="19" y="141"/>
                  </a:lnTo>
                  <a:lnTo>
                    <a:pt x="19" y="141"/>
                  </a:lnTo>
                  <a:lnTo>
                    <a:pt x="20" y="154"/>
                  </a:lnTo>
                  <a:lnTo>
                    <a:pt x="21" y="166"/>
                  </a:lnTo>
                  <a:lnTo>
                    <a:pt x="24" y="177"/>
                  </a:lnTo>
                  <a:lnTo>
                    <a:pt x="29" y="189"/>
                  </a:lnTo>
                  <a:lnTo>
                    <a:pt x="34" y="199"/>
                  </a:lnTo>
                  <a:lnTo>
                    <a:pt x="39" y="209"/>
                  </a:lnTo>
                  <a:lnTo>
                    <a:pt x="47" y="218"/>
                  </a:lnTo>
                  <a:lnTo>
                    <a:pt x="55" y="227"/>
                  </a:lnTo>
                  <a:lnTo>
                    <a:pt x="64" y="235"/>
                  </a:lnTo>
                  <a:lnTo>
                    <a:pt x="73" y="242"/>
                  </a:lnTo>
                  <a:lnTo>
                    <a:pt x="83" y="247"/>
                  </a:lnTo>
                  <a:lnTo>
                    <a:pt x="93" y="253"/>
                  </a:lnTo>
                  <a:lnTo>
                    <a:pt x="105" y="258"/>
                  </a:lnTo>
                  <a:lnTo>
                    <a:pt x="116" y="260"/>
                  </a:lnTo>
                  <a:lnTo>
                    <a:pt x="128" y="262"/>
                  </a:lnTo>
                  <a:lnTo>
                    <a:pt x="140" y="263"/>
                  </a:lnTo>
                  <a:lnTo>
                    <a:pt x="140" y="263"/>
                  </a:lnTo>
                  <a:lnTo>
                    <a:pt x="152" y="262"/>
                  </a:lnTo>
                  <a:lnTo>
                    <a:pt x="165" y="260"/>
                  </a:lnTo>
                  <a:lnTo>
                    <a:pt x="176" y="258"/>
                  </a:lnTo>
                  <a:lnTo>
                    <a:pt x="187" y="253"/>
                  </a:lnTo>
                  <a:lnTo>
                    <a:pt x="198" y="247"/>
                  </a:lnTo>
                  <a:lnTo>
                    <a:pt x="207" y="242"/>
                  </a:lnTo>
                  <a:lnTo>
                    <a:pt x="217" y="235"/>
                  </a:lnTo>
                  <a:lnTo>
                    <a:pt x="225" y="227"/>
                  </a:lnTo>
                  <a:lnTo>
                    <a:pt x="234" y="218"/>
                  </a:lnTo>
                  <a:lnTo>
                    <a:pt x="240" y="209"/>
                  </a:lnTo>
                  <a:lnTo>
                    <a:pt x="247" y="199"/>
                  </a:lnTo>
                  <a:lnTo>
                    <a:pt x="252" y="189"/>
                  </a:lnTo>
                  <a:lnTo>
                    <a:pt x="256" y="177"/>
                  </a:lnTo>
                  <a:lnTo>
                    <a:pt x="258" y="166"/>
                  </a:lnTo>
                  <a:lnTo>
                    <a:pt x="261" y="154"/>
                  </a:lnTo>
                  <a:lnTo>
                    <a:pt x="261" y="141"/>
                  </a:lnTo>
                  <a:lnTo>
                    <a:pt x="261" y="141"/>
                  </a:lnTo>
                  <a:lnTo>
                    <a:pt x="261" y="130"/>
                  </a:lnTo>
                  <a:lnTo>
                    <a:pt x="258" y="117"/>
                  </a:lnTo>
                  <a:lnTo>
                    <a:pt x="256" y="105"/>
                  </a:lnTo>
                  <a:lnTo>
                    <a:pt x="252" y="95"/>
                  </a:lnTo>
                  <a:lnTo>
                    <a:pt x="247" y="84"/>
                  </a:lnTo>
                  <a:lnTo>
                    <a:pt x="240" y="75"/>
                  </a:lnTo>
                  <a:lnTo>
                    <a:pt x="234" y="64"/>
                  </a:lnTo>
                  <a:lnTo>
                    <a:pt x="225" y="57"/>
                  </a:lnTo>
                  <a:lnTo>
                    <a:pt x="217" y="48"/>
                  </a:lnTo>
                  <a:lnTo>
                    <a:pt x="207" y="41"/>
                  </a:lnTo>
                  <a:lnTo>
                    <a:pt x="198" y="35"/>
                  </a:lnTo>
                  <a:lnTo>
                    <a:pt x="187" y="30"/>
                  </a:lnTo>
                  <a:lnTo>
                    <a:pt x="176" y="26"/>
                  </a:lnTo>
                  <a:lnTo>
                    <a:pt x="165" y="24"/>
                  </a:lnTo>
                  <a:lnTo>
                    <a:pt x="152" y="21"/>
                  </a:lnTo>
                  <a:lnTo>
                    <a:pt x="140" y="21"/>
                  </a:lnTo>
                  <a:lnTo>
                    <a:pt x="140" y="21"/>
                  </a:lnTo>
                  <a:close/>
                </a:path>
              </a:pathLst>
            </a:custGeom>
            <a:solidFill>
              <a:srgbClr val="2F369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endParaRPr lang="en-US" sz="1662"/>
            </a:p>
          </p:txBody>
        </p:sp>
      </p:grpSp>
      <p:sp>
        <p:nvSpPr>
          <p:cNvPr id="42" name="Прямоугольник 41">
            <a:extLst>
              <a:ext uri="{FF2B5EF4-FFF2-40B4-BE49-F238E27FC236}">
                <a16:creationId xmlns:a16="http://schemas.microsoft.com/office/drawing/2014/main" id="{93110AC9-F1A4-4CD9-927C-8BDCA8AD5ECC}"/>
              </a:ext>
            </a:extLst>
          </p:cNvPr>
          <p:cNvSpPr/>
          <p:nvPr/>
        </p:nvSpPr>
        <p:spPr>
          <a:xfrm>
            <a:off x="10639487" y="1403520"/>
            <a:ext cx="1519974" cy="369592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r>
              <a:rPr lang="ru-RU" sz="1050" dirty="0" smtClean="0">
                <a:solidFill>
                  <a:schemeClr val="tx1"/>
                </a:solidFill>
              </a:rPr>
              <a:t>* в </a:t>
            </a:r>
            <a:r>
              <a:rPr lang="ru-RU" sz="1050" dirty="0">
                <a:solidFill>
                  <a:schemeClr val="tx1"/>
                </a:solidFill>
              </a:rPr>
              <a:t>электронной форме </a:t>
            </a:r>
            <a:endParaRPr lang="en-US" sz="1050" dirty="0" smtClean="0">
              <a:solidFill>
                <a:schemeClr val="tx1"/>
              </a:solidFill>
            </a:endParaRPr>
          </a:p>
          <a:p>
            <a:r>
              <a:rPr lang="ru-RU" sz="1050" dirty="0" smtClean="0">
                <a:solidFill>
                  <a:schemeClr val="tx1"/>
                </a:solidFill>
              </a:rPr>
              <a:t>на </a:t>
            </a:r>
            <a:r>
              <a:rPr lang="ru-RU" sz="1050" dirty="0">
                <a:solidFill>
                  <a:schemeClr val="tx1"/>
                </a:solidFill>
              </a:rPr>
              <a:t>сайте </a:t>
            </a:r>
            <a:r>
              <a:rPr lang="en-US" sz="1050" u="sng" dirty="0" smtClean="0">
                <a:solidFill>
                  <a:srgbClr val="2D3494"/>
                </a:solidFill>
                <a:hlinkClick r:id="rId8"/>
              </a:rPr>
              <a:t>media.prosv.ru</a:t>
            </a:r>
            <a:endParaRPr lang="ru-RU" sz="1050" u="sng" dirty="0">
              <a:solidFill>
                <a:srgbClr val="2D3494"/>
              </a:solidFill>
            </a:endParaRPr>
          </a:p>
        </p:txBody>
      </p:sp>
      <p:grpSp>
        <p:nvGrpSpPr>
          <p:cNvPr id="43" name="Группа 42">
            <a:extLst>
              <a:ext uri="{FF2B5EF4-FFF2-40B4-BE49-F238E27FC236}">
                <a16:creationId xmlns:a16="http://schemas.microsoft.com/office/drawing/2014/main" id="{F2FAAE45-885F-420F-8B08-B1745AFAA31A}"/>
              </a:ext>
            </a:extLst>
          </p:cNvPr>
          <p:cNvGrpSpPr/>
          <p:nvPr/>
        </p:nvGrpSpPr>
        <p:grpSpPr>
          <a:xfrm>
            <a:off x="10172318" y="1361339"/>
            <a:ext cx="413238" cy="411773"/>
            <a:chOff x="6382908" y="2872445"/>
            <a:chExt cx="413238" cy="411773"/>
          </a:xfrm>
        </p:grpSpPr>
        <p:sp>
          <p:nvSpPr>
            <p:cNvPr id="44" name="Freeform 20">
              <a:extLst>
                <a:ext uri="{FF2B5EF4-FFF2-40B4-BE49-F238E27FC236}">
                  <a16:creationId xmlns:a16="http://schemas.microsoft.com/office/drawing/2014/main" id="{7ADC8471-57FE-47A0-AD7E-9DB16EEA2A46}"/>
                </a:ext>
              </a:extLst>
            </p:cNvPr>
            <p:cNvSpPr>
              <a:spLocks/>
            </p:cNvSpPr>
            <p:nvPr/>
          </p:nvSpPr>
          <p:spPr bwMode="auto">
            <a:xfrm rot="5400000">
              <a:off x="6465702" y="2983082"/>
              <a:ext cx="235927" cy="191966"/>
            </a:xfrm>
            <a:custGeom>
              <a:avLst/>
              <a:gdLst/>
              <a:ahLst/>
              <a:cxnLst>
                <a:cxn ang="0">
                  <a:pos x="96" y="131"/>
                </a:cxn>
                <a:cxn ang="0">
                  <a:pos x="96" y="131"/>
                </a:cxn>
                <a:cxn ang="0">
                  <a:pos x="95" y="131"/>
                </a:cxn>
                <a:cxn ang="0">
                  <a:pos x="93" y="129"/>
                </a:cxn>
                <a:cxn ang="0">
                  <a:pos x="82" y="119"/>
                </a:cxn>
                <a:cxn ang="0">
                  <a:pos x="82" y="119"/>
                </a:cxn>
                <a:cxn ang="0">
                  <a:pos x="81" y="115"/>
                </a:cxn>
                <a:cxn ang="0">
                  <a:pos x="81" y="115"/>
                </a:cxn>
                <a:cxn ang="0">
                  <a:pos x="82" y="111"/>
                </a:cxn>
                <a:cxn ang="0">
                  <a:pos x="114" y="79"/>
                </a:cxn>
                <a:cxn ang="0">
                  <a:pos x="5" y="79"/>
                </a:cxn>
                <a:cxn ang="0">
                  <a:pos x="5" y="79"/>
                </a:cxn>
                <a:cxn ang="0">
                  <a:pos x="4" y="79"/>
                </a:cxn>
                <a:cxn ang="0">
                  <a:pos x="2" y="78"/>
                </a:cxn>
                <a:cxn ang="0">
                  <a:pos x="1" y="77"/>
                </a:cxn>
                <a:cxn ang="0">
                  <a:pos x="0" y="74"/>
                </a:cxn>
                <a:cxn ang="0">
                  <a:pos x="0" y="56"/>
                </a:cxn>
                <a:cxn ang="0">
                  <a:pos x="0" y="56"/>
                </a:cxn>
                <a:cxn ang="0">
                  <a:pos x="1" y="54"/>
                </a:cxn>
                <a:cxn ang="0">
                  <a:pos x="2" y="52"/>
                </a:cxn>
                <a:cxn ang="0">
                  <a:pos x="4" y="51"/>
                </a:cxn>
                <a:cxn ang="0">
                  <a:pos x="5" y="51"/>
                </a:cxn>
                <a:cxn ang="0">
                  <a:pos x="113" y="51"/>
                </a:cxn>
                <a:cxn ang="0">
                  <a:pos x="82" y="20"/>
                </a:cxn>
                <a:cxn ang="0">
                  <a:pos x="82" y="20"/>
                </a:cxn>
                <a:cxn ang="0">
                  <a:pos x="81" y="17"/>
                </a:cxn>
                <a:cxn ang="0">
                  <a:pos x="81" y="17"/>
                </a:cxn>
                <a:cxn ang="0">
                  <a:pos x="82" y="13"/>
                </a:cxn>
                <a:cxn ang="0">
                  <a:pos x="93" y="1"/>
                </a:cxn>
                <a:cxn ang="0">
                  <a:pos x="93" y="1"/>
                </a:cxn>
                <a:cxn ang="0">
                  <a:pos x="95" y="1"/>
                </a:cxn>
                <a:cxn ang="0">
                  <a:pos x="96" y="0"/>
                </a:cxn>
                <a:cxn ang="0">
                  <a:pos x="96" y="0"/>
                </a:cxn>
                <a:cxn ang="0">
                  <a:pos x="99" y="1"/>
                </a:cxn>
                <a:cxn ang="0">
                  <a:pos x="100" y="1"/>
                </a:cxn>
                <a:cxn ang="0">
                  <a:pos x="160" y="63"/>
                </a:cxn>
                <a:cxn ang="0">
                  <a:pos x="160" y="63"/>
                </a:cxn>
                <a:cxn ang="0">
                  <a:pos x="161" y="64"/>
                </a:cxn>
                <a:cxn ang="0">
                  <a:pos x="161" y="65"/>
                </a:cxn>
                <a:cxn ang="0">
                  <a:pos x="161" y="68"/>
                </a:cxn>
                <a:cxn ang="0">
                  <a:pos x="160" y="69"/>
                </a:cxn>
                <a:cxn ang="0">
                  <a:pos x="100" y="129"/>
                </a:cxn>
                <a:cxn ang="0">
                  <a:pos x="100" y="129"/>
                </a:cxn>
                <a:cxn ang="0">
                  <a:pos x="99" y="131"/>
                </a:cxn>
                <a:cxn ang="0">
                  <a:pos x="96" y="131"/>
                </a:cxn>
                <a:cxn ang="0">
                  <a:pos x="96" y="131"/>
                </a:cxn>
              </a:cxnLst>
              <a:rect l="0" t="0" r="r" b="b"/>
              <a:pathLst>
                <a:path w="161" h="131">
                  <a:moveTo>
                    <a:pt x="96" y="131"/>
                  </a:moveTo>
                  <a:lnTo>
                    <a:pt x="96" y="131"/>
                  </a:lnTo>
                  <a:lnTo>
                    <a:pt x="95" y="131"/>
                  </a:lnTo>
                  <a:lnTo>
                    <a:pt x="93" y="129"/>
                  </a:lnTo>
                  <a:lnTo>
                    <a:pt x="82" y="119"/>
                  </a:lnTo>
                  <a:lnTo>
                    <a:pt x="82" y="119"/>
                  </a:lnTo>
                  <a:lnTo>
                    <a:pt x="81" y="115"/>
                  </a:lnTo>
                  <a:lnTo>
                    <a:pt x="81" y="115"/>
                  </a:lnTo>
                  <a:lnTo>
                    <a:pt x="82" y="111"/>
                  </a:lnTo>
                  <a:lnTo>
                    <a:pt x="114" y="79"/>
                  </a:lnTo>
                  <a:lnTo>
                    <a:pt x="5" y="79"/>
                  </a:lnTo>
                  <a:lnTo>
                    <a:pt x="5" y="79"/>
                  </a:lnTo>
                  <a:lnTo>
                    <a:pt x="4" y="79"/>
                  </a:lnTo>
                  <a:lnTo>
                    <a:pt x="2" y="78"/>
                  </a:lnTo>
                  <a:lnTo>
                    <a:pt x="1" y="77"/>
                  </a:lnTo>
                  <a:lnTo>
                    <a:pt x="0" y="74"/>
                  </a:lnTo>
                  <a:lnTo>
                    <a:pt x="0" y="56"/>
                  </a:lnTo>
                  <a:lnTo>
                    <a:pt x="0" y="56"/>
                  </a:lnTo>
                  <a:lnTo>
                    <a:pt x="1" y="54"/>
                  </a:lnTo>
                  <a:lnTo>
                    <a:pt x="2" y="52"/>
                  </a:lnTo>
                  <a:lnTo>
                    <a:pt x="4" y="51"/>
                  </a:lnTo>
                  <a:lnTo>
                    <a:pt x="5" y="51"/>
                  </a:lnTo>
                  <a:lnTo>
                    <a:pt x="113" y="51"/>
                  </a:lnTo>
                  <a:lnTo>
                    <a:pt x="82" y="20"/>
                  </a:lnTo>
                  <a:lnTo>
                    <a:pt x="82" y="20"/>
                  </a:lnTo>
                  <a:lnTo>
                    <a:pt x="81" y="17"/>
                  </a:lnTo>
                  <a:lnTo>
                    <a:pt x="81" y="17"/>
                  </a:lnTo>
                  <a:lnTo>
                    <a:pt x="82" y="13"/>
                  </a:lnTo>
                  <a:lnTo>
                    <a:pt x="93" y="1"/>
                  </a:lnTo>
                  <a:lnTo>
                    <a:pt x="93" y="1"/>
                  </a:lnTo>
                  <a:lnTo>
                    <a:pt x="95" y="1"/>
                  </a:lnTo>
                  <a:lnTo>
                    <a:pt x="96" y="0"/>
                  </a:lnTo>
                  <a:lnTo>
                    <a:pt x="96" y="0"/>
                  </a:lnTo>
                  <a:lnTo>
                    <a:pt x="99" y="1"/>
                  </a:lnTo>
                  <a:lnTo>
                    <a:pt x="100" y="1"/>
                  </a:lnTo>
                  <a:lnTo>
                    <a:pt x="160" y="63"/>
                  </a:lnTo>
                  <a:lnTo>
                    <a:pt x="160" y="63"/>
                  </a:lnTo>
                  <a:lnTo>
                    <a:pt x="161" y="64"/>
                  </a:lnTo>
                  <a:lnTo>
                    <a:pt x="161" y="65"/>
                  </a:lnTo>
                  <a:lnTo>
                    <a:pt x="161" y="68"/>
                  </a:lnTo>
                  <a:lnTo>
                    <a:pt x="160" y="69"/>
                  </a:lnTo>
                  <a:lnTo>
                    <a:pt x="100" y="129"/>
                  </a:lnTo>
                  <a:lnTo>
                    <a:pt x="100" y="129"/>
                  </a:lnTo>
                  <a:lnTo>
                    <a:pt x="99" y="131"/>
                  </a:lnTo>
                  <a:lnTo>
                    <a:pt x="96" y="131"/>
                  </a:lnTo>
                  <a:lnTo>
                    <a:pt x="96" y="131"/>
                  </a:lnTo>
                  <a:close/>
                </a:path>
              </a:pathLst>
            </a:custGeom>
            <a:solidFill>
              <a:srgbClr val="2F369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endParaRPr lang="en-US" sz="1662"/>
            </a:p>
          </p:txBody>
        </p:sp>
        <p:sp>
          <p:nvSpPr>
            <p:cNvPr id="45" name="Freeform 21">
              <a:extLst>
                <a:ext uri="{FF2B5EF4-FFF2-40B4-BE49-F238E27FC236}">
                  <a16:creationId xmlns:a16="http://schemas.microsoft.com/office/drawing/2014/main" id="{8BFBC387-E640-4870-9518-48BCA2BAFFF7}"/>
                </a:ext>
              </a:extLst>
            </p:cNvPr>
            <p:cNvSpPr>
              <a:spLocks noEditPoints="1"/>
            </p:cNvSpPr>
            <p:nvPr/>
          </p:nvSpPr>
          <p:spPr bwMode="auto">
            <a:xfrm rot="5400000">
              <a:off x="6383640" y="2871713"/>
              <a:ext cx="411773" cy="413238"/>
            </a:xfrm>
            <a:custGeom>
              <a:avLst/>
              <a:gdLst/>
              <a:ahLst/>
              <a:cxnLst>
                <a:cxn ang="0">
                  <a:pos x="125" y="282"/>
                </a:cxn>
                <a:cxn ang="0">
                  <a:pos x="85" y="272"/>
                </a:cxn>
                <a:cxn ang="0">
                  <a:pos x="51" y="250"/>
                </a:cxn>
                <a:cxn ang="0">
                  <a:pos x="23" y="221"/>
                </a:cxn>
                <a:cxn ang="0">
                  <a:pos x="5" y="183"/>
                </a:cxn>
                <a:cxn ang="0">
                  <a:pos x="0" y="141"/>
                </a:cxn>
                <a:cxn ang="0">
                  <a:pos x="2" y="113"/>
                </a:cxn>
                <a:cxn ang="0">
                  <a:pos x="16" y="75"/>
                </a:cxn>
                <a:cxn ang="0">
                  <a:pos x="41" y="41"/>
                </a:cxn>
                <a:cxn ang="0">
                  <a:pos x="73" y="17"/>
                </a:cxn>
                <a:cxn ang="0">
                  <a:pos x="111" y="3"/>
                </a:cxn>
                <a:cxn ang="0">
                  <a:pos x="140" y="0"/>
                </a:cxn>
                <a:cxn ang="0">
                  <a:pos x="181" y="7"/>
                </a:cxn>
                <a:cxn ang="0">
                  <a:pos x="219" y="25"/>
                </a:cxn>
                <a:cxn ang="0">
                  <a:pos x="249" y="52"/>
                </a:cxn>
                <a:cxn ang="0">
                  <a:pos x="270" y="86"/>
                </a:cxn>
                <a:cxn ang="0">
                  <a:pos x="280" y="127"/>
                </a:cxn>
                <a:cxn ang="0">
                  <a:pos x="280" y="157"/>
                </a:cxn>
                <a:cxn ang="0">
                  <a:pos x="270" y="196"/>
                </a:cxn>
                <a:cxn ang="0">
                  <a:pos x="249" y="231"/>
                </a:cxn>
                <a:cxn ang="0">
                  <a:pos x="219" y="259"/>
                </a:cxn>
                <a:cxn ang="0">
                  <a:pos x="181" y="276"/>
                </a:cxn>
                <a:cxn ang="0">
                  <a:pos x="140" y="282"/>
                </a:cxn>
                <a:cxn ang="0">
                  <a:pos x="140" y="21"/>
                </a:cxn>
                <a:cxn ang="0">
                  <a:pos x="105" y="26"/>
                </a:cxn>
                <a:cxn ang="0">
                  <a:pos x="73" y="41"/>
                </a:cxn>
                <a:cxn ang="0">
                  <a:pos x="47" y="64"/>
                </a:cxn>
                <a:cxn ang="0">
                  <a:pos x="29" y="95"/>
                </a:cxn>
                <a:cxn ang="0">
                  <a:pos x="20" y="130"/>
                </a:cxn>
                <a:cxn ang="0">
                  <a:pos x="20" y="154"/>
                </a:cxn>
                <a:cxn ang="0">
                  <a:pos x="29" y="189"/>
                </a:cxn>
                <a:cxn ang="0">
                  <a:pos x="47" y="218"/>
                </a:cxn>
                <a:cxn ang="0">
                  <a:pos x="73" y="242"/>
                </a:cxn>
                <a:cxn ang="0">
                  <a:pos x="105" y="258"/>
                </a:cxn>
                <a:cxn ang="0">
                  <a:pos x="140" y="263"/>
                </a:cxn>
                <a:cxn ang="0">
                  <a:pos x="165" y="260"/>
                </a:cxn>
                <a:cxn ang="0">
                  <a:pos x="198" y="247"/>
                </a:cxn>
                <a:cxn ang="0">
                  <a:pos x="225" y="227"/>
                </a:cxn>
                <a:cxn ang="0">
                  <a:pos x="247" y="199"/>
                </a:cxn>
                <a:cxn ang="0">
                  <a:pos x="258" y="166"/>
                </a:cxn>
                <a:cxn ang="0">
                  <a:pos x="261" y="141"/>
                </a:cxn>
                <a:cxn ang="0">
                  <a:pos x="256" y="105"/>
                </a:cxn>
                <a:cxn ang="0">
                  <a:pos x="240" y="75"/>
                </a:cxn>
                <a:cxn ang="0">
                  <a:pos x="217" y="48"/>
                </a:cxn>
                <a:cxn ang="0">
                  <a:pos x="187" y="30"/>
                </a:cxn>
                <a:cxn ang="0">
                  <a:pos x="152" y="21"/>
                </a:cxn>
              </a:cxnLst>
              <a:rect l="0" t="0" r="r" b="b"/>
              <a:pathLst>
                <a:path w="281" h="282">
                  <a:moveTo>
                    <a:pt x="140" y="282"/>
                  </a:moveTo>
                  <a:lnTo>
                    <a:pt x="140" y="282"/>
                  </a:lnTo>
                  <a:lnTo>
                    <a:pt x="125" y="282"/>
                  </a:lnTo>
                  <a:lnTo>
                    <a:pt x="111" y="279"/>
                  </a:lnTo>
                  <a:lnTo>
                    <a:pt x="98" y="276"/>
                  </a:lnTo>
                  <a:lnTo>
                    <a:pt x="85" y="272"/>
                  </a:lnTo>
                  <a:lnTo>
                    <a:pt x="73" y="265"/>
                  </a:lnTo>
                  <a:lnTo>
                    <a:pt x="61" y="259"/>
                  </a:lnTo>
                  <a:lnTo>
                    <a:pt x="51" y="250"/>
                  </a:lnTo>
                  <a:lnTo>
                    <a:pt x="41" y="241"/>
                  </a:lnTo>
                  <a:lnTo>
                    <a:pt x="32" y="231"/>
                  </a:lnTo>
                  <a:lnTo>
                    <a:pt x="23" y="221"/>
                  </a:lnTo>
                  <a:lnTo>
                    <a:pt x="16" y="209"/>
                  </a:lnTo>
                  <a:lnTo>
                    <a:pt x="10" y="196"/>
                  </a:lnTo>
                  <a:lnTo>
                    <a:pt x="5" y="183"/>
                  </a:lnTo>
                  <a:lnTo>
                    <a:pt x="2" y="169"/>
                  </a:lnTo>
                  <a:lnTo>
                    <a:pt x="0" y="157"/>
                  </a:lnTo>
                  <a:lnTo>
                    <a:pt x="0" y="141"/>
                  </a:lnTo>
                  <a:lnTo>
                    <a:pt x="0" y="141"/>
                  </a:lnTo>
                  <a:lnTo>
                    <a:pt x="0" y="127"/>
                  </a:lnTo>
                  <a:lnTo>
                    <a:pt x="2" y="113"/>
                  </a:lnTo>
                  <a:lnTo>
                    <a:pt x="5" y="100"/>
                  </a:lnTo>
                  <a:lnTo>
                    <a:pt x="10" y="86"/>
                  </a:lnTo>
                  <a:lnTo>
                    <a:pt x="16" y="75"/>
                  </a:lnTo>
                  <a:lnTo>
                    <a:pt x="23" y="63"/>
                  </a:lnTo>
                  <a:lnTo>
                    <a:pt x="32" y="52"/>
                  </a:lnTo>
                  <a:lnTo>
                    <a:pt x="41" y="41"/>
                  </a:lnTo>
                  <a:lnTo>
                    <a:pt x="51" y="32"/>
                  </a:lnTo>
                  <a:lnTo>
                    <a:pt x="61" y="25"/>
                  </a:lnTo>
                  <a:lnTo>
                    <a:pt x="73" y="17"/>
                  </a:lnTo>
                  <a:lnTo>
                    <a:pt x="85" y="12"/>
                  </a:lnTo>
                  <a:lnTo>
                    <a:pt x="98" y="7"/>
                  </a:lnTo>
                  <a:lnTo>
                    <a:pt x="111" y="3"/>
                  </a:lnTo>
                  <a:lnTo>
                    <a:pt x="125" y="2"/>
                  </a:lnTo>
                  <a:lnTo>
                    <a:pt x="140" y="0"/>
                  </a:lnTo>
                  <a:lnTo>
                    <a:pt x="140" y="0"/>
                  </a:lnTo>
                  <a:lnTo>
                    <a:pt x="155" y="2"/>
                  </a:lnTo>
                  <a:lnTo>
                    <a:pt x="169" y="3"/>
                  </a:lnTo>
                  <a:lnTo>
                    <a:pt x="181" y="7"/>
                  </a:lnTo>
                  <a:lnTo>
                    <a:pt x="194" y="12"/>
                  </a:lnTo>
                  <a:lnTo>
                    <a:pt x="207" y="17"/>
                  </a:lnTo>
                  <a:lnTo>
                    <a:pt x="219" y="25"/>
                  </a:lnTo>
                  <a:lnTo>
                    <a:pt x="230" y="32"/>
                  </a:lnTo>
                  <a:lnTo>
                    <a:pt x="239" y="41"/>
                  </a:lnTo>
                  <a:lnTo>
                    <a:pt x="249" y="52"/>
                  </a:lnTo>
                  <a:lnTo>
                    <a:pt x="257" y="63"/>
                  </a:lnTo>
                  <a:lnTo>
                    <a:pt x="263" y="75"/>
                  </a:lnTo>
                  <a:lnTo>
                    <a:pt x="270" y="86"/>
                  </a:lnTo>
                  <a:lnTo>
                    <a:pt x="275" y="100"/>
                  </a:lnTo>
                  <a:lnTo>
                    <a:pt x="279" y="113"/>
                  </a:lnTo>
                  <a:lnTo>
                    <a:pt x="280" y="127"/>
                  </a:lnTo>
                  <a:lnTo>
                    <a:pt x="281" y="141"/>
                  </a:lnTo>
                  <a:lnTo>
                    <a:pt x="281" y="141"/>
                  </a:lnTo>
                  <a:lnTo>
                    <a:pt x="280" y="157"/>
                  </a:lnTo>
                  <a:lnTo>
                    <a:pt x="279" y="169"/>
                  </a:lnTo>
                  <a:lnTo>
                    <a:pt x="275" y="183"/>
                  </a:lnTo>
                  <a:lnTo>
                    <a:pt x="270" y="196"/>
                  </a:lnTo>
                  <a:lnTo>
                    <a:pt x="263" y="209"/>
                  </a:lnTo>
                  <a:lnTo>
                    <a:pt x="257" y="221"/>
                  </a:lnTo>
                  <a:lnTo>
                    <a:pt x="249" y="231"/>
                  </a:lnTo>
                  <a:lnTo>
                    <a:pt x="239" y="241"/>
                  </a:lnTo>
                  <a:lnTo>
                    <a:pt x="230" y="250"/>
                  </a:lnTo>
                  <a:lnTo>
                    <a:pt x="219" y="259"/>
                  </a:lnTo>
                  <a:lnTo>
                    <a:pt x="207" y="265"/>
                  </a:lnTo>
                  <a:lnTo>
                    <a:pt x="194" y="272"/>
                  </a:lnTo>
                  <a:lnTo>
                    <a:pt x="181" y="276"/>
                  </a:lnTo>
                  <a:lnTo>
                    <a:pt x="169" y="279"/>
                  </a:lnTo>
                  <a:lnTo>
                    <a:pt x="155" y="282"/>
                  </a:lnTo>
                  <a:lnTo>
                    <a:pt x="140" y="282"/>
                  </a:lnTo>
                  <a:lnTo>
                    <a:pt x="140" y="282"/>
                  </a:lnTo>
                  <a:close/>
                  <a:moveTo>
                    <a:pt x="140" y="21"/>
                  </a:moveTo>
                  <a:lnTo>
                    <a:pt x="140" y="21"/>
                  </a:lnTo>
                  <a:lnTo>
                    <a:pt x="128" y="21"/>
                  </a:lnTo>
                  <a:lnTo>
                    <a:pt x="116" y="24"/>
                  </a:lnTo>
                  <a:lnTo>
                    <a:pt x="105" y="26"/>
                  </a:lnTo>
                  <a:lnTo>
                    <a:pt x="93" y="30"/>
                  </a:lnTo>
                  <a:lnTo>
                    <a:pt x="83" y="35"/>
                  </a:lnTo>
                  <a:lnTo>
                    <a:pt x="73" y="41"/>
                  </a:lnTo>
                  <a:lnTo>
                    <a:pt x="64" y="48"/>
                  </a:lnTo>
                  <a:lnTo>
                    <a:pt x="55" y="57"/>
                  </a:lnTo>
                  <a:lnTo>
                    <a:pt x="47" y="64"/>
                  </a:lnTo>
                  <a:lnTo>
                    <a:pt x="39" y="75"/>
                  </a:lnTo>
                  <a:lnTo>
                    <a:pt x="34" y="84"/>
                  </a:lnTo>
                  <a:lnTo>
                    <a:pt x="29" y="95"/>
                  </a:lnTo>
                  <a:lnTo>
                    <a:pt x="24" y="105"/>
                  </a:lnTo>
                  <a:lnTo>
                    <a:pt x="21" y="117"/>
                  </a:lnTo>
                  <a:lnTo>
                    <a:pt x="20" y="130"/>
                  </a:lnTo>
                  <a:lnTo>
                    <a:pt x="19" y="141"/>
                  </a:lnTo>
                  <a:lnTo>
                    <a:pt x="19" y="141"/>
                  </a:lnTo>
                  <a:lnTo>
                    <a:pt x="20" y="154"/>
                  </a:lnTo>
                  <a:lnTo>
                    <a:pt x="21" y="166"/>
                  </a:lnTo>
                  <a:lnTo>
                    <a:pt x="24" y="177"/>
                  </a:lnTo>
                  <a:lnTo>
                    <a:pt x="29" y="189"/>
                  </a:lnTo>
                  <a:lnTo>
                    <a:pt x="34" y="199"/>
                  </a:lnTo>
                  <a:lnTo>
                    <a:pt x="39" y="209"/>
                  </a:lnTo>
                  <a:lnTo>
                    <a:pt x="47" y="218"/>
                  </a:lnTo>
                  <a:lnTo>
                    <a:pt x="55" y="227"/>
                  </a:lnTo>
                  <a:lnTo>
                    <a:pt x="64" y="235"/>
                  </a:lnTo>
                  <a:lnTo>
                    <a:pt x="73" y="242"/>
                  </a:lnTo>
                  <a:lnTo>
                    <a:pt x="83" y="247"/>
                  </a:lnTo>
                  <a:lnTo>
                    <a:pt x="93" y="253"/>
                  </a:lnTo>
                  <a:lnTo>
                    <a:pt x="105" y="258"/>
                  </a:lnTo>
                  <a:lnTo>
                    <a:pt x="116" y="260"/>
                  </a:lnTo>
                  <a:lnTo>
                    <a:pt x="128" y="262"/>
                  </a:lnTo>
                  <a:lnTo>
                    <a:pt x="140" y="263"/>
                  </a:lnTo>
                  <a:lnTo>
                    <a:pt x="140" y="263"/>
                  </a:lnTo>
                  <a:lnTo>
                    <a:pt x="152" y="262"/>
                  </a:lnTo>
                  <a:lnTo>
                    <a:pt x="165" y="260"/>
                  </a:lnTo>
                  <a:lnTo>
                    <a:pt x="176" y="258"/>
                  </a:lnTo>
                  <a:lnTo>
                    <a:pt x="187" y="253"/>
                  </a:lnTo>
                  <a:lnTo>
                    <a:pt x="198" y="247"/>
                  </a:lnTo>
                  <a:lnTo>
                    <a:pt x="207" y="242"/>
                  </a:lnTo>
                  <a:lnTo>
                    <a:pt x="217" y="235"/>
                  </a:lnTo>
                  <a:lnTo>
                    <a:pt x="225" y="227"/>
                  </a:lnTo>
                  <a:lnTo>
                    <a:pt x="234" y="218"/>
                  </a:lnTo>
                  <a:lnTo>
                    <a:pt x="240" y="209"/>
                  </a:lnTo>
                  <a:lnTo>
                    <a:pt x="247" y="199"/>
                  </a:lnTo>
                  <a:lnTo>
                    <a:pt x="252" y="189"/>
                  </a:lnTo>
                  <a:lnTo>
                    <a:pt x="256" y="177"/>
                  </a:lnTo>
                  <a:lnTo>
                    <a:pt x="258" y="166"/>
                  </a:lnTo>
                  <a:lnTo>
                    <a:pt x="261" y="154"/>
                  </a:lnTo>
                  <a:lnTo>
                    <a:pt x="261" y="141"/>
                  </a:lnTo>
                  <a:lnTo>
                    <a:pt x="261" y="141"/>
                  </a:lnTo>
                  <a:lnTo>
                    <a:pt x="261" y="130"/>
                  </a:lnTo>
                  <a:lnTo>
                    <a:pt x="258" y="117"/>
                  </a:lnTo>
                  <a:lnTo>
                    <a:pt x="256" y="105"/>
                  </a:lnTo>
                  <a:lnTo>
                    <a:pt x="252" y="95"/>
                  </a:lnTo>
                  <a:lnTo>
                    <a:pt x="247" y="84"/>
                  </a:lnTo>
                  <a:lnTo>
                    <a:pt x="240" y="75"/>
                  </a:lnTo>
                  <a:lnTo>
                    <a:pt x="234" y="64"/>
                  </a:lnTo>
                  <a:lnTo>
                    <a:pt x="225" y="57"/>
                  </a:lnTo>
                  <a:lnTo>
                    <a:pt x="217" y="48"/>
                  </a:lnTo>
                  <a:lnTo>
                    <a:pt x="207" y="41"/>
                  </a:lnTo>
                  <a:lnTo>
                    <a:pt x="198" y="35"/>
                  </a:lnTo>
                  <a:lnTo>
                    <a:pt x="187" y="30"/>
                  </a:lnTo>
                  <a:lnTo>
                    <a:pt x="176" y="26"/>
                  </a:lnTo>
                  <a:lnTo>
                    <a:pt x="165" y="24"/>
                  </a:lnTo>
                  <a:lnTo>
                    <a:pt x="152" y="21"/>
                  </a:lnTo>
                  <a:lnTo>
                    <a:pt x="140" y="21"/>
                  </a:lnTo>
                  <a:lnTo>
                    <a:pt x="140" y="21"/>
                  </a:lnTo>
                  <a:close/>
                </a:path>
              </a:pathLst>
            </a:custGeom>
            <a:solidFill>
              <a:srgbClr val="2F369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84406" tIns="42203" rIns="84406" bIns="42203" numCol="1" anchor="t" anchorCtr="0" compatLnSpc="1">
              <a:prstTxWarp prst="textNoShape">
                <a:avLst/>
              </a:prstTxWarp>
            </a:bodyPr>
            <a:lstStyle/>
            <a:p>
              <a:endParaRPr lang="en-US" sz="1662"/>
            </a:p>
          </p:txBody>
        </p:sp>
      </p:grpSp>
      <p:pic>
        <p:nvPicPr>
          <p:cNvPr id="22584" name="Picture 56" descr="Физика. Рабочие программы (7-9) к учебнику Громова С.В., Родиной Н.А. (Электронное издание)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52508" y="2265837"/>
            <a:ext cx="680051" cy="984714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47" name="Прямая соединительная линия 46"/>
          <p:cNvCxnSpPr/>
          <p:nvPr/>
        </p:nvCxnSpPr>
        <p:spPr>
          <a:xfrm flipH="1" flipV="1">
            <a:off x="4682995" y="3270292"/>
            <a:ext cx="65074" cy="3416258"/>
          </a:xfrm>
          <a:prstGeom prst="line">
            <a:avLst/>
          </a:prstGeom>
          <a:solidFill>
            <a:srgbClr val="AE2C25"/>
          </a:solidFill>
          <a:ln w="9525">
            <a:solidFill>
              <a:schemeClr val="tx1">
                <a:lumMod val="50000"/>
                <a:lumOff val="50000"/>
              </a:schemeClr>
            </a:solidFill>
            <a:prstDash val="dash"/>
            <a:miter lim="800000"/>
            <a:headEnd type="none" w="med" len="med"/>
            <a:tailEnd type="none"/>
          </a:ln>
        </p:spPr>
      </p:cxnSp>
      <p:cxnSp>
        <p:nvCxnSpPr>
          <p:cNvPr id="48" name="Прямая соединительная линия 47"/>
          <p:cNvCxnSpPr/>
          <p:nvPr/>
        </p:nvCxnSpPr>
        <p:spPr>
          <a:xfrm flipH="1" flipV="1">
            <a:off x="7380234" y="681444"/>
            <a:ext cx="29730" cy="1527084"/>
          </a:xfrm>
          <a:prstGeom prst="line">
            <a:avLst/>
          </a:prstGeom>
          <a:solidFill>
            <a:srgbClr val="AE2C25"/>
          </a:solidFill>
          <a:ln w="9525">
            <a:solidFill>
              <a:schemeClr val="tx1">
                <a:lumMod val="50000"/>
                <a:lumOff val="50000"/>
              </a:schemeClr>
            </a:solidFill>
            <a:prstDash val="dash"/>
            <a:miter lim="800000"/>
            <a:headEnd type="none" w="med" len="med"/>
            <a:tailEnd type="none"/>
          </a:ln>
        </p:spPr>
      </p:cxnSp>
      <p:cxnSp>
        <p:nvCxnSpPr>
          <p:cNvPr id="49" name="Прямая соединительная линия 48"/>
          <p:cNvCxnSpPr/>
          <p:nvPr/>
        </p:nvCxnSpPr>
        <p:spPr>
          <a:xfrm flipH="1" flipV="1">
            <a:off x="7380234" y="3270291"/>
            <a:ext cx="44844" cy="3416259"/>
          </a:xfrm>
          <a:prstGeom prst="line">
            <a:avLst/>
          </a:prstGeom>
          <a:solidFill>
            <a:srgbClr val="AE2C25"/>
          </a:solidFill>
          <a:ln w="9525">
            <a:solidFill>
              <a:schemeClr val="tx1">
                <a:lumMod val="50000"/>
                <a:lumOff val="50000"/>
              </a:schemeClr>
            </a:solidFill>
            <a:prstDash val="dash"/>
            <a:miter lim="800000"/>
            <a:headEnd type="none" w="med" len="med"/>
            <a:tailEnd type="none"/>
          </a:ln>
        </p:spPr>
      </p:cxnSp>
      <p:sp>
        <p:nvSpPr>
          <p:cNvPr id="50" name="Прямоугольник 49">
            <a:extLst>
              <a:ext uri="{FF2B5EF4-FFF2-40B4-BE49-F238E27FC236}">
                <a16:creationId xmlns:a16="http://schemas.microsoft.com/office/drawing/2014/main" id="{93110AC9-F1A4-4CD9-927C-8BDCA8AD5ECC}"/>
              </a:ext>
            </a:extLst>
          </p:cNvPr>
          <p:cNvSpPr/>
          <p:nvPr/>
        </p:nvSpPr>
        <p:spPr>
          <a:xfrm>
            <a:off x="10672027" y="3633293"/>
            <a:ext cx="1519974" cy="369592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r>
              <a:rPr lang="ru-RU" sz="1050" dirty="0" smtClean="0">
                <a:solidFill>
                  <a:schemeClr val="tx1"/>
                </a:solidFill>
              </a:rPr>
              <a:t>в </a:t>
            </a:r>
            <a:r>
              <a:rPr lang="ru-RU" sz="1050" dirty="0">
                <a:solidFill>
                  <a:schemeClr val="tx1"/>
                </a:solidFill>
              </a:rPr>
              <a:t>электронной форме </a:t>
            </a:r>
            <a:endParaRPr lang="en-US" sz="1050" dirty="0" smtClean="0">
              <a:solidFill>
                <a:schemeClr val="tx1"/>
              </a:solidFill>
            </a:endParaRPr>
          </a:p>
          <a:p>
            <a:r>
              <a:rPr lang="ru-RU" sz="1050" dirty="0" smtClean="0">
                <a:solidFill>
                  <a:schemeClr val="tx1"/>
                </a:solidFill>
              </a:rPr>
              <a:t>на </a:t>
            </a:r>
            <a:r>
              <a:rPr lang="ru-RU" sz="1050" dirty="0">
                <a:solidFill>
                  <a:schemeClr val="tx1"/>
                </a:solidFill>
              </a:rPr>
              <a:t>сайте </a:t>
            </a:r>
            <a:r>
              <a:rPr lang="en-US" sz="1050" u="sng" dirty="0" smtClean="0">
                <a:solidFill>
                  <a:srgbClr val="2D3494"/>
                </a:solidFill>
                <a:hlinkClick r:id="rId7"/>
              </a:rPr>
              <a:t>prosv.ru</a:t>
            </a:r>
            <a:endParaRPr lang="ru-RU" sz="1050" u="sng" dirty="0">
              <a:solidFill>
                <a:srgbClr val="2D3494"/>
              </a:solidFill>
            </a:endParaRPr>
          </a:p>
        </p:txBody>
      </p:sp>
      <p:pic>
        <p:nvPicPr>
          <p:cNvPr id="22586" name="Picture 58" descr="https://catalog.prosv.ru/images/big/96f72857-777b-11e7-b054-0050569c7d18.jp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66638" y="894556"/>
            <a:ext cx="944566" cy="129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AutoShape 60" descr="https://catalog.prosv.ru/images/big/9115e9f3-7df6-11e8-80f0-0050569c7d18.jp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pic>
        <p:nvPicPr>
          <p:cNvPr id="22590" name="Picture 62" descr="https://catalog.prosv.ru/images/big/9115e9f3-7df6-11e8-80f0-0050569c7d18.jpg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37719" y="4360816"/>
            <a:ext cx="705868" cy="9186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592" name="Picture 64" descr="Физика. 8 класс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33671" y="912528"/>
            <a:ext cx="958579" cy="129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594" name="Picture 66" descr="Физика. Обучающий тренажёр. 8 класс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33072" y="4385260"/>
            <a:ext cx="676740" cy="8932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596" name="Picture 68" descr="Физика. 9 класс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72420" y="853492"/>
            <a:ext cx="961424" cy="129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601" name="Picture 73" descr="Физика. 9 класс. В 3-х ч. Ч.3 (для слабовидящих обучающихся)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84241" y="3326733"/>
            <a:ext cx="571195" cy="8358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9" name="Picture 73" descr="Физика. 9 класс. В 3-х ч. Ч.3 (для слабовидящих обучающихся)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63743" y="3326733"/>
            <a:ext cx="571195" cy="8358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0" name="Picture 73" descr="Физика. 9 класс. В 3-х ч. Ч.3 (для слабовидящих обучающихся)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02215" y="3301865"/>
            <a:ext cx="619574" cy="9066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603" name="Picture 75" descr="https://catalog.prosv.ru/images/small/571acbe7-c8c9-11e5-9b98-0050569c7d18.jpg"/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09812" y="2279691"/>
            <a:ext cx="666750" cy="990601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" name="Рисунок 50"/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grpSp>
        <p:nvGrpSpPr>
          <p:cNvPr id="52" name="Группа 51"/>
          <p:cNvGrpSpPr/>
          <p:nvPr/>
        </p:nvGrpSpPr>
        <p:grpSpPr>
          <a:xfrm>
            <a:off x="339553" y="260649"/>
            <a:ext cx="1268960" cy="438775"/>
            <a:chOff x="254665" y="195486"/>
            <a:chExt cx="951720" cy="329081"/>
          </a:xfrm>
        </p:grpSpPr>
        <p:sp>
          <p:nvSpPr>
            <p:cNvPr id="53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54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55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56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57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58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61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62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63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64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65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66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67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68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</p:grpSp>
      <p:cxnSp>
        <p:nvCxnSpPr>
          <p:cNvPr id="69" name="Прямая соединительная линия 68"/>
          <p:cNvCxnSpPr/>
          <p:nvPr/>
        </p:nvCxnSpPr>
        <p:spPr>
          <a:xfrm>
            <a:off x="1967541" y="0"/>
            <a:ext cx="0" cy="670171"/>
          </a:xfrm>
          <a:prstGeom prst="line">
            <a:avLst/>
          </a:prstGeom>
          <a:ln w="6350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Рисунок 3"/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9560" y="4383753"/>
            <a:ext cx="685420" cy="894805"/>
          </a:xfrm>
          <a:prstGeom prst="rect">
            <a:avLst/>
          </a:prstGeom>
        </p:spPr>
      </p:pic>
      <p:cxnSp>
        <p:nvCxnSpPr>
          <p:cNvPr id="70" name="Прямая соединительная линия 69"/>
          <p:cNvCxnSpPr/>
          <p:nvPr/>
        </p:nvCxnSpPr>
        <p:spPr>
          <a:xfrm flipH="1">
            <a:off x="755071" y="5374971"/>
            <a:ext cx="10476000" cy="0"/>
          </a:xfrm>
          <a:prstGeom prst="line">
            <a:avLst/>
          </a:prstGeom>
          <a:solidFill>
            <a:srgbClr val="AE2C25"/>
          </a:solidFill>
          <a:ln w="9525">
            <a:solidFill>
              <a:schemeClr val="tx1">
                <a:lumMod val="50000"/>
                <a:lumOff val="50000"/>
              </a:schemeClr>
            </a:solidFill>
            <a:prstDash val="dash"/>
            <a:miter lim="800000"/>
            <a:headEnd type="none" w="med" len="med"/>
            <a:tailEnd type="none"/>
          </a:ln>
        </p:spPr>
      </p:cxnSp>
      <p:sp>
        <p:nvSpPr>
          <p:cNvPr id="71" name="Text Placeholder 3"/>
          <p:cNvSpPr txBox="1">
            <a:spLocks/>
          </p:cNvSpPr>
          <p:nvPr/>
        </p:nvSpPr>
        <p:spPr>
          <a:xfrm>
            <a:off x="755753" y="5418547"/>
            <a:ext cx="1296000" cy="622764"/>
          </a:xfrm>
          <a:prstGeom prst="rect">
            <a:avLst/>
          </a:prstGeom>
        </p:spPr>
        <p:txBody>
          <a:bodyPr vert="horz" lIns="72000" tIns="72000" rIns="36000" bIns="72000" rtlCol="0" anchor="ctr" anchorCtr="0">
            <a:noAutofit/>
          </a:bodyPr>
          <a:lstStyle>
            <a:defPPr>
              <a:defRPr lang="ru-RU"/>
            </a:defPPr>
            <a:lvl1pPr indent="0">
              <a:spcBef>
                <a:spcPts val="600"/>
              </a:spcBef>
              <a:buClr>
                <a:srgbClr val="2D3494"/>
              </a:buClr>
              <a:buFont typeface="Arial" pitchFamily="34" charset="0"/>
              <a:buNone/>
              <a:defRPr b="0" i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 marL="180000" indent="-180000">
              <a:spcBef>
                <a:spcPts val="600"/>
              </a:spcBef>
              <a:buClr>
                <a:srgbClr val="2D3494"/>
              </a:buClr>
              <a:buFont typeface="Wingdings" pitchFamily="2" charset="2"/>
              <a:buChar char="§"/>
              <a:defRPr sz="1400" b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 marL="360000" indent="-180000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–"/>
              <a:defRPr sz="1400" b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 marL="540000" indent="-180000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400" b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 marL="720000" indent="-180000">
              <a:spcBef>
                <a:spcPts val="300"/>
              </a:spcBef>
              <a:buClr>
                <a:srgbClr val="2D3494"/>
              </a:buClr>
              <a:buFont typeface="Arial" pitchFamily="34" charset="0"/>
              <a:buChar char="•"/>
              <a:defRPr sz="1400" b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>
              <a:spcBef>
                <a:spcPts val="0"/>
              </a:spcBef>
            </a:pPr>
            <a:r>
              <a:rPr lang="ru-RU" sz="1200" dirty="0">
                <a:solidFill>
                  <a:schemeClr val="tx1"/>
                </a:solidFill>
                <a:latin typeface="+mn-lt"/>
              </a:rPr>
              <a:t>Контрольно-измерительные материалы </a:t>
            </a:r>
          </a:p>
        </p:txBody>
      </p:sp>
      <p:pic>
        <p:nvPicPr>
          <p:cNvPr id="72" name="Picture 73" descr="Физика. 9 класс. В 3-х ч. Ч.3 (для слабовидящих обучающихся)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5946" y="5600069"/>
            <a:ext cx="571195" cy="8358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3" name="Picture 73" descr="Физика. 9 класс. В 3-х ч. Ч.3 (для слабовидящих обучающихся)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81170" y="5600068"/>
            <a:ext cx="571195" cy="8358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4" name="Picture 73" descr="Физика. 9 класс. В 3-х ч. Ч.3 (для слабовидящих обучающихся)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85695" y="5599171"/>
            <a:ext cx="571195" cy="8358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5" name="Скругленный прямоугольник 74"/>
          <p:cNvSpPr/>
          <p:nvPr/>
        </p:nvSpPr>
        <p:spPr>
          <a:xfrm>
            <a:off x="708463" y="6091414"/>
            <a:ext cx="1104507" cy="349954"/>
          </a:xfrm>
          <a:prstGeom prst="roundRect">
            <a:avLst/>
          </a:prstGeom>
          <a:solidFill>
            <a:srgbClr val="FC0652"/>
          </a:solidFill>
          <a:ln w="9525">
            <a:solidFill>
              <a:srgbClr val="FC065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72000" rIns="0" bIns="72000" rtlCol="0" anchor="ctr" anchorCtr="0"/>
          <a:lstStyle/>
          <a:p>
            <a:pPr algn="ctr"/>
            <a:r>
              <a:rPr lang="ru-RU" sz="1200" b="1" dirty="0" smtClean="0">
                <a:solidFill>
                  <a:schemeClr val="bg1"/>
                </a:solidFill>
                <a:latin typeface="Calibri" panose="020F0502020204030204" pitchFamily="34" charset="0"/>
              </a:rPr>
              <a:t>НОВИНКА </a:t>
            </a:r>
          </a:p>
          <a:p>
            <a:pPr algn="ctr"/>
            <a:r>
              <a:rPr lang="en-US" sz="1200" b="1" dirty="0" smtClean="0">
                <a:solidFill>
                  <a:schemeClr val="bg1"/>
                </a:solidFill>
                <a:latin typeface="Calibri" panose="020F0502020204030204" pitchFamily="34" charset="0"/>
              </a:rPr>
              <a:t>II </a:t>
            </a:r>
            <a:r>
              <a:rPr lang="ru-RU" sz="1200" b="1" dirty="0" smtClean="0">
                <a:solidFill>
                  <a:schemeClr val="bg1"/>
                </a:solidFill>
                <a:latin typeface="Calibri" panose="020F0502020204030204" pitchFamily="34" charset="0"/>
              </a:rPr>
              <a:t>квартал 2021 </a:t>
            </a:r>
            <a:endParaRPr lang="ru-RU" sz="1200" b="1" dirty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884819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Прямоугольник 44"/>
          <p:cNvSpPr/>
          <p:nvPr/>
        </p:nvSpPr>
        <p:spPr>
          <a:xfrm>
            <a:off x="7010143" y="-70075"/>
            <a:ext cx="5177889" cy="6888480"/>
          </a:xfrm>
          <a:prstGeom prst="rect">
            <a:avLst/>
          </a:prstGeom>
          <a:solidFill>
            <a:srgbClr val="D8EBF4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id="{C57A16CD-55A2-4F01-A658-438A93B431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771" name="Слайд think-cell" r:id="rId5" imgW="359" imgH="360" progId="TCLayout.ActiveDocument.1">
                  <p:embed/>
                </p:oleObj>
              </mc:Choice>
              <mc:Fallback>
                <p:oleObj name="Слайд think-cell" r:id="rId5" imgW="359" imgH="360" progId="TCLayout.ActiveDocument.1">
                  <p:embed/>
                  <p:pic>
                    <p:nvPicPr>
                      <p:cNvPr id="4" name="Объект 3" hidden="1">
                        <a:extLst>
                          <a:ext uri="{FF2B5EF4-FFF2-40B4-BE49-F238E27FC236}">
                            <a16:creationId xmlns:a16="http://schemas.microsoft.com/office/drawing/2014/main" id="{C57A16CD-55A2-4F01-A658-438A93B431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Номер слайда 8"/>
          <p:cNvSpPr txBox="1">
            <a:spLocks/>
          </p:cNvSpPr>
          <p:nvPr/>
        </p:nvSpPr>
        <p:spPr>
          <a:xfrm>
            <a:off x="8763000" y="65087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8" name="Прямоугольник 27"/>
          <p:cNvSpPr/>
          <p:nvPr/>
        </p:nvSpPr>
        <p:spPr>
          <a:xfrm>
            <a:off x="7219412" y="1629523"/>
            <a:ext cx="3582899" cy="30264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ea typeface="Open Sans" panose="020B0606030504020204" pitchFamily="34" charset="0"/>
                <a:cs typeface="Open Sans" panose="020B0606030504020204" pitchFamily="34" charset="0"/>
              </a:rPr>
              <a:t>Содержание</a:t>
            </a:r>
          </a:p>
          <a:p>
            <a:pPr marL="285750" lvl="0" indent="-285750">
              <a:spcBef>
                <a:spcPts val="1600"/>
              </a:spcBef>
              <a:buBlip>
                <a:blip r:embed="rId7"/>
              </a:buBlip>
              <a:defRPr/>
            </a:pPr>
            <a:r>
              <a:rPr lang="ru-RU" sz="1400" dirty="0">
                <a:solidFill>
                  <a:srgbClr val="002060"/>
                </a:solidFill>
                <a:ea typeface="Open Sans" pitchFamily="34" charset="0"/>
                <a:cs typeface="Open Sans" pitchFamily="34" charset="0"/>
              </a:rPr>
              <a:t>Линия УМК Л.Э. </a:t>
            </a:r>
            <a:r>
              <a:rPr lang="ru-RU" sz="1400" dirty="0" err="1">
                <a:solidFill>
                  <a:srgbClr val="002060"/>
                </a:solidFill>
                <a:ea typeface="Open Sans" pitchFamily="34" charset="0"/>
                <a:cs typeface="Open Sans" pitchFamily="34" charset="0"/>
              </a:rPr>
              <a:t>Генденштейна</a:t>
            </a:r>
            <a:endParaRPr lang="ru-RU" sz="1400" dirty="0">
              <a:solidFill>
                <a:srgbClr val="002060"/>
              </a:solidFill>
              <a:ea typeface="Open Sans" pitchFamily="34" charset="0"/>
              <a:cs typeface="Open Sans" pitchFamily="34" charset="0"/>
            </a:endParaRPr>
          </a:p>
          <a:p>
            <a:pPr marL="285750" lvl="0" indent="-285750">
              <a:spcBef>
                <a:spcPts val="1600"/>
              </a:spcBef>
              <a:buBlip>
                <a:blip r:embed="rId7"/>
              </a:buBlip>
              <a:defRPr/>
            </a:pPr>
            <a:r>
              <a:rPr lang="ru-RU" sz="1400" dirty="0">
                <a:solidFill>
                  <a:srgbClr val="002060"/>
                </a:solidFill>
                <a:ea typeface="Open Sans" pitchFamily="34" charset="0"/>
                <a:cs typeface="Open Sans" pitchFamily="34" charset="0"/>
              </a:rPr>
              <a:t>Изучение темы через постановку  опытов 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ea typeface="Open Sans" pitchFamily="34" charset="0"/>
              <a:cs typeface="Open Sans" pitchFamily="34" charset="0"/>
            </a:endParaRPr>
          </a:p>
          <a:p>
            <a:pPr marL="285750" lvl="0" indent="-285750">
              <a:spcBef>
                <a:spcPts val="1600"/>
              </a:spcBef>
              <a:buBlip>
                <a:blip r:embed="rId7"/>
              </a:buBlip>
              <a:defRPr/>
            </a:pPr>
            <a:r>
              <a:rPr lang="ru-RU" sz="1400" dirty="0">
                <a:solidFill>
                  <a:srgbClr val="002060"/>
                </a:solidFill>
                <a:ea typeface="Open Sans" pitchFamily="34" charset="0"/>
                <a:cs typeface="Open Sans" pitchFamily="34" charset="0"/>
              </a:rPr>
              <a:t>Применение активных методов обучения</a:t>
            </a:r>
            <a:r>
              <a:rPr lang="ru-RU" sz="1400" dirty="0" smtClean="0">
                <a:solidFill>
                  <a:srgbClr val="002060"/>
                </a:solidFill>
                <a:ea typeface="Open Sans" pitchFamily="34" charset="0"/>
                <a:cs typeface="Open Sans" pitchFamily="34" charset="0"/>
              </a:rPr>
              <a:t>: работа </a:t>
            </a:r>
            <a:r>
              <a:rPr lang="ru-RU" sz="1400" dirty="0">
                <a:solidFill>
                  <a:srgbClr val="002060"/>
                </a:solidFill>
                <a:ea typeface="Open Sans" pitchFamily="34" charset="0"/>
                <a:cs typeface="Open Sans" pitchFamily="34" charset="0"/>
              </a:rPr>
              <a:t>с </a:t>
            </a:r>
            <a:r>
              <a:rPr lang="ru-RU" sz="1400" dirty="0" smtClean="0">
                <a:solidFill>
                  <a:srgbClr val="002060"/>
                </a:solidFill>
                <a:ea typeface="Open Sans" pitchFamily="34" charset="0"/>
                <a:cs typeface="Open Sans" pitchFamily="34" charset="0"/>
              </a:rPr>
              <a:t>графиками</a:t>
            </a:r>
          </a:p>
          <a:p>
            <a:pPr marL="285750" lvl="0" indent="-285750">
              <a:spcBef>
                <a:spcPts val="1600"/>
              </a:spcBef>
              <a:buBlip>
                <a:blip r:embed="rId7"/>
              </a:buBlip>
              <a:defRPr/>
            </a:pPr>
            <a:r>
              <a:rPr lang="ru-RU" sz="1400" dirty="0">
                <a:solidFill>
                  <a:srgbClr val="002060"/>
                </a:solidFill>
                <a:ea typeface="Open Sans" pitchFamily="34" charset="0"/>
                <a:cs typeface="Open Sans" pitchFamily="34" charset="0"/>
              </a:rPr>
              <a:t>Применение активных методов обучения: решение ситуационных </a:t>
            </a:r>
            <a:r>
              <a:rPr lang="ru-RU" sz="1400" dirty="0" smtClean="0">
                <a:solidFill>
                  <a:srgbClr val="002060"/>
                </a:solidFill>
                <a:ea typeface="Open Sans" pitchFamily="34" charset="0"/>
                <a:cs typeface="Open Sans" pitchFamily="34" charset="0"/>
              </a:rPr>
              <a:t>задач</a:t>
            </a:r>
          </a:p>
          <a:p>
            <a:pPr marL="285750" lvl="0" indent="-285750">
              <a:spcBef>
                <a:spcPts val="1600"/>
              </a:spcBef>
              <a:buBlip>
                <a:blip r:embed="rId7"/>
              </a:buBlip>
              <a:defRPr/>
            </a:pPr>
            <a:r>
              <a:rPr lang="ru-RU" sz="1400" dirty="0" smtClean="0">
                <a:solidFill>
                  <a:srgbClr val="002060"/>
                </a:solidFill>
                <a:ea typeface="Open Sans" pitchFamily="34" charset="0"/>
                <a:cs typeface="Open Sans" pitchFamily="34" charset="0"/>
              </a:rPr>
              <a:t>Компоненты линии УМК авторов </a:t>
            </a:r>
            <a:r>
              <a:rPr lang="ru-RU" sz="1400" dirty="0" err="1" smtClean="0">
                <a:solidFill>
                  <a:srgbClr val="002060"/>
                </a:solidFill>
                <a:ea typeface="Open Sans" pitchFamily="34" charset="0"/>
                <a:cs typeface="Open Sans" pitchFamily="34" charset="0"/>
              </a:rPr>
              <a:t>Генденштейн</a:t>
            </a:r>
            <a:r>
              <a:rPr lang="ru-RU" sz="1400" dirty="0" smtClean="0">
                <a:solidFill>
                  <a:srgbClr val="002060"/>
                </a:solidFill>
                <a:ea typeface="Open Sans" pitchFamily="34" charset="0"/>
                <a:cs typeface="Open Sans" pitchFamily="34" charset="0"/>
              </a:rPr>
              <a:t> </a:t>
            </a:r>
            <a:r>
              <a:rPr lang="ru-RU" sz="1400" dirty="0">
                <a:solidFill>
                  <a:srgbClr val="002060"/>
                </a:solidFill>
                <a:ea typeface="Open Sans" pitchFamily="34" charset="0"/>
                <a:cs typeface="Open Sans" pitchFamily="34" charset="0"/>
              </a:rPr>
              <a:t>Л.Э. </a:t>
            </a:r>
            <a:r>
              <a:rPr lang="ru-RU" sz="1400" dirty="0" smtClean="0">
                <a:solidFill>
                  <a:srgbClr val="002060"/>
                </a:solidFill>
                <a:ea typeface="Open Sans" pitchFamily="34" charset="0"/>
                <a:cs typeface="Open Sans" pitchFamily="34" charset="0"/>
              </a:rPr>
              <a:t>и др.</a:t>
            </a:r>
            <a:endParaRPr lang="ru-RU" sz="1400" dirty="0">
              <a:solidFill>
                <a:srgbClr val="002060"/>
              </a:solidFill>
              <a:ea typeface="Open Sans" pitchFamily="34" charset="0"/>
              <a:cs typeface="Open Sans" pitchFamily="34" charset="0"/>
            </a:endParaRPr>
          </a:p>
        </p:txBody>
      </p:sp>
      <p:grpSp>
        <p:nvGrpSpPr>
          <p:cNvPr id="6" name="Группа 5"/>
          <p:cNvGrpSpPr/>
          <p:nvPr/>
        </p:nvGrpSpPr>
        <p:grpSpPr>
          <a:xfrm>
            <a:off x="11375669" y="-4589"/>
            <a:ext cx="813280" cy="6790912"/>
            <a:chOff x="8531752" y="-3442"/>
            <a:chExt cx="609960" cy="5093184"/>
          </a:xfrm>
        </p:grpSpPr>
        <p:sp>
          <p:nvSpPr>
            <p:cNvPr id="32" name="Rectangle 10"/>
            <p:cNvSpPr>
              <a:spLocks noChangeArrowheads="1"/>
            </p:cNvSpPr>
            <p:nvPr/>
          </p:nvSpPr>
          <p:spPr bwMode="auto">
            <a:xfrm>
              <a:off x="8531752" y="1693368"/>
              <a:ext cx="609272" cy="566063"/>
            </a:xfrm>
            <a:prstGeom prst="rect">
              <a:avLst/>
            </a:prstGeom>
            <a:solidFill>
              <a:srgbClr val="40D4E2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0" name="Rectangle 13"/>
            <p:cNvSpPr>
              <a:spLocks noChangeArrowheads="1"/>
            </p:cNvSpPr>
            <p:nvPr/>
          </p:nvSpPr>
          <p:spPr bwMode="auto">
            <a:xfrm>
              <a:off x="8531752" y="3957617"/>
              <a:ext cx="609272" cy="566063"/>
            </a:xfrm>
            <a:prstGeom prst="rect">
              <a:avLst/>
            </a:prstGeom>
            <a:solidFill>
              <a:srgbClr val="43D1A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1" name="Rectangle 14"/>
            <p:cNvSpPr>
              <a:spLocks noChangeArrowheads="1"/>
            </p:cNvSpPr>
            <p:nvPr/>
          </p:nvSpPr>
          <p:spPr bwMode="auto">
            <a:xfrm>
              <a:off x="8532440" y="3391554"/>
              <a:ext cx="609272" cy="566063"/>
            </a:xfrm>
            <a:prstGeom prst="rect">
              <a:avLst/>
            </a:prstGeom>
            <a:solidFill>
              <a:srgbClr val="5471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4" name="Rectangle 17"/>
            <p:cNvSpPr>
              <a:spLocks noChangeArrowheads="1"/>
            </p:cNvSpPr>
            <p:nvPr/>
          </p:nvSpPr>
          <p:spPr bwMode="auto">
            <a:xfrm>
              <a:off x="8531753" y="-3442"/>
              <a:ext cx="609272" cy="566063"/>
            </a:xfrm>
            <a:prstGeom prst="rect">
              <a:avLst/>
            </a:prstGeom>
            <a:solidFill>
              <a:srgbClr val="F5B1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6" name="Rectangle 19"/>
            <p:cNvSpPr>
              <a:spLocks noChangeArrowheads="1"/>
            </p:cNvSpPr>
            <p:nvPr/>
          </p:nvSpPr>
          <p:spPr bwMode="auto">
            <a:xfrm>
              <a:off x="8532440" y="2259429"/>
              <a:ext cx="609272" cy="566063"/>
            </a:xfrm>
            <a:prstGeom prst="rect">
              <a:avLst/>
            </a:prstGeom>
            <a:solidFill>
              <a:srgbClr val="40A7E1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8" name="Rectangle 21"/>
            <p:cNvSpPr>
              <a:spLocks noChangeArrowheads="1"/>
            </p:cNvSpPr>
            <p:nvPr/>
          </p:nvSpPr>
          <p:spPr bwMode="auto">
            <a:xfrm>
              <a:off x="8532440" y="4523679"/>
              <a:ext cx="609272" cy="566063"/>
            </a:xfrm>
            <a:prstGeom prst="rect">
              <a:avLst/>
            </a:prstGeom>
            <a:solidFill>
              <a:srgbClr val="F5B144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9" name="Rectangle 22"/>
            <p:cNvSpPr>
              <a:spLocks noChangeArrowheads="1"/>
            </p:cNvSpPr>
            <p:nvPr/>
          </p:nvSpPr>
          <p:spPr bwMode="auto">
            <a:xfrm>
              <a:off x="8531753" y="1127076"/>
              <a:ext cx="609272" cy="566063"/>
            </a:xfrm>
            <a:prstGeom prst="rect">
              <a:avLst/>
            </a:prstGeom>
            <a:solidFill>
              <a:srgbClr val="43D1A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2" name="Rectangle 25"/>
            <p:cNvSpPr>
              <a:spLocks noChangeArrowheads="1"/>
            </p:cNvSpPr>
            <p:nvPr/>
          </p:nvSpPr>
          <p:spPr bwMode="auto">
            <a:xfrm>
              <a:off x="8532440" y="2825491"/>
              <a:ext cx="609272" cy="566063"/>
            </a:xfrm>
            <a:prstGeom prst="rect">
              <a:avLst/>
            </a:prstGeom>
            <a:solidFill>
              <a:srgbClr val="4383D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6" name="Rectangle 29"/>
            <p:cNvSpPr>
              <a:spLocks noChangeArrowheads="1"/>
            </p:cNvSpPr>
            <p:nvPr/>
          </p:nvSpPr>
          <p:spPr bwMode="auto">
            <a:xfrm>
              <a:off x="8531753" y="561014"/>
              <a:ext cx="609272" cy="566063"/>
            </a:xfrm>
            <a:prstGeom prst="rect">
              <a:avLst/>
            </a:prstGeom>
            <a:solidFill>
              <a:srgbClr val="9ED4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9" name="Freeform 32"/>
            <p:cNvSpPr>
              <a:spLocks noEditPoints="1"/>
            </p:cNvSpPr>
            <p:nvPr/>
          </p:nvSpPr>
          <p:spPr bwMode="auto">
            <a:xfrm>
              <a:off x="8700607" y="1885691"/>
              <a:ext cx="271564" cy="203921"/>
            </a:xfrm>
            <a:custGeom>
              <a:avLst/>
              <a:gdLst>
                <a:gd name="T0" fmla="*/ 787 w 859"/>
                <a:gd name="T1" fmla="*/ 107 h 644"/>
                <a:gd name="T2" fmla="*/ 787 w 859"/>
                <a:gd name="T3" fmla="*/ 573 h 644"/>
                <a:gd name="T4" fmla="*/ 537 w 859"/>
                <a:gd name="T5" fmla="*/ 573 h 644"/>
                <a:gd name="T6" fmla="*/ 465 w 859"/>
                <a:gd name="T7" fmla="*/ 644 h 644"/>
                <a:gd name="T8" fmla="*/ 859 w 859"/>
                <a:gd name="T9" fmla="*/ 644 h 644"/>
                <a:gd name="T10" fmla="*/ 859 w 859"/>
                <a:gd name="T11" fmla="*/ 107 h 644"/>
                <a:gd name="T12" fmla="*/ 787 w 859"/>
                <a:gd name="T13" fmla="*/ 107 h 644"/>
                <a:gd name="T14" fmla="*/ 476 w 859"/>
                <a:gd name="T15" fmla="*/ 476 h 644"/>
                <a:gd name="T16" fmla="*/ 383 w 859"/>
                <a:gd name="T17" fmla="*/ 476 h 644"/>
                <a:gd name="T18" fmla="*/ 373 w 859"/>
                <a:gd name="T19" fmla="*/ 465 h 644"/>
                <a:gd name="T20" fmla="*/ 179 w 859"/>
                <a:gd name="T21" fmla="*/ 465 h 644"/>
                <a:gd name="T22" fmla="*/ 179 w 859"/>
                <a:gd name="T23" fmla="*/ 71 h 644"/>
                <a:gd name="T24" fmla="*/ 344 w 859"/>
                <a:gd name="T25" fmla="*/ 71 h 644"/>
                <a:gd name="T26" fmla="*/ 393 w 859"/>
                <a:gd name="T27" fmla="*/ 96 h 644"/>
                <a:gd name="T28" fmla="*/ 393 w 859"/>
                <a:gd name="T29" fmla="*/ 358 h 644"/>
                <a:gd name="T30" fmla="*/ 465 w 859"/>
                <a:gd name="T31" fmla="*/ 358 h 644"/>
                <a:gd name="T32" fmla="*/ 465 w 859"/>
                <a:gd name="T33" fmla="*/ 96 h 644"/>
                <a:gd name="T34" fmla="*/ 515 w 859"/>
                <a:gd name="T35" fmla="*/ 71 h 644"/>
                <a:gd name="T36" fmla="*/ 680 w 859"/>
                <a:gd name="T37" fmla="*/ 71 h 644"/>
                <a:gd name="T38" fmla="*/ 680 w 859"/>
                <a:gd name="T39" fmla="*/ 465 h 644"/>
                <a:gd name="T40" fmla="*/ 486 w 859"/>
                <a:gd name="T41" fmla="*/ 465 h 644"/>
                <a:gd name="T42" fmla="*/ 476 w 859"/>
                <a:gd name="T43" fmla="*/ 476 h 644"/>
                <a:gd name="T44" fmla="*/ 752 w 859"/>
                <a:gd name="T45" fmla="*/ 537 h 644"/>
                <a:gd name="T46" fmla="*/ 752 w 859"/>
                <a:gd name="T47" fmla="*/ 0 h 644"/>
                <a:gd name="T48" fmla="*/ 486 w 859"/>
                <a:gd name="T49" fmla="*/ 0 h 644"/>
                <a:gd name="T50" fmla="*/ 476 w 859"/>
                <a:gd name="T51" fmla="*/ 10 h 644"/>
                <a:gd name="T52" fmla="*/ 383 w 859"/>
                <a:gd name="T53" fmla="*/ 10 h 644"/>
                <a:gd name="T54" fmla="*/ 373 w 859"/>
                <a:gd name="T55" fmla="*/ 0 h 644"/>
                <a:gd name="T56" fmla="*/ 107 w 859"/>
                <a:gd name="T57" fmla="*/ 0 h 644"/>
                <a:gd name="T58" fmla="*/ 107 w 859"/>
                <a:gd name="T59" fmla="*/ 537 h 644"/>
                <a:gd name="T60" fmla="*/ 344 w 859"/>
                <a:gd name="T61" fmla="*/ 537 h 644"/>
                <a:gd name="T62" fmla="*/ 429 w 859"/>
                <a:gd name="T63" fmla="*/ 566 h 644"/>
                <a:gd name="T64" fmla="*/ 515 w 859"/>
                <a:gd name="T65" fmla="*/ 537 h 644"/>
                <a:gd name="T66" fmla="*/ 752 w 859"/>
                <a:gd name="T67" fmla="*/ 537 h 644"/>
                <a:gd name="T68" fmla="*/ 71 w 859"/>
                <a:gd name="T69" fmla="*/ 573 h 644"/>
                <a:gd name="T70" fmla="*/ 71 w 859"/>
                <a:gd name="T71" fmla="*/ 107 h 644"/>
                <a:gd name="T72" fmla="*/ 0 w 859"/>
                <a:gd name="T73" fmla="*/ 107 h 644"/>
                <a:gd name="T74" fmla="*/ 0 w 859"/>
                <a:gd name="T75" fmla="*/ 644 h 644"/>
                <a:gd name="T76" fmla="*/ 394 w 859"/>
                <a:gd name="T77" fmla="*/ 644 h 644"/>
                <a:gd name="T78" fmla="*/ 322 w 859"/>
                <a:gd name="T79" fmla="*/ 573 h 644"/>
                <a:gd name="T80" fmla="*/ 71 w 859"/>
                <a:gd name="T81" fmla="*/ 573 h 6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859" h="644">
                  <a:moveTo>
                    <a:pt x="787" y="107"/>
                  </a:moveTo>
                  <a:lnTo>
                    <a:pt x="787" y="573"/>
                  </a:lnTo>
                  <a:lnTo>
                    <a:pt x="537" y="573"/>
                  </a:lnTo>
                  <a:lnTo>
                    <a:pt x="465" y="644"/>
                  </a:lnTo>
                  <a:lnTo>
                    <a:pt x="859" y="644"/>
                  </a:lnTo>
                  <a:lnTo>
                    <a:pt x="859" y="107"/>
                  </a:lnTo>
                  <a:lnTo>
                    <a:pt x="787" y="107"/>
                  </a:lnTo>
                  <a:close/>
                  <a:moveTo>
                    <a:pt x="476" y="476"/>
                  </a:moveTo>
                  <a:cubicBezTo>
                    <a:pt x="450" y="501"/>
                    <a:pt x="409" y="501"/>
                    <a:pt x="383" y="476"/>
                  </a:cubicBezTo>
                  <a:lnTo>
                    <a:pt x="373" y="465"/>
                  </a:lnTo>
                  <a:lnTo>
                    <a:pt x="179" y="465"/>
                  </a:lnTo>
                  <a:lnTo>
                    <a:pt x="179" y="71"/>
                  </a:lnTo>
                  <a:lnTo>
                    <a:pt x="344" y="71"/>
                  </a:lnTo>
                  <a:cubicBezTo>
                    <a:pt x="359" y="71"/>
                    <a:pt x="393" y="91"/>
                    <a:pt x="393" y="96"/>
                  </a:cubicBezTo>
                  <a:lnTo>
                    <a:pt x="393" y="358"/>
                  </a:lnTo>
                  <a:lnTo>
                    <a:pt x="465" y="358"/>
                  </a:lnTo>
                  <a:lnTo>
                    <a:pt x="465" y="96"/>
                  </a:lnTo>
                  <a:cubicBezTo>
                    <a:pt x="465" y="91"/>
                    <a:pt x="500" y="71"/>
                    <a:pt x="515" y="71"/>
                  </a:cubicBezTo>
                  <a:lnTo>
                    <a:pt x="680" y="71"/>
                  </a:lnTo>
                  <a:lnTo>
                    <a:pt x="680" y="465"/>
                  </a:lnTo>
                  <a:lnTo>
                    <a:pt x="486" y="465"/>
                  </a:lnTo>
                  <a:lnTo>
                    <a:pt x="476" y="476"/>
                  </a:lnTo>
                  <a:close/>
                  <a:moveTo>
                    <a:pt x="752" y="537"/>
                  </a:moveTo>
                  <a:lnTo>
                    <a:pt x="752" y="0"/>
                  </a:lnTo>
                  <a:lnTo>
                    <a:pt x="486" y="0"/>
                  </a:lnTo>
                  <a:lnTo>
                    <a:pt x="476" y="10"/>
                  </a:lnTo>
                  <a:cubicBezTo>
                    <a:pt x="450" y="36"/>
                    <a:pt x="409" y="36"/>
                    <a:pt x="383" y="10"/>
                  </a:cubicBezTo>
                  <a:lnTo>
                    <a:pt x="373" y="0"/>
                  </a:lnTo>
                  <a:lnTo>
                    <a:pt x="107" y="0"/>
                  </a:lnTo>
                  <a:lnTo>
                    <a:pt x="107" y="537"/>
                  </a:lnTo>
                  <a:lnTo>
                    <a:pt x="344" y="537"/>
                  </a:lnTo>
                  <a:cubicBezTo>
                    <a:pt x="369" y="573"/>
                    <a:pt x="399" y="566"/>
                    <a:pt x="429" y="566"/>
                  </a:cubicBezTo>
                  <a:cubicBezTo>
                    <a:pt x="460" y="566"/>
                    <a:pt x="490" y="573"/>
                    <a:pt x="515" y="537"/>
                  </a:cubicBezTo>
                  <a:lnTo>
                    <a:pt x="752" y="537"/>
                  </a:lnTo>
                  <a:close/>
                  <a:moveTo>
                    <a:pt x="71" y="573"/>
                  </a:moveTo>
                  <a:lnTo>
                    <a:pt x="71" y="107"/>
                  </a:lnTo>
                  <a:lnTo>
                    <a:pt x="0" y="107"/>
                  </a:lnTo>
                  <a:lnTo>
                    <a:pt x="0" y="644"/>
                  </a:lnTo>
                  <a:lnTo>
                    <a:pt x="394" y="644"/>
                  </a:lnTo>
                  <a:lnTo>
                    <a:pt x="322" y="573"/>
                  </a:lnTo>
                  <a:lnTo>
                    <a:pt x="71" y="57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7" name="Freeform 40"/>
            <p:cNvSpPr>
              <a:spLocks noEditPoints="1"/>
            </p:cNvSpPr>
            <p:nvPr/>
          </p:nvSpPr>
          <p:spPr bwMode="auto">
            <a:xfrm>
              <a:off x="8701296" y="1308377"/>
              <a:ext cx="270186" cy="225965"/>
            </a:xfrm>
            <a:custGeom>
              <a:avLst/>
              <a:gdLst>
                <a:gd name="T0" fmla="*/ 716 w 859"/>
                <a:gd name="T1" fmla="*/ 0 h 716"/>
                <a:gd name="T2" fmla="*/ 143 w 859"/>
                <a:gd name="T3" fmla="*/ 0 h 716"/>
                <a:gd name="T4" fmla="*/ 0 w 859"/>
                <a:gd name="T5" fmla="*/ 143 h 716"/>
                <a:gd name="T6" fmla="*/ 143 w 859"/>
                <a:gd name="T7" fmla="*/ 286 h 716"/>
                <a:gd name="T8" fmla="*/ 286 w 859"/>
                <a:gd name="T9" fmla="*/ 143 h 716"/>
                <a:gd name="T10" fmla="*/ 215 w 859"/>
                <a:gd name="T11" fmla="*/ 143 h 716"/>
                <a:gd name="T12" fmla="*/ 143 w 859"/>
                <a:gd name="T13" fmla="*/ 215 h 716"/>
                <a:gd name="T14" fmla="*/ 72 w 859"/>
                <a:gd name="T15" fmla="*/ 143 h 716"/>
                <a:gd name="T16" fmla="*/ 143 w 859"/>
                <a:gd name="T17" fmla="*/ 72 h 716"/>
                <a:gd name="T18" fmla="*/ 716 w 859"/>
                <a:gd name="T19" fmla="*/ 72 h 716"/>
                <a:gd name="T20" fmla="*/ 788 w 859"/>
                <a:gd name="T21" fmla="*/ 143 h 716"/>
                <a:gd name="T22" fmla="*/ 716 w 859"/>
                <a:gd name="T23" fmla="*/ 215 h 716"/>
                <a:gd name="T24" fmla="*/ 645 w 859"/>
                <a:gd name="T25" fmla="*/ 143 h 716"/>
                <a:gd name="T26" fmla="*/ 573 w 859"/>
                <a:gd name="T27" fmla="*/ 143 h 716"/>
                <a:gd name="T28" fmla="*/ 716 w 859"/>
                <a:gd name="T29" fmla="*/ 286 h 716"/>
                <a:gd name="T30" fmla="*/ 859 w 859"/>
                <a:gd name="T31" fmla="*/ 143 h 716"/>
                <a:gd name="T32" fmla="*/ 716 w 859"/>
                <a:gd name="T33" fmla="*/ 0 h 716"/>
                <a:gd name="T34" fmla="*/ 394 w 859"/>
                <a:gd name="T35" fmla="*/ 143 h 716"/>
                <a:gd name="T36" fmla="*/ 394 w 859"/>
                <a:gd name="T37" fmla="*/ 573 h 716"/>
                <a:gd name="T38" fmla="*/ 465 w 859"/>
                <a:gd name="T39" fmla="*/ 573 h 716"/>
                <a:gd name="T40" fmla="*/ 465 w 859"/>
                <a:gd name="T41" fmla="*/ 143 h 716"/>
                <a:gd name="T42" fmla="*/ 394 w 859"/>
                <a:gd name="T43" fmla="*/ 143 h 716"/>
                <a:gd name="T44" fmla="*/ 537 w 859"/>
                <a:gd name="T45" fmla="*/ 262 h 716"/>
                <a:gd name="T46" fmla="*/ 537 w 859"/>
                <a:gd name="T47" fmla="*/ 573 h 716"/>
                <a:gd name="T48" fmla="*/ 609 w 859"/>
                <a:gd name="T49" fmla="*/ 573 h 716"/>
                <a:gd name="T50" fmla="*/ 609 w 859"/>
                <a:gd name="T51" fmla="*/ 329 h 716"/>
                <a:gd name="T52" fmla="*/ 537 w 859"/>
                <a:gd name="T53" fmla="*/ 262 h 716"/>
                <a:gd name="T54" fmla="*/ 250 w 859"/>
                <a:gd name="T55" fmla="*/ 329 h 716"/>
                <a:gd name="T56" fmla="*/ 250 w 859"/>
                <a:gd name="T57" fmla="*/ 573 h 716"/>
                <a:gd name="T58" fmla="*/ 322 w 859"/>
                <a:gd name="T59" fmla="*/ 573 h 716"/>
                <a:gd name="T60" fmla="*/ 322 w 859"/>
                <a:gd name="T61" fmla="*/ 262 h 716"/>
                <a:gd name="T62" fmla="*/ 250 w 859"/>
                <a:gd name="T63" fmla="*/ 329 h 716"/>
                <a:gd name="T64" fmla="*/ 143 w 859"/>
                <a:gd name="T65" fmla="*/ 716 h 716"/>
                <a:gd name="T66" fmla="*/ 716 w 859"/>
                <a:gd name="T67" fmla="*/ 716 h 716"/>
                <a:gd name="T68" fmla="*/ 716 w 859"/>
                <a:gd name="T69" fmla="*/ 645 h 716"/>
                <a:gd name="T70" fmla="*/ 143 w 859"/>
                <a:gd name="T71" fmla="*/ 645 h 716"/>
                <a:gd name="T72" fmla="*/ 143 w 859"/>
                <a:gd name="T73" fmla="*/ 716 h 7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859" h="716">
                  <a:moveTo>
                    <a:pt x="716" y="0"/>
                  </a:moveTo>
                  <a:lnTo>
                    <a:pt x="143" y="0"/>
                  </a:lnTo>
                  <a:cubicBezTo>
                    <a:pt x="64" y="0"/>
                    <a:pt x="0" y="64"/>
                    <a:pt x="0" y="143"/>
                  </a:cubicBezTo>
                  <a:cubicBezTo>
                    <a:pt x="0" y="222"/>
                    <a:pt x="64" y="286"/>
                    <a:pt x="143" y="286"/>
                  </a:cubicBezTo>
                  <a:cubicBezTo>
                    <a:pt x="222" y="286"/>
                    <a:pt x="286" y="215"/>
                    <a:pt x="286" y="143"/>
                  </a:cubicBezTo>
                  <a:lnTo>
                    <a:pt x="215" y="143"/>
                  </a:lnTo>
                  <a:cubicBezTo>
                    <a:pt x="215" y="179"/>
                    <a:pt x="183" y="215"/>
                    <a:pt x="143" y="215"/>
                  </a:cubicBezTo>
                  <a:cubicBezTo>
                    <a:pt x="104" y="215"/>
                    <a:pt x="72" y="183"/>
                    <a:pt x="72" y="143"/>
                  </a:cubicBezTo>
                  <a:cubicBezTo>
                    <a:pt x="72" y="104"/>
                    <a:pt x="104" y="72"/>
                    <a:pt x="143" y="72"/>
                  </a:cubicBezTo>
                  <a:lnTo>
                    <a:pt x="716" y="72"/>
                  </a:lnTo>
                  <a:cubicBezTo>
                    <a:pt x="756" y="72"/>
                    <a:pt x="788" y="104"/>
                    <a:pt x="788" y="143"/>
                  </a:cubicBezTo>
                  <a:cubicBezTo>
                    <a:pt x="788" y="183"/>
                    <a:pt x="756" y="215"/>
                    <a:pt x="716" y="215"/>
                  </a:cubicBezTo>
                  <a:cubicBezTo>
                    <a:pt x="677" y="215"/>
                    <a:pt x="645" y="179"/>
                    <a:pt x="645" y="143"/>
                  </a:cubicBezTo>
                  <a:lnTo>
                    <a:pt x="573" y="143"/>
                  </a:lnTo>
                  <a:cubicBezTo>
                    <a:pt x="573" y="215"/>
                    <a:pt x="637" y="286"/>
                    <a:pt x="716" y="286"/>
                  </a:cubicBezTo>
                  <a:cubicBezTo>
                    <a:pt x="795" y="286"/>
                    <a:pt x="859" y="222"/>
                    <a:pt x="859" y="143"/>
                  </a:cubicBezTo>
                  <a:cubicBezTo>
                    <a:pt x="859" y="64"/>
                    <a:pt x="795" y="0"/>
                    <a:pt x="716" y="0"/>
                  </a:cubicBezTo>
                  <a:close/>
                  <a:moveTo>
                    <a:pt x="394" y="143"/>
                  </a:moveTo>
                  <a:lnTo>
                    <a:pt x="394" y="573"/>
                  </a:lnTo>
                  <a:lnTo>
                    <a:pt x="465" y="573"/>
                  </a:lnTo>
                  <a:lnTo>
                    <a:pt x="465" y="143"/>
                  </a:lnTo>
                  <a:lnTo>
                    <a:pt x="394" y="143"/>
                  </a:lnTo>
                  <a:close/>
                  <a:moveTo>
                    <a:pt x="537" y="262"/>
                  </a:moveTo>
                  <a:lnTo>
                    <a:pt x="537" y="573"/>
                  </a:lnTo>
                  <a:lnTo>
                    <a:pt x="609" y="573"/>
                  </a:lnTo>
                  <a:lnTo>
                    <a:pt x="609" y="329"/>
                  </a:lnTo>
                  <a:cubicBezTo>
                    <a:pt x="573" y="312"/>
                    <a:pt x="573" y="289"/>
                    <a:pt x="537" y="262"/>
                  </a:cubicBezTo>
                  <a:close/>
                  <a:moveTo>
                    <a:pt x="250" y="329"/>
                  </a:moveTo>
                  <a:lnTo>
                    <a:pt x="250" y="573"/>
                  </a:lnTo>
                  <a:lnTo>
                    <a:pt x="322" y="573"/>
                  </a:lnTo>
                  <a:lnTo>
                    <a:pt x="322" y="262"/>
                  </a:lnTo>
                  <a:cubicBezTo>
                    <a:pt x="286" y="289"/>
                    <a:pt x="286" y="312"/>
                    <a:pt x="250" y="329"/>
                  </a:cubicBezTo>
                  <a:close/>
                  <a:moveTo>
                    <a:pt x="143" y="716"/>
                  </a:moveTo>
                  <a:lnTo>
                    <a:pt x="716" y="716"/>
                  </a:lnTo>
                  <a:lnTo>
                    <a:pt x="716" y="645"/>
                  </a:lnTo>
                  <a:lnTo>
                    <a:pt x="143" y="645"/>
                  </a:lnTo>
                  <a:lnTo>
                    <a:pt x="143" y="71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8" name="Freeform 41"/>
            <p:cNvSpPr>
              <a:spLocks/>
            </p:cNvSpPr>
            <p:nvPr/>
          </p:nvSpPr>
          <p:spPr bwMode="auto">
            <a:xfrm>
              <a:off x="8700607" y="3567344"/>
              <a:ext cx="271564" cy="236988"/>
            </a:xfrm>
            <a:custGeom>
              <a:avLst/>
              <a:gdLst>
                <a:gd name="T0" fmla="*/ 860 w 860"/>
                <a:gd name="T1" fmla="*/ 251 h 752"/>
                <a:gd name="T2" fmla="*/ 430 w 860"/>
                <a:gd name="T3" fmla="*/ 0 h 752"/>
                <a:gd name="T4" fmla="*/ 0 w 860"/>
                <a:gd name="T5" fmla="*/ 251 h 752"/>
                <a:gd name="T6" fmla="*/ 144 w 860"/>
                <a:gd name="T7" fmla="*/ 334 h 752"/>
                <a:gd name="T8" fmla="*/ 144 w 860"/>
                <a:gd name="T9" fmla="*/ 475 h 752"/>
                <a:gd name="T10" fmla="*/ 149 w 860"/>
                <a:gd name="T11" fmla="*/ 484 h 752"/>
                <a:gd name="T12" fmla="*/ 430 w 860"/>
                <a:gd name="T13" fmla="*/ 644 h 752"/>
                <a:gd name="T14" fmla="*/ 573 w 860"/>
                <a:gd name="T15" fmla="*/ 610 h 752"/>
                <a:gd name="T16" fmla="*/ 573 w 860"/>
                <a:gd name="T17" fmla="*/ 528 h 752"/>
                <a:gd name="T18" fmla="*/ 430 w 860"/>
                <a:gd name="T19" fmla="*/ 573 h 752"/>
                <a:gd name="T20" fmla="*/ 215 w 860"/>
                <a:gd name="T21" fmla="*/ 455 h 752"/>
                <a:gd name="T22" fmla="*/ 215 w 860"/>
                <a:gd name="T23" fmla="*/ 376 h 752"/>
                <a:gd name="T24" fmla="*/ 430 w 860"/>
                <a:gd name="T25" fmla="*/ 501 h 752"/>
                <a:gd name="T26" fmla="*/ 553 w 860"/>
                <a:gd name="T27" fmla="*/ 430 h 752"/>
                <a:gd name="T28" fmla="*/ 483 w 860"/>
                <a:gd name="T29" fmla="*/ 388 h 752"/>
                <a:gd name="T30" fmla="*/ 430 w 860"/>
                <a:gd name="T31" fmla="*/ 418 h 752"/>
                <a:gd name="T32" fmla="*/ 142 w 860"/>
                <a:gd name="T33" fmla="*/ 251 h 752"/>
                <a:gd name="T34" fmla="*/ 430 w 860"/>
                <a:gd name="T35" fmla="*/ 83 h 752"/>
                <a:gd name="T36" fmla="*/ 718 w 860"/>
                <a:gd name="T37" fmla="*/ 251 h 752"/>
                <a:gd name="T38" fmla="*/ 624 w 860"/>
                <a:gd name="T39" fmla="*/ 305 h 752"/>
                <a:gd name="T40" fmla="*/ 454 w 860"/>
                <a:gd name="T41" fmla="*/ 204 h 752"/>
                <a:gd name="T42" fmla="*/ 391 w 860"/>
                <a:gd name="T43" fmla="*/ 247 h 752"/>
                <a:gd name="T44" fmla="*/ 390 w 860"/>
                <a:gd name="T45" fmla="*/ 249 h 752"/>
                <a:gd name="T46" fmla="*/ 645 w 860"/>
                <a:gd name="T47" fmla="*/ 401 h 752"/>
                <a:gd name="T48" fmla="*/ 645 w 860"/>
                <a:gd name="T49" fmla="*/ 752 h 752"/>
                <a:gd name="T50" fmla="*/ 717 w 860"/>
                <a:gd name="T51" fmla="*/ 752 h 752"/>
                <a:gd name="T52" fmla="*/ 717 w 860"/>
                <a:gd name="T53" fmla="*/ 360 h 752"/>
                <a:gd name="T54" fmla="*/ 694 w 860"/>
                <a:gd name="T55" fmla="*/ 347 h 752"/>
                <a:gd name="T56" fmla="*/ 860 w 860"/>
                <a:gd name="T57" fmla="*/ 251 h 7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860" h="752">
                  <a:moveTo>
                    <a:pt x="860" y="251"/>
                  </a:moveTo>
                  <a:lnTo>
                    <a:pt x="430" y="0"/>
                  </a:lnTo>
                  <a:lnTo>
                    <a:pt x="0" y="251"/>
                  </a:lnTo>
                  <a:lnTo>
                    <a:pt x="144" y="334"/>
                  </a:lnTo>
                  <a:lnTo>
                    <a:pt x="144" y="475"/>
                  </a:lnTo>
                  <a:lnTo>
                    <a:pt x="149" y="484"/>
                  </a:lnTo>
                  <a:cubicBezTo>
                    <a:pt x="207" y="583"/>
                    <a:pt x="315" y="644"/>
                    <a:pt x="430" y="644"/>
                  </a:cubicBezTo>
                  <a:cubicBezTo>
                    <a:pt x="480" y="644"/>
                    <a:pt x="529" y="632"/>
                    <a:pt x="573" y="610"/>
                  </a:cubicBezTo>
                  <a:lnTo>
                    <a:pt x="573" y="528"/>
                  </a:lnTo>
                  <a:cubicBezTo>
                    <a:pt x="532" y="556"/>
                    <a:pt x="482" y="573"/>
                    <a:pt x="430" y="573"/>
                  </a:cubicBezTo>
                  <a:cubicBezTo>
                    <a:pt x="343" y="573"/>
                    <a:pt x="262" y="528"/>
                    <a:pt x="215" y="455"/>
                  </a:cubicBezTo>
                  <a:lnTo>
                    <a:pt x="215" y="376"/>
                  </a:lnTo>
                  <a:lnTo>
                    <a:pt x="430" y="501"/>
                  </a:lnTo>
                  <a:lnTo>
                    <a:pt x="553" y="430"/>
                  </a:lnTo>
                  <a:lnTo>
                    <a:pt x="483" y="388"/>
                  </a:lnTo>
                  <a:lnTo>
                    <a:pt x="430" y="418"/>
                  </a:lnTo>
                  <a:lnTo>
                    <a:pt x="142" y="251"/>
                  </a:lnTo>
                  <a:lnTo>
                    <a:pt x="430" y="83"/>
                  </a:lnTo>
                  <a:lnTo>
                    <a:pt x="718" y="251"/>
                  </a:lnTo>
                  <a:lnTo>
                    <a:pt x="624" y="305"/>
                  </a:lnTo>
                  <a:lnTo>
                    <a:pt x="454" y="204"/>
                  </a:lnTo>
                  <a:lnTo>
                    <a:pt x="391" y="247"/>
                  </a:lnTo>
                  <a:lnTo>
                    <a:pt x="390" y="249"/>
                  </a:lnTo>
                  <a:lnTo>
                    <a:pt x="645" y="401"/>
                  </a:lnTo>
                  <a:lnTo>
                    <a:pt x="645" y="752"/>
                  </a:lnTo>
                  <a:lnTo>
                    <a:pt x="717" y="752"/>
                  </a:lnTo>
                  <a:lnTo>
                    <a:pt x="717" y="360"/>
                  </a:lnTo>
                  <a:lnTo>
                    <a:pt x="694" y="347"/>
                  </a:lnTo>
                  <a:lnTo>
                    <a:pt x="860" y="25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grpSp>
          <p:nvGrpSpPr>
            <p:cNvPr id="69" name="Группа 68"/>
            <p:cNvGrpSpPr/>
            <p:nvPr/>
          </p:nvGrpSpPr>
          <p:grpSpPr>
            <a:xfrm>
              <a:off x="8710946" y="150720"/>
              <a:ext cx="250887" cy="271436"/>
              <a:chOff x="477468" y="2705515"/>
              <a:chExt cx="409903" cy="443477"/>
            </a:xfrm>
          </p:grpSpPr>
          <p:sp>
            <p:nvSpPr>
              <p:cNvPr id="70" name="Freeform 42"/>
              <p:cNvSpPr>
                <a:spLocks noEditPoints="1"/>
              </p:cNvSpPr>
              <p:nvPr/>
            </p:nvSpPr>
            <p:spPr bwMode="auto">
              <a:xfrm>
                <a:off x="477468" y="2705515"/>
                <a:ext cx="409903" cy="387195"/>
              </a:xfrm>
              <a:custGeom>
                <a:avLst/>
                <a:gdLst>
                  <a:gd name="T0" fmla="*/ 218 w 793"/>
                  <a:gd name="T1" fmla="*/ 575 h 751"/>
                  <a:gd name="T2" fmla="*/ 194 w 793"/>
                  <a:gd name="T3" fmla="*/ 95 h 751"/>
                  <a:gd name="T4" fmla="*/ 219 w 793"/>
                  <a:gd name="T5" fmla="*/ 121 h 751"/>
                  <a:gd name="T6" fmla="*/ 149 w 793"/>
                  <a:gd name="T7" fmla="*/ 322 h 751"/>
                  <a:gd name="T8" fmla="*/ 471 w 793"/>
                  <a:gd name="T9" fmla="*/ 644 h 751"/>
                  <a:gd name="T10" fmla="*/ 672 w 793"/>
                  <a:gd name="T11" fmla="*/ 574 h 751"/>
                  <a:gd name="T12" fmla="*/ 698 w 793"/>
                  <a:gd name="T13" fmla="*/ 599 h 751"/>
                  <a:gd name="T14" fmla="*/ 218 w 793"/>
                  <a:gd name="T15" fmla="*/ 575 h 751"/>
                  <a:gd name="T16" fmla="*/ 471 w 793"/>
                  <a:gd name="T17" fmla="*/ 71 h 751"/>
                  <a:gd name="T18" fmla="*/ 722 w 793"/>
                  <a:gd name="T19" fmla="*/ 322 h 751"/>
                  <a:gd name="T20" fmla="*/ 471 w 793"/>
                  <a:gd name="T21" fmla="*/ 573 h 751"/>
                  <a:gd name="T22" fmla="*/ 220 w 793"/>
                  <a:gd name="T23" fmla="*/ 322 h 751"/>
                  <a:gd name="T24" fmla="*/ 471 w 793"/>
                  <a:gd name="T25" fmla="*/ 71 h 751"/>
                  <a:gd name="T26" fmla="*/ 723 w 793"/>
                  <a:gd name="T27" fmla="*/ 523 h 751"/>
                  <a:gd name="T28" fmla="*/ 793 w 793"/>
                  <a:gd name="T29" fmla="*/ 322 h 751"/>
                  <a:gd name="T30" fmla="*/ 471 w 793"/>
                  <a:gd name="T31" fmla="*/ 0 h 751"/>
                  <a:gd name="T32" fmla="*/ 270 w 793"/>
                  <a:gd name="T33" fmla="*/ 71 h 751"/>
                  <a:gd name="T34" fmla="*/ 218 w 793"/>
                  <a:gd name="T35" fmla="*/ 18 h 751"/>
                  <a:gd name="T36" fmla="*/ 192 w 793"/>
                  <a:gd name="T37" fmla="*/ 8 h 751"/>
                  <a:gd name="T38" fmla="*/ 192 w 793"/>
                  <a:gd name="T39" fmla="*/ 8 h 751"/>
                  <a:gd name="T40" fmla="*/ 167 w 793"/>
                  <a:gd name="T41" fmla="*/ 18 h 751"/>
                  <a:gd name="T42" fmla="*/ 167 w 793"/>
                  <a:gd name="T43" fmla="*/ 626 h 751"/>
                  <a:gd name="T44" fmla="*/ 471 w 793"/>
                  <a:gd name="T45" fmla="*/ 751 h 751"/>
                  <a:gd name="T46" fmla="*/ 775 w 793"/>
                  <a:gd name="T47" fmla="*/ 626 h 751"/>
                  <a:gd name="T48" fmla="*/ 785 w 793"/>
                  <a:gd name="T49" fmla="*/ 601 h 751"/>
                  <a:gd name="T50" fmla="*/ 775 w 793"/>
                  <a:gd name="T51" fmla="*/ 575 h 751"/>
                  <a:gd name="T52" fmla="*/ 723 w 793"/>
                  <a:gd name="T53" fmla="*/ 523 h 7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793" h="751">
                    <a:moveTo>
                      <a:pt x="218" y="575"/>
                    </a:moveTo>
                    <a:cubicBezTo>
                      <a:pt x="87" y="444"/>
                      <a:pt x="79" y="236"/>
                      <a:pt x="194" y="95"/>
                    </a:cubicBezTo>
                    <a:lnTo>
                      <a:pt x="219" y="121"/>
                    </a:lnTo>
                    <a:cubicBezTo>
                      <a:pt x="175" y="176"/>
                      <a:pt x="149" y="246"/>
                      <a:pt x="149" y="322"/>
                    </a:cubicBezTo>
                    <a:cubicBezTo>
                      <a:pt x="149" y="500"/>
                      <a:pt x="293" y="644"/>
                      <a:pt x="471" y="644"/>
                    </a:cubicBezTo>
                    <a:cubicBezTo>
                      <a:pt x="547" y="644"/>
                      <a:pt x="617" y="618"/>
                      <a:pt x="672" y="574"/>
                    </a:cubicBezTo>
                    <a:lnTo>
                      <a:pt x="698" y="599"/>
                    </a:lnTo>
                    <a:cubicBezTo>
                      <a:pt x="557" y="714"/>
                      <a:pt x="349" y="706"/>
                      <a:pt x="218" y="575"/>
                    </a:cubicBezTo>
                    <a:close/>
                    <a:moveTo>
                      <a:pt x="471" y="71"/>
                    </a:moveTo>
                    <a:cubicBezTo>
                      <a:pt x="609" y="71"/>
                      <a:pt x="722" y="184"/>
                      <a:pt x="722" y="322"/>
                    </a:cubicBezTo>
                    <a:cubicBezTo>
                      <a:pt x="722" y="460"/>
                      <a:pt x="609" y="573"/>
                      <a:pt x="471" y="573"/>
                    </a:cubicBezTo>
                    <a:cubicBezTo>
                      <a:pt x="333" y="573"/>
                      <a:pt x="220" y="460"/>
                      <a:pt x="220" y="322"/>
                    </a:cubicBezTo>
                    <a:cubicBezTo>
                      <a:pt x="220" y="184"/>
                      <a:pt x="333" y="71"/>
                      <a:pt x="471" y="71"/>
                    </a:cubicBezTo>
                    <a:close/>
                    <a:moveTo>
                      <a:pt x="723" y="523"/>
                    </a:moveTo>
                    <a:cubicBezTo>
                      <a:pt x="767" y="468"/>
                      <a:pt x="793" y="398"/>
                      <a:pt x="793" y="322"/>
                    </a:cubicBezTo>
                    <a:cubicBezTo>
                      <a:pt x="793" y="144"/>
                      <a:pt x="649" y="0"/>
                      <a:pt x="471" y="0"/>
                    </a:cubicBezTo>
                    <a:cubicBezTo>
                      <a:pt x="395" y="0"/>
                      <a:pt x="325" y="26"/>
                      <a:pt x="270" y="71"/>
                    </a:cubicBezTo>
                    <a:lnTo>
                      <a:pt x="218" y="18"/>
                    </a:lnTo>
                    <a:cubicBezTo>
                      <a:pt x="211" y="11"/>
                      <a:pt x="202" y="8"/>
                      <a:pt x="192" y="8"/>
                    </a:cubicBezTo>
                    <a:cubicBezTo>
                      <a:pt x="192" y="8"/>
                      <a:pt x="192" y="8"/>
                      <a:pt x="192" y="8"/>
                    </a:cubicBezTo>
                    <a:cubicBezTo>
                      <a:pt x="183" y="8"/>
                      <a:pt x="174" y="11"/>
                      <a:pt x="167" y="18"/>
                    </a:cubicBezTo>
                    <a:cubicBezTo>
                      <a:pt x="0" y="186"/>
                      <a:pt x="0" y="458"/>
                      <a:pt x="167" y="626"/>
                    </a:cubicBezTo>
                    <a:cubicBezTo>
                      <a:pt x="251" y="710"/>
                      <a:pt x="361" y="751"/>
                      <a:pt x="471" y="751"/>
                    </a:cubicBezTo>
                    <a:cubicBezTo>
                      <a:pt x="581" y="751"/>
                      <a:pt x="691" y="710"/>
                      <a:pt x="775" y="626"/>
                    </a:cubicBezTo>
                    <a:cubicBezTo>
                      <a:pt x="782" y="619"/>
                      <a:pt x="785" y="610"/>
                      <a:pt x="785" y="601"/>
                    </a:cubicBezTo>
                    <a:cubicBezTo>
                      <a:pt x="785" y="591"/>
                      <a:pt x="782" y="582"/>
                      <a:pt x="775" y="575"/>
                    </a:cubicBezTo>
                    <a:lnTo>
                      <a:pt x="723" y="523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1" name="Rectangle 43"/>
              <p:cNvSpPr>
                <a:spLocks noChangeArrowheads="1"/>
              </p:cNvSpPr>
              <p:nvPr/>
            </p:nvSpPr>
            <p:spPr bwMode="auto">
              <a:xfrm>
                <a:off x="637377" y="3110722"/>
                <a:ext cx="148646" cy="38270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sp>
          <p:nvSpPr>
            <p:cNvPr id="72" name="Freeform 44"/>
            <p:cNvSpPr>
              <a:spLocks noEditPoints="1"/>
            </p:cNvSpPr>
            <p:nvPr/>
          </p:nvSpPr>
          <p:spPr bwMode="auto">
            <a:xfrm>
              <a:off x="8704742" y="4098042"/>
              <a:ext cx="263294" cy="285213"/>
            </a:xfrm>
            <a:custGeom>
              <a:avLst/>
              <a:gdLst>
                <a:gd name="T0" fmla="*/ 583 w 837"/>
                <a:gd name="T1" fmla="*/ 579 h 901"/>
                <a:gd name="T2" fmla="*/ 511 w 837"/>
                <a:gd name="T3" fmla="*/ 650 h 901"/>
                <a:gd name="T4" fmla="*/ 583 w 837"/>
                <a:gd name="T5" fmla="*/ 722 h 901"/>
                <a:gd name="T6" fmla="*/ 654 w 837"/>
                <a:gd name="T7" fmla="*/ 650 h 901"/>
                <a:gd name="T8" fmla="*/ 583 w 837"/>
                <a:gd name="T9" fmla="*/ 579 h 901"/>
                <a:gd name="T10" fmla="*/ 332 w 837"/>
                <a:gd name="T11" fmla="*/ 579 h 901"/>
                <a:gd name="T12" fmla="*/ 260 w 837"/>
                <a:gd name="T13" fmla="*/ 650 h 901"/>
                <a:gd name="T14" fmla="*/ 332 w 837"/>
                <a:gd name="T15" fmla="*/ 722 h 901"/>
                <a:gd name="T16" fmla="*/ 404 w 837"/>
                <a:gd name="T17" fmla="*/ 650 h 901"/>
                <a:gd name="T18" fmla="*/ 332 w 837"/>
                <a:gd name="T19" fmla="*/ 579 h 901"/>
                <a:gd name="T20" fmla="*/ 332 w 837"/>
                <a:gd name="T21" fmla="*/ 435 h 901"/>
                <a:gd name="T22" fmla="*/ 260 w 837"/>
                <a:gd name="T23" fmla="*/ 364 h 901"/>
                <a:gd name="T24" fmla="*/ 189 w 837"/>
                <a:gd name="T25" fmla="*/ 435 h 901"/>
                <a:gd name="T26" fmla="*/ 260 w 837"/>
                <a:gd name="T27" fmla="*/ 507 h 901"/>
                <a:gd name="T28" fmla="*/ 332 w 837"/>
                <a:gd name="T29" fmla="*/ 435 h 901"/>
                <a:gd name="T30" fmla="*/ 404 w 837"/>
                <a:gd name="T31" fmla="*/ 185 h 901"/>
                <a:gd name="T32" fmla="*/ 332 w 837"/>
                <a:gd name="T33" fmla="*/ 256 h 901"/>
                <a:gd name="T34" fmla="*/ 404 w 837"/>
                <a:gd name="T35" fmla="*/ 328 h 901"/>
                <a:gd name="T36" fmla="*/ 475 w 837"/>
                <a:gd name="T37" fmla="*/ 256 h 901"/>
                <a:gd name="T38" fmla="*/ 404 w 837"/>
                <a:gd name="T39" fmla="*/ 185 h 901"/>
                <a:gd name="T40" fmla="*/ 757 w 837"/>
                <a:gd name="T41" fmla="*/ 635 h 901"/>
                <a:gd name="T42" fmla="*/ 698 w 837"/>
                <a:gd name="T43" fmla="*/ 711 h 901"/>
                <a:gd name="T44" fmla="*/ 429 w 837"/>
                <a:gd name="T45" fmla="*/ 829 h 901"/>
                <a:gd name="T46" fmla="*/ 207 w 837"/>
                <a:gd name="T47" fmla="*/ 738 h 901"/>
                <a:gd name="T48" fmla="*/ 233 w 837"/>
                <a:gd name="T49" fmla="*/ 231 h 901"/>
                <a:gd name="T50" fmla="*/ 502 w 837"/>
                <a:gd name="T51" fmla="*/ 113 h 901"/>
                <a:gd name="T52" fmla="*/ 658 w 837"/>
                <a:gd name="T53" fmla="*/ 154 h 901"/>
                <a:gd name="T54" fmla="*/ 675 w 837"/>
                <a:gd name="T55" fmla="*/ 177 h 901"/>
                <a:gd name="T56" fmla="*/ 665 w 837"/>
                <a:gd name="T57" fmla="*/ 208 h 901"/>
                <a:gd name="T58" fmla="*/ 602 w 837"/>
                <a:gd name="T59" fmla="*/ 366 h 901"/>
                <a:gd name="T60" fmla="*/ 744 w 837"/>
                <a:gd name="T61" fmla="*/ 584 h 901"/>
                <a:gd name="T62" fmla="*/ 760 w 837"/>
                <a:gd name="T63" fmla="*/ 605 h 901"/>
                <a:gd name="T64" fmla="*/ 757 w 837"/>
                <a:gd name="T65" fmla="*/ 635 h 901"/>
                <a:gd name="T66" fmla="*/ 829 w 837"/>
                <a:gd name="T67" fmla="*/ 585 h 901"/>
                <a:gd name="T68" fmla="*/ 776 w 837"/>
                <a:gd name="T69" fmla="*/ 520 h 901"/>
                <a:gd name="T70" fmla="*/ 673 w 837"/>
                <a:gd name="T71" fmla="*/ 366 h 901"/>
                <a:gd name="T72" fmla="*/ 718 w 837"/>
                <a:gd name="T73" fmla="*/ 257 h 901"/>
                <a:gd name="T74" fmla="*/ 746 w 837"/>
                <a:gd name="T75" fmla="*/ 166 h 901"/>
                <a:gd name="T76" fmla="*/ 694 w 837"/>
                <a:gd name="T77" fmla="*/ 92 h 901"/>
                <a:gd name="T78" fmla="*/ 181 w 837"/>
                <a:gd name="T79" fmla="*/ 181 h 901"/>
                <a:gd name="T80" fmla="*/ 156 w 837"/>
                <a:gd name="T81" fmla="*/ 788 h 901"/>
                <a:gd name="T82" fmla="*/ 429 w 837"/>
                <a:gd name="T83" fmla="*/ 901 h 901"/>
                <a:gd name="T84" fmla="*/ 749 w 837"/>
                <a:gd name="T85" fmla="*/ 761 h 901"/>
                <a:gd name="T86" fmla="*/ 818 w 837"/>
                <a:gd name="T87" fmla="*/ 672 h 901"/>
                <a:gd name="T88" fmla="*/ 829 w 837"/>
                <a:gd name="T89" fmla="*/ 585 h 9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837" h="901">
                  <a:moveTo>
                    <a:pt x="583" y="579"/>
                  </a:moveTo>
                  <a:cubicBezTo>
                    <a:pt x="543" y="579"/>
                    <a:pt x="511" y="611"/>
                    <a:pt x="511" y="650"/>
                  </a:cubicBezTo>
                  <a:cubicBezTo>
                    <a:pt x="511" y="690"/>
                    <a:pt x="543" y="722"/>
                    <a:pt x="583" y="722"/>
                  </a:cubicBezTo>
                  <a:cubicBezTo>
                    <a:pt x="622" y="722"/>
                    <a:pt x="654" y="690"/>
                    <a:pt x="654" y="650"/>
                  </a:cubicBezTo>
                  <a:cubicBezTo>
                    <a:pt x="654" y="611"/>
                    <a:pt x="622" y="579"/>
                    <a:pt x="583" y="579"/>
                  </a:cubicBezTo>
                  <a:close/>
                  <a:moveTo>
                    <a:pt x="332" y="579"/>
                  </a:moveTo>
                  <a:cubicBezTo>
                    <a:pt x="292" y="579"/>
                    <a:pt x="260" y="611"/>
                    <a:pt x="260" y="650"/>
                  </a:cubicBezTo>
                  <a:cubicBezTo>
                    <a:pt x="260" y="690"/>
                    <a:pt x="292" y="722"/>
                    <a:pt x="332" y="722"/>
                  </a:cubicBezTo>
                  <a:cubicBezTo>
                    <a:pt x="372" y="722"/>
                    <a:pt x="404" y="690"/>
                    <a:pt x="404" y="650"/>
                  </a:cubicBezTo>
                  <a:cubicBezTo>
                    <a:pt x="404" y="611"/>
                    <a:pt x="372" y="579"/>
                    <a:pt x="332" y="579"/>
                  </a:cubicBezTo>
                  <a:close/>
                  <a:moveTo>
                    <a:pt x="332" y="435"/>
                  </a:moveTo>
                  <a:cubicBezTo>
                    <a:pt x="332" y="396"/>
                    <a:pt x="300" y="364"/>
                    <a:pt x="260" y="364"/>
                  </a:cubicBezTo>
                  <a:cubicBezTo>
                    <a:pt x="221" y="364"/>
                    <a:pt x="189" y="396"/>
                    <a:pt x="189" y="435"/>
                  </a:cubicBezTo>
                  <a:cubicBezTo>
                    <a:pt x="189" y="475"/>
                    <a:pt x="221" y="507"/>
                    <a:pt x="260" y="507"/>
                  </a:cubicBezTo>
                  <a:cubicBezTo>
                    <a:pt x="300" y="507"/>
                    <a:pt x="332" y="475"/>
                    <a:pt x="332" y="435"/>
                  </a:cubicBezTo>
                  <a:close/>
                  <a:moveTo>
                    <a:pt x="404" y="185"/>
                  </a:moveTo>
                  <a:cubicBezTo>
                    <a:pt x="364" y="185"/>
                    <a:pt x="332" y="217"/>
                    <a:pt x="332" y="256"/>
                  </a:cubicBezTo>
                  <a:cubicBezTo>
                    <a:pt x="332" y="296"/>
                    <a:pt x="364" y="328"/>
                    <a:pt x="404" y="328"/>
                  </a:cubicBezTo>
                  <a:cubicBezTo>
                    <a:pt x="443" y="328"/>
                    <a:pt x="475" y="296"/>
                    <a:pt x="475" y="256"/>
                  </a:cubicBezTo>
                  <a:cubicBezTo>
                    <a:pt x="475" y="217"/>
                    <a:pt x="443" y="185"/>
                    <a:pt x="404" y="185"/>
                  </a:cubicBezTo>
                  <a:close/>
                  <a:moveTo>
                    <a:pt x="757" y="635"/>
                  </a:moveTo>
                  <a:cubicBezTo>
                    <a:pt x="740" y="663"/>
                    <a:pt x="721" y="688"/>
                    <a:pt x="698" y="711"/>
                  </a:cubicBezTo>
                  <a:cubicBezTo>
                    <a:pt x="625" y="786"/>
                    <a:pt x="527" y="829"/>
                    <a:pt x="429" y="829"/>
                  </a:cubicBezTo>
                  <a:cubicBezTo>
                    <a:pt x="343" y="829"/>
                    <a:pt x="265" y="797"/>
                    <a:pt x="207" y="738"/>
                  </a:cubicBezTo>
                  <a:cubicBezTo>
                    <a:pt x="78" y="605"/>
                    <a:pt x="89" y="378"/>
                    <a:pt x="233" y="231"/>
                  </a:cubicBezTo>
                  <a:cubicBezTo>
                    <a:pt x="308" y="154"/>
                    <a:pt x="406" y="113"/>
                    <a:pt x="502" y="113"/>
                  </a:cubicBezTo>
                  <a:cubicBezTo>
                    <a:pt x="557" y="113"/>
                    <a:pt x="610" y="126"/>
                    <a:pt x="658" y="154"/>
                  </a:cubicBezTo>
                  <a:cubicBezTo>
                    <a:pt x="668" y="159"/>
                    <a:pt x="674" y="167"/>
                    <a:pt x="675" y="177"/>
                  </a:cubicBezTo>
                  <a:cubicBezTo>
                    <a:pt x="677" y="188"/>
                    <a:pt x="673" y="199"/>
                    <a:pt x="665" y="208"/>
                  </a:cubicBezTo>
                  <a:cubicBezTo>
                    <a:pt x="624" y="253"/>
                    <a:pt x="602" y="309"/>
                    <a:pt x="602" y="366"/>
                  </a:cubicBezTo>
                  <a:cubicBezTo>
                    <a:pt x="602" y="456"/>
                    <a:pt x="656" y="540"/>
                    <a:pt x="744" y="584"/>
                  </a:cubicBezTo>
                  <a:cubicBezTo>
                    <a:pt x="754" y="590"/>
                    <a:pt x="759" y="600"/>
                    <a:pt x="760" y="605"/>
                  </a:cubicBezTo>
                  <a:cubicBezTo>
                    <a:pt x="763" y="615"/>
                    <a:pt x="762" y="626"/>
                    <a:pt x="757" y="635"/>
                  </a:cubicBezTo>
                  <a:close/>
                  <a:moveTo>
                    <a:pt x="829" y="585"/>
                  </a:moveTo>
                  <a:cubicBezTo>
                    <a:pt x="821" y="557"/>
                    <a:pt x="801" y="533"/>
                    <a:pt x="776" y="520"/>
                  </a:cubicBezTo>
                  <a:cubicBezTo>
                    <a:pt x="713" y="488"/>
                    <a:pt x="673" y="429"/>
                    <a:pt x="673" y="366"/>
                  </a:cubicBezTo>
                  <a:cubicBezTo>
                    <a:pt x="673" y="326"/>
                    <a:pt x="689" y="288"/>
                    <a:pt x="718" y="257"/>
                  </a:cubicBezTo>
                  <a:cubicBezTo>
                    <a:pt x="741" y="231"/>
                    <a:pt x="751" y="198"/>
                    <a:pt x="746" y="166"/>
                  </a:cubicBezTo>
                  <a:cubicBezTo>
                    <a:pt x="741" y="135"/>
                    <a:pt x="722" y="108"/>
                    <a:pt x="694" y="92"/>
                  </a:cubicBezTo>
                  <a:cubicBezTo>
                    <a:pt x="533" y="0"/>
                    <a:pt x="323" y="37"/>
                    <a:pt x="181" y="181"/>
                  </a:cubicBezTo>
                  <a:cubicBezTo>
                    <a:pt x="11" y="356"/>
                    <a:pt x="0" y="628"/>
                    <a:pt x="156" y="788"/>
                  </a:cubicBezTo>
                  <a:cubicBezTo>
                    <a:pt x="227" y="861"/>
                    <a:pt x="324" y="901"/>
                    <a:pt x="429" y="901"/>
                  </a:cubicBezTo>
                  <a:cubicBezTo>
                    <a:pt x="546" y="901"/>
                    <a:pt x="663" y="850"/>
                    <a:pt x="749" y="761"/>
                  </a:cubicBezTo>
                  <a:cubicBezTo>
                    <a:pt x="776" y="734"/>
                    <a:pt x="799" y="704"/>
                    <a:pt x="818" y="672"/>
                  </a:cubicBezTo>
                  <a:cubicBezTo>
                    <a:pt x="833" y="646"/>
                    <a:pt x="837" y="615"/>
                    <a:pt x="829" y="58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3" name="Freeform 45"/>
            <p:cNvSpPr>
              <a:spLocks noEditPoints="1"/>
            </p:cNvSpPr>
            <p:nvPr/>
          </p:nvSpPr>
          <p:spPr bwMode="auto">
            <a:xfrm>
              <a:off x="8701296" y="725091"/>
              <a:ext cx="270186" cy="260412"/>
            </a:xfrm>
            <a:custGeom>
              <a:avLst/>
              <a:gdLst>
                <a:gd name="T0" fmla="*/ 573 w 859"/>
                <a:gd name="T1" fmla="*/ 573 h 824"/>
                <a:gd name="T2" fmla="*/ 573 w 859"/>
                <a:gd name="T3" fmla="*/ 645 h 824"/>
                <a:gd name="T4" fmla="*/ 859 w 859"/>
                <a:gd name="T5" fmla="*/ 645 h 824"/>
                <a:gd name="T6" fmla="*/ 859 w 859"/>
                <a:gd name="T7" fmla="*/ 573 h 824"/>
                <a:gd name="T8" fmla="*/ 573 w 859"/>
                <a:gd name="T9" fmla="*/ 573 h 824"/>
                <a:gd name="T10" fmla="*/ 787 w 859"/>
                <a:gd name="T11" fmla="*/ 537 h 824"/>
                <a:gd name="T12" fmla="*/ 787 w 859"/>
                <a:gd name="T13" fmla="*/ 466 h 824"/>
                <a:gd name="T14" fmla="*/ 573 w 859"/>
                <a:gd name="T15" fmla="*/ 466 h 824"/>
                <a:gd name="T16" fmla="*/ 573 w 859"/>
                <a:gd name="T17" fmla="*/ 537 h 824"/>
                <a:gd name="T18" fmla="*/ 787 w 859"/>
                <a:gd name="T19" fmla="*/ 537 h 824"/>
                <a:gd name="T20" fmla="*/ 250 w 859"/>
                <a:gd name="T21" fmla="*/ 430 h 824"/>
                <a:gd name="T22" fmla="*/ 250 w 859"/>
                <a:gd name="T23" fmla="*/ 698 h 824"/>
                <a:gd name="T24" fmla="*/ 394 w 859"/>
                <a:gd name="T25" fmla="*/ 627 h 824"/>
                <a:gd name="T26" fmla="*/ 537 w 859"/>
                <a:gd name="T27" fmla="*/ 698 h 824"/>
                <a:gd name="T28" fmla="*/ 537 w 859"/>
                <a:gd name="T29" fmla="*/ 430 h 824"/>
                <a:gd name="T30" fmla="*/ 465 w 859"/>
                <a:gd name="T31" fmla="*/ 430 h 824"/>
                <a:gd name="T32" fmla="*/ 465 w 859"/>
                <a:gd name="T33" fmla="*/ 582 h 824"/>
                <a:gd name="T34" fmla="*/ 394 w 859"/>
                <a:gd name="T35" fmla="*/ 547 h 824"/>
                <a:gd name="T36" fmla="*/ 322 w 859"/>
                <a:gd name="T37" fmla="*/ 582 h 824"/>
                <a:gd name="T38" fmla="*/ 322 w 859"/>
                <a:gd name="T39" fmla="*/ 430 h 824"/>
                <a:gd name="T40" fmla="*/ 250 w 859"/>
                <a:gd name="T41" fmla="*/ 430 h 824"/>
                <a:gd name="T42" fmla="*/ 788 w 859"/>
                <a:gd name="T43" fmla="*/ 125 h 824"/>
                <a:gd name="T44" fmla="*/ 662 w 859"/>
                <a:gd name="T45" fmla="*/ 0 h 824"/>
                <a:gd name="T46" fmla="*/ 143 w 859"/>
                <a:gd name="T47" fmla="*/ 0 h 824"/>
                <a:gd name="T48" fmla="*/ 143 w 859"/>
                <a:gd name="T49" fmla="*/ 72 h 824"/>
                <a:gd name="T50" fmla="*/ 662 w 859"/>
                <a:gd name="T51" fmla="*/ 72 h 824"/>
                <a:gd name="T52" fmla="*/ 716 w 859"/>
                <a:gd name="T53" fmla="*/ 125 h 824"/>
                <a:gd name="T54" fmla="*/ 662 w 859"/>
                <a:gd name="T55" fmla="*/ 179 h 824"/>
                <a:gd name="T56" fmla="*/ 143 w 859"/>
                <a:gd name="T57" fmla="*/ 179 h 824"/>
                <a:gd name="T58" fmla="*/ 143 w 859"/>
                <a:gd name="T59" fmla="*/ 251 h 824"/>
                <a:gd name="T60" fmla="*/ 662 w 859"/>
                <a:gd name="T61" fmla="*/ 251 h 824"/>
                <a:gd name="T62" fmla="*/ 788 w 859"/>
                <a:gd name="T63" fmla="*/ 125 h 824"/>
                <a:gd name="T64" fmla="*/ 197 w 859"/>
                <a:gd name="T65" fmla="*/ 537 h 824"/>
                <a:gd name="T66" fmla="*/ 214 w 859"/>
                <a:gd name="T67" fmla="*/ 537 h 824"/>
                <a:gd name="T68" fmla="*/ 214 w 859"/>
                <a:gd name="T69" fmla="*/ 466 h 824"/>
                <a:gd name="T70" fmla="*/ 197 w 859"/>
                <a:gd name="T71" fmla="*/ 466 h 824"/>
                <a:gd name="T72" fmla="*/ 143 w 859"/>
                <a:gd name="T73" fmla="*/ 412 h 824"/>
                <a:gd name="T74" fmla="*/ 197 w 859"/>
                <a:gd name="T75" fmla="*/ 358 h 824"/>
                <a:gd name="T76" fmla="*/ 787 w 859"/>
                <a:gd name="T77" fmla="*/ 358 h 824"/>
                <a:gd name="T78" fmla="*/ 787 w 859"/>
                <a:gd name="T79" fmla="*/ 286 h 824"/>
                <a:gd name="T80" fmla="*/ 197 w 859"/>
                <a:gd name="T81" fmla="*/ 286 h 824"/>
                <a:gd name="T82" fmla="*/ 71 w 859"/>
                <a:gd name="T83" fmla="*/ 412 h 824"/>
                <a:gd name="T84" fmla="*/ 197 w 859"/>
                <a:gd name="T85" fmla="*/ 537 h 824"/>
                <a:gd name="T86" fmla="*/ 71 w 859"/>
                <a:gd name="T87" fmla="*/ 698 h 824"/>
                <a:gd name="T88" fmla="*/ 125 w 859"/>
                <a:gd name="T89" fmla="*/ 645 h 824"/>
                <a:gd name="T90" fmla="*/ 214 w 859"/>
                <a:gd name="T91" fmla="*/ 645 h 824"/>
                <a:gd name="T92" fmla="*/ 214 w 859"/>
                <a:gd name="T93" fmla="*/ 573 h 824"/>
                <a:gd name="T94" fmla="*/ 125 w 859"/>
                <a:gd name="T95" fmla="*/ 573 h 824"/>
                <a:gd name="T96" fmla="*/ 0 w 859"/>
                <a:gd name="T97" fmla="*/ 698 h 824"/>
                <a:gd name="T98" fmla="*/ 125 w 859"/>
                <a:gd name="T99" fmla="*/ 824 h 824"/>
                <a:gd name="T100" fmla="*/ 859 w 859"/>
                <a:gd name="T101" fmla="*/ 824 h 824"/>
                <a:gd name="T102" fmla="*/ 859 w 859"/>
                <a:gd name="T103" fmla="*/ 752 h 824"/>
                <a:gd name="T104" fmla="*/ 125 w 859"/>
                <a:gd name="T105" fmla="*/ 752 h 824"/>
                <a:gd name="T106" fmla="*/ 71 w 859"/>
                <a:gd name="T107" fmla="*/ 698 h 8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859" h="824">
                  <a:moveTo>
                    <a:pt x="573" y="573"/>
                  </a:moveTo>
                  <a:lnTo>
                    <a:pt x="573" y="645"/>
                  </a:lnTo>
                  <a:lnTo>
                    <a:pt x="859" y="645"/>
                  </a:lnTo>
                  <a:lnTo>
                    <a:pt x="859" y="573"/>
                  </a:lnTo>
                  <a:lnTo>
                    <a:pt x="573" y="573"/>
                  </a:lnTo>
                  <a:close/>
                  <a:moveTo>
                    <a:pt x="787" y="537"/>
                  </a:moveTo>
                  <a:lnTo>
                    <a:pt x="787" y="466"/>
                  </a:lnTo>
                  <a:lnTo>
                    <a:pt x="573" y="466"/>
                  </a:lnTo>
                  <a:lnTo>
                    <a:pt x="573" y="537"/>
                  </a:lnTo>
                  <a:lnTo>
                    <a:pt x="787" y="537"/>
                  </a:lnTo>
                  <a:close/>
                  <a:moveTo>
                    <a:pt x="250" y="430"/>
                  </a:moveTo>
                  <a:lnTo>
                    <a:pt x="250" y="698"/>
                  </a:lnTo>
                  <a:lnTo>
                    <a:pt x="394" y="627"/>
                  </a:lnTo>
                  <a:lnTo>
                    <a:pt x="537" y="698"/>
                  </a:lnTo>
                  <a:lnTo>
                    <a:pt x="537" y="430"/>
                  </a:lnTo>
                  <a:lnTo>
                    <a:pt x="465" y="430"/>
                  </a:lnTo>
                  <a:lnTo>
                    <a:pt x="465" y="582"/>
                  </a:lnTo>
                  <a:lnTo>
                    <a:pt x="394" y="547"/>
                  </a:lnTo>
                  <a:lnTo>
                    <a:pt x="322" y="582"/>
                  </a:lnTo>
                  <a:lnTo>
                    <a:pt x="322" y="430"/>
                  </a:lnTo>
                  <a:lnTo>
                    <a:pt x="250" y="430"/>
                  </a:lnTo>
                  <a:close/>
                  <a:moveTo>
                    <a:pt x="788" y="125"/>
                  </a:moveTo>
                  <a:cubicBezTo>
                    <a:pt x="788" y="56"/>
                    <a:pt x="731" y="0"/>
                    <a:pt x="662" y="0"/>
                  </a:cubicBezTo>
                  <a:lnTo>
                    <a:pt x="143" y="0"/>
                  </a:lnTo>
                  <a:lnTo>
                    <a:pt x="143" y="72"/>
                  </a:lnTo>
                  <a:lnTo>
                    <a:pt x="662" y="72"/>
                  </a:lnTo>
                  <a:cubicBezTo>
                    <a:pt x="692" y="72"/>
                    <a:pt x="716" y="96"/>
                    <a:pt x="716" y="125"/>
                  </a:cubicBezTo>
                  <a:cubicBezTo>
                    <a:pt x="716" y="155"/>
                    <a:pt x="692" y="179"/>
                    <a:pt x="662" y="179"/>
                  </a:cubicBezTo>
                  <a:lnTo>
                    <a:pt x="143" y="179"/>
                  </a:lnTo>
                  <a:lnTo>
                    <a:pt x="143" y="251"/>
                  </a:lnTo>
                  <a:lnTo>
                    <a:pt x="662" y="251"/>
                  </a:lnTo>
                  <a:cubicBezTo>
                    <a:pt x="731" y="251"/>
                    <a:pt x="788" y="194"/>
                    <a:pt x="788" y="125"/>
                  </a:cubicBezTo>
                  <a:close/>
                  <a:moveTo>
                    <a:pt x="197" y="537"/>
                  </a:moveTo>
                  <a:lnTo>
                    <a:pt x="214" y="537"/>
                  </a:lnTo>
                  <a:lnTo>
                    <a:pt x="214" y="466"/>
                  </a:lnTo>
                  <a:lnTo>
                    <a:pt x="197" y="466"/>
                  </a:lnTo>
                  <a:cubicBezTo>
                    <a:pt x="167" y="466"/>
                    <a:pt x="143" y="441"/>
                    <a:pt x="143" y="412"/>
                  </a:cubicBezTo>
                  <a:cubicBezTo>
                    <a:pt x="143" y="382"/>
                    <a:pt x="167" y="358"/>
                    <a:pt x="197" y="358"/>
                  </a:cubicBezTo>
                  <a:lnTo>
                    <a:pt x="787" y="358"/>
                  </a:lnTo>
                  <a:lnTo>
                    <a:pt x="787" y="286"/>
                  </a:lnTo>
                  <a:lnTo>
                    <a:pt x="197" y="286"/>
                  </a:lnTo>
                  <a:cubicBezTo>
                    <a:pt x="128" y="286"/>
                    <a:pt x="71" y="343"/>
                    <a:pt x="71" y="412"/>
                  </a:cubicBezTo>
                  <a:cubicBezTo>
                    <a:pt x="71" y="481"/>
                    <a:pt x="128" y="537"/>
                    <a:pt x="197" y="537"/>
                  </a:cubicBezTo>
                  <a:close/>
                  <a:moveTo>
                    <a:pt x="71" y="698"/>
                  </a:moveTo>
                  <a:cubicBezTo>
                    <a:pt x="71" y="669"/>
                    <a:pt x="95" y="645"/>
                    <a:pt x="125" y="645"/>
                  </a:cubicBezTo>
                  <a:lnTo>
                    <a:pt x="214" y="645"/>
                  </a:lnTo>
                  <a:lnTo>
                    <a:pt x="214" y="573"/>
                  </a:lnTo>
                  <a:lnTo>
                    <a:pt x="125" y="573"/>
                  </a:lnTo>
                  <a:cubicBezTo>
                    <a:pt x="56" y="573"/>
                    <a:pt x="0" y="629"/>
                    <a:pt x="0" y="698"/>
                  </a:cubicBezTo>
                  <a:cubicBezTo>
                    <a:pt x="0" y="767"/>
                    <a:pt x="56" y="824"/>
                    <a:pt x="125" y="824"/>
                  </a:cubicBezTo>
                  <a:lnTo>
                    <a:pt x="859" y="824"/>
                  </a:lnTo>
                  <a:lnTo>
                    <a:pt x="859" y="752"/>
                  </a:lnTo>
                  <a:lnTo>
                    <a:pt x="125" y="752"/>
                  </a:lnTo>
                  <a:cubicBezTo>
                    <a:pt x="95" y="752"/>
                    <a:pt x="71" y="728"/>
                    <a:pt x="71" y="69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9" name="Freeform 46"/>
            <p:cNvSpPr>
              <a:spLocks noEditPoints="1"/>
            </p:cNvSpPr>
            <p:nvPr/>
          </p:nvSpPr>
          <p:spPr bwMode="auto">
            <a:xfrm>
              <a:off x="8741962" y="2983368"/>
              <a:ext cx="188855" cy="272813"/>
            </a:xfrm>
            <a:custGeom>
              <a:avLst/>
              <a:gdLst>
                <a:gd name="T0" fmla="*/ 275 w 598"/>
                <a:gd name="T1" fmla="*/ 251 h 860"/>
                <a:gd name="T2" fmla="*/ 347 w 598"/>
                <a:gd name="T3" fmla="*/ 179 h 860"/>
                <a:gd name="T4" fmla="*/ 419 w 598"/>
                <a:gd name="T5" fmla="*/ 251 h 860"/>
                <a:gd name="T6" fmla="*/ 347 w 598"/>
                <a:gd name="T7" fmla="*/ 322 h 860"/>
                <a:gd name="T8" fmla="*/ 275 w 598"/>
                <a:gd name="T9" fmla="*/ 251 h 860"/>
                <a:gd name="T10" fmla="*/ 598 w 598"/>
                <a:gd name="T11" fmla="*/ 752 h 860"/>
                <a:gd name="T12" fmla="*/ 449 w 598"/>
                <a:gd name="T13" fmla="*/ 352 h 860"/>
                <a:gd name="T14" fmla="*/ 490 w 598"/>
                <a:gd name="T15" fmla="*/ 251 h 860"/>
                <a:gd name="T16" fmla="*/ 383 w 598"/>
                <a:gd name="T17" fmla="*/ 113 h 860"/>
                <a:gd name="T18" fmla="*/ 383 w 598"/>
                <a:gd name="T19" fmla="*/ 36 h 860"/>
                <a:gd name="T20" fmla="*/ 347 w 598"/>
                <a:gd name="T21" fmla="*/ 0 h 860"/>
                <a:gd name="T22" fmla="*/ 311 w 598"/>
                <a:gd name="T23" fmla="*/ 36 h 860"/>
                <a:gd name="T24" fmla="*/ 311 w 598"/>
                <a:gd name="T25" fmla="*/ 113 h 860"/>
                <a:gd name="T26" fmla="*/ 204 w 598"/>
                <a:gd name="T27" fmla="*/ 251 h 860"/>
                <a:gd name="T28" fmla="*/ 245 w 598"/>
                <a:gd name="T29" fmla="*/ 352 h 860"/>
                <a:gd name="T30" fmla="*/ 196 w 598"/>
                <a:gd name="T31" fmla="*/ 485 h 860"/>
                <a:gd name="T32" fmla="*/ 260 w 598"/>
                <a:gd name="T33" fmla="*/ 519 h 860"/>
                <a:gd name="T34" fmla="*/ 308 w 598"/>
                <a:gd name="T35" fmla="*/ 388 h 860"/>
                <a:gd name="T36" fmla="*/ 347 w 598"/>
                <a:gd name="T37" fmla="*/ 394 h 860"/>
                <a:gd name="T38" fmla="*/ 386 w 598"/>
                <a:gd name="T39" fmla="*/ 388 h 860"/>
                <a:gd name="T40" fmla="*/ 459 w 598"/>
                <a:gd name="T41" fmla="*/ 586 h 860"/>
                <a:gd name="T42" fmla="*/ 347 w 598"/>
                <a:gd name="T43" fmla="*/ 607 h 860"/>
                <a:gd name="T44" fmla="*/ 72 w 598"/>
                <a:gd name="T45" fmla="*/ 453 h 860"/>
                <a:gd name="T46" fmla="*/ 26 w 598"/>
                <a:gd name="T47" fmla="*/ 440 h 860"/>
                <a:gd name="T48" fmla="*/ 11 w 598"/>
                <a:gd name="T49" fmla="*/ 491 h 860"/>
                <a:gd name="T50" fmla="*/ 145 w 598"/>
                <a:gd name="T51" fmla="*/ 623 h 860"/>
                <a:gd name="T52" fmla="*/ 96 w 598"/>
                <a:gd name="T53" fmla="*/ 752 h 860"/>
                <a:gd name="T54" fmla="*/ 134 w 598"/>
                <a:gd name="T55" fmla="*/ 860 h 860"/>
                <a:gd name="T56" fmla="*/ 210 w 598"/>
                <a:gd name="T57" fmla="*/ 654 h 860"/>
                <a:gd name="T58" fmla="*/ 347 w 598"/>
                <a:gd name="T59" fmla="*/ 679 h 860"/>
                <a:gd name="T60" fmla="*/ 483 w 598"/>
                <a:gd name="T61" fmla="*/ 653 h 860"/>
                <a:gd name="T62" fmla="*/ 560 w 598"/>
                <a:gd name="T63" fmla="*/ 860 h 860"/>
                <a:gd name="T64" fmla="*/ 598 w 598"/>
                <a:gd name="T65" fmla="*/ 752 h 8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98" h="860">
                  <a:moveTo>
                    <a:pt x="275" y="251"/>
                  </a:moveTo>
                  <a:cubicBezTo>
                    <a:pt x="275" y="211"/>
                    <a:pt x="307" y="179"/>
                    <a:pt x="347" y="179"/>
                  </a:cubicBezTo>
                  <a:cubicBezTo>
                    <a:pt x="386" y="179"/>
                    <a:pt x="419" y="211"/>
                    <a:pt x="419" y="251"/>
                  </a:cubicBezTo>
                  <a:cubicBezTo>
                    <a:pt x="419" y="290"/>
                    <a:pt x="386" y="322"/>
                    <a:pt x="347" y="322"/>
                  </a:cubicBezTo>
                  <a:cubicBezTo>
                    <a:pt x="307" y="322"/>
                    <a:pt x="275" y="290"/>
                    <a:pt x="275" y="251"/>
                  </a:cubicBezTo>
                  <a:close/>
                  <a:moveTo>
                    <a:pt x="598" y="752"/>
                  </a:moveTo>
                  <a:lnTo>
                    <a:pt x="449" y="352"/>
                  </a:lnTo>
                  <a:cubicBezTo>
                    <a:pt x="474" y="326"/>
                    <a:pt x="490" y="290"/>
                    <a:pt x="490" y="251"/>
                  </a:cubicBezTo>
                  <a:cubicBezTo>
                    <a:pt x="490" y="184"/>
                    <a:pt x="444" y="129"/>
                    <a:pt x="383" y="113"/>
                  </a:cubicBezTo>
                  <a:lnTo>
                    <a:pt x="383" y="36"/>
                  </a:lnTo>
                  <a:cubicBezTo>
                    <a:pt x="383" y="16"/>
                    <a:pt x="367" y="0"/>
                    <a:pt x="347" y="0"/>
                  </a:cubicBezTo>
                  <a:cubicBezTo>
                    <a:pt x="327" y="0"/>
                    <a:pt x="311" y="16"/>
                    <a:pt x="311" y="36"/>
                  </a:cubicBezTo>
                  <a:lnTo>
                    <a:pt x="311" y="113"/>
                  </a:lnTo>
                  <a:cubicBezTo>
                    <a:pt x="250" y="129"/>
                    <a:pt x="204" y="184"/>
                    <a:pt x="204" y="251"/>
                  </a:cubicBezTo>
                  <a:cubicBezTo>
                    <a:pt x="204" y="290"/>
                    <a:pt x="220" y="326"/>
                    <a:pt x="245" y="352"/>
                  </a:cubicBezTo>
                  <a:lnTo>
                    <a:pt x="196" y="485"/>
                  </a:lnTo>
                  <a:cubicBezTo>
                    <a:pt x="216" y="499"/>
                    <a:pt x="237" y="511"/>
                    <a:pt x="260" y="519"/>
                  </a:cubicBezTo>
                  <a:lnTo>
                    <a:pt x="308" y="388"/>
                  </a:lnTo>
                  <a:cubicBezTo>
                    <a:pt x="321" y="392"/>
                    <a:pt x="333" y="394"/>
                    <a:pt x="347" y="394"/>
                  </a:cubicBezTo>
                  <a:cubicBezTo>
                    <a:pt x="361" y="394"/>
                    <a:pt x="373" y="392"/>
                    <a:pt x="386" y="388"/>
                  </a:cubicBezTo>
                  <a:lnTo>
                    <a:pt x="459" y="586"/>
                  </a:lnTo>
                  <a:cubicBezTo>
                    <a:pt x="423" y="599"/>
                    <a:pt x="386" y="607"/>
                    <a:pt x="347" y="607"/>
                  </a:cubicBezTo>
                  <a:cubicBezTo>
                    <a:pt x="233" y="607"/>
                    <a:pt x="130" y="549"/>
                    <a:pt x="72" y="453"/>
                  </a:cubicBezTo>
                  <a:cubicBezTo>
                    <a:pt x="63" y="438"/>
                    <a:pt x="43" y="432"/>
                    <a:pt x="26" y="440"/>
                  </a:cubicBezTo>
                  <a:cubicBezTo>
                    <a:pt x="7" y="449"/>
                    <a:pt x="0" y="473"/>
                    <a:pt x="11" y="491"/>
                  </a:cubicBezTo>
                  <a:cubicBezTo>
                    <a:pt x="45" y="547"/>
                    <a:pt x="92" y="591"/>
                    <a:pt x="145" y="623"/>
                  </a:cubicBezTo>
                  <a:lnTo>
                    <a:pt x="96" y="752"/>
                  </a:lnTo>
                  <a:lnTo>
                    <a:pt x="134" y="860"/>
                  </a:lnTo>
                  <a:lnTo>
                    <a:pt x="210" y="654"/>
                  </a:lnTo>
                  <a:cubicBezTo>
                    <a:pt x="253" y="670"/>
                    <a:pt x="299" y="679"/>
                    <a:pt x="347" y="679"/>
                  </a:cubicBezTo>
                  <a:cubicBezTo>
                    <a:pt x="394" y="679"/>
                    <a:pt x="440" y="669"/>
                    <a:pt x="483" y="653"/>
                  </a:cubicBezTo>
                  <a:lnTo>
                    <a:pt x="560" y="860"/>
                  </a:lnTo>
                  <a:lnTo>
                    <a:pt x="598" y="75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5" name="Freeform 52"/>
            <p:cNvSpPr>
              <a:spLocks noEditPoints="1"/>
            </p:cNvSpPr>
            <p:nvPr/>
          </p:nvSpPr>
          <p:spPr bwMode="auto">
            <a:xfrm>
              <a:off x="8704053" y="2417306"/>
              <a:ext cx="264672" cy="272813"/>
            </a:xfrm>
            <a:custGeom>
              <a:avLst/>
              <a:gdLst>
                <a:gd name="T0" fmla="*/ 179 w 839"/>
                <a:gd name="T1" fmla="*/ 143 h 860"/>
                <a:gd name="T2" fmla="*/ 609 w 839"/>
                <a:gd name="T3" fmla="*/ 143 h 860"/>
                <a:gd name="T4" fmla="*/ 609 w 839"/>
                <a:gd name="T5" fmla="*/ 269 h 860"/>
                <a:gd name="T6" fmla="*/ 474 w 839"/>
                <a:gd name="T7" fmla="*/ 383 h 860"/>
                <a:gd name="T8" fmla="*/ 526 w 839"/>
                <a:gd name="T9" fmla="*/ 440 h 860"/>
                <a:gd name="T10" fmla="*/ 839 w 839"/>
                <a:gd name="T11" fmla="*/ 208 h 860"/>
                <a:gd name="T12" fmla="*/ 781 w 839"/>
                <a:gd name="T13" fmla="*/ 151 h 860"/>
                <a:gd name="T14" fmla="*/ 680 w 839"/>
                <a:gd name="T15" fmla="*/ 215 h 860"/>
                <a:gd name="T16" fmla="*/ 680 w 839"/>
                <a:gd name="T17" fmla="*/ 72 h 860"/>
                <a:gd name="T18" fmla="*/ 430 w 839"/>
                <a:gd name="T19" fmla="*/ 72 h 860"/>
                <a:gd name="T20" fmla="*/ 430 w 839"/>
                <a:gd name="T21" fmla="*/ 0 h 860"/>
                <a:gd name="T22" fmla="*/ 358 w 839"/>
                <a:gd name="T23" fmla="*/ 0 h 860"/>
                <a:gd name="T24" fmla="*/ 358 w 839"/>
                <a:gd name="T25" fmla="*/ 72 h 860"/>
                <a:gd name="T26" fmla="*/ 107 w 839"/>
                <a:gd name="T27" fmla="*/ 72 h 860"/>
                <a:gd name="T28" fmla="*/ 107 w 839"/>
                <a:gd name="T29" fmla="*/ 537 h 860"/>
                <a:gd name="T30" fmla="*/ 179 w 839"/>
                <a:gd name="T31" fmla="*/ 537 h 860"/>
                <a:gd name="T32" fmla="*/ 179 w 839"/>
                <a:gd name="T33" fmla="*/ 143 h 860"/>
                <a:gd name="T34" fmla="*/ 680 w 839"/>
                <a:gd name="T35" fmla="*/ 537 h 860"/>
                <a:gd name="T36" fmla="*/ 680 w 839"/>
                <a:gd name="T37" fmla="*/ 393 h 860"/>
                <a:gd name="T38" fmla="*/ 609 w 839"/>
                <a:gd name="T39" fmla="*/ 447 h 860"/>
                <a:gd name="T40" fmla="*/ 609 w 839"/>
                <a:gd name="T41" fmla="*/ 537 h 860"/>
                <a:gd name="T42" fmla="*/ 680 w 839"/>
                <a:gd name="T43" fmla="*/ 537 h 860"/>
                <a:gd name="T44" fmla="*/ 371 w 839"/>
                <a:gd name="T45" fmla="*/ 473 h 860"/>
                <a:gd name="T46" fmla="*/ 414 w 839"/>
                <a:gd name="T47" fmla="*/ 530 h 860"/>
                <a:gd name="T48" fmla="*/ 506 w 839"/>
                <a:gd name="T49" fmla="*/ 461 h 860"/>
                <a:gd name="T50" fmla="*/ 463 w 839"/>
                <a:gd name="T51" fmla="*/ 404 h 860"/>
                <a:gd name="T52" fmla="*/ 371 w 839"/>
                <a:gd name="T53" fmla="*/ 473 h 860"/>
                <a:gd name="T54" fmla="*/ 0 w 839"/>
                <a:gd name="T55" fmla="*/ 681 h 860"/>
                <a:gd name="T56" fmla="*/ 233 w 839"/>
                <a:gd name="T57" fmla="*/ 681 h 860"/>
                <a:gd name="T58" fmla="*/ 166 w 839"/>
                <a:gd name="T59" fmla="*/ 860 h 860"/>
                <a:gd name="T60" fmla="*/ 243 w 839"/>
                <a:gd name="T61" fmla="*/ 860 h 860"/>
                <a:gd name="T62" fmla="*/ 310 w 839"/>
                <a:gd name="T63" fmla="*/ 681 h 860"/>
                <a:gd name="T64" fmla="*/ 358 w 839"/>
                <a:gd name="T65" fmla="*/ 681 h 860"/>
                <a:gd name="T66" fmla="*/ 358 w 839"/>
                <a:gd name="T67" fmla="*/ 860 h 860"/>
                <a:gd name="T68" fmla="*/ 430 w 839"/>
                <a:gd name="T69" fmla="*/ 860 h 860"/>
                <a:gd name="T70" fmla="*/ 430 w 839"/>
                <a:gd name="T71" fmla="*/ 681 h 860"/>
                <a:gd name="T72" fmla="*/ 547 w 839"/>
                <a:gd name="T73" fmla="*/ 681 h 860"/>
                <a:gd name="T74" fmla="*/ 614 w 839"/>
                <a:gd name="T75" fmla="*/ 860 h 860"/>
                <a:gd name="T76" fmla="*/ 690 w 839"/>
                <a:gd name="T77" fmla="*/ 860 h 860"/>
                <a:gd name="T78" fmla="*/ 623 w 839"/>
                <a:gd name="T79" fmla="*/ 681 h 860"/>
                <a:gd name="T80" fmla="*/ 788 w 839"/>
                <a:gd name="T81" fmla="*/ 681 h 860"/>
                <a:gd name="T82" fmla="*/ 788 w 839"/>
                <a:gd name="T83" fmla="*/ 609 h 860"/>
                <a:gd name="T84" fmla="*/ 0 w 839"/>
                <a:gd name="T85" fmla="*/ 609 h 860"/>
                <a:gd name="T86" fmla="*/ 0 w 839"/>
                <a:gd name="T87" fmla="*/ 681 h 8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839" h="860">
                  <a:moveTo>
                    <a:pt x="179" y="143"/>
                  </a:moveTo>
                  <a:lnTo>
                    <a:pt x="609" y="143"/>
                  </a:lnTo>
                  <a:lnTo>
                    <a:pt x="609" y="269"/>
                  </a:lnTo>
                  <a:lnTo>
                    <a:pt x="474" y="383"/>
                  </a:lnTo>
                  <a:lnTo>
                    <a:pt x="526" y="440"/>
                  </a:lnTo>
                  <a:lnTo>
                    <a:pt x="839" y="208"/>
                  </a:lnTo>
                  <a:lnTo>
                    <a:pt x="781" y="151"/>
                  </a:lnTo>
                  <a:lnTo>
                    <a:pt x="680" y="215"/>
                  </a:lnTo>
                  <a:lnTo>
                    <a:pt x="680" y="72"/>
                  </a:lnTo>
                  <a:lnTo>
                    <a:pt x="430" y="72"/>
                  </a:lnTo>
                  <a:lnTo>
                    <a:pt x="430" y="0"/>
                  </a:lnTo>
                  <a:lnTo>
                    <a:pt x="358" y="0"/>
                  </a:lnTo>
                  <a:lnTo>
                    <a:pt x="358" y="72"/>
                  </a:lnTo>
                  <a:lnTo>
                    <a:pt x="107" y="72"/>
                  </a:lnTo>
                  <a:lnTo>
                    <a:pt x="107" y="537"/>
                  </a:lnTo>
                  <a:lnTo>
                    <a:pt x="179" y="537"/>
                  </a:lnTo>
                  <a:lnTo>
                    <a:pt x="179" y="143"/>
                  </a:lnTo>
                  <a:close/>
                  <a:moveTo>
                    <a:pt x="680" y="537"/>
                  </a:moveTo>
                  <a:lnTo>
                    <a:pt x="680" y="393"/>
                  </a:lnTo>
                  <a:lnTo>
                    <a:pt x="609" y="447"/>
                  </a:lnTo>
                  <a:lnTo>
                    <a:pt x="609" y="537"/>
                  </a:lnTo>
                  <a:lnTo>
                    <a:pt x="680" y="537"/>
                  </a:lnTo>
                  <a:close/>
                  <a:moveTo>
                    <a:pt x="371" y="473"/>
                  </a:moveTo>
                  <a:lnTo>
                    <a:pt x="414" y="530"/>
                  </a:lnTo>
                  <a:lnTo>
                    <a:pt x="506" y="461"/>
                  </a:lnTo>
                  <a:lnTo>
                    <a:pt x="463" y="404"/>
                  </a:lnTo>
                  <a:lnTo>
                    <a:pt x="371" y="473"/>
                  </a:lnTo>
                  <a:close/>
                  <a:moveTo>
                    <a:pt x="0" y="681"/>
                  </a:moveTo>
                  <a:lnTo>
                    <a:pt x="233" y="681"/>
                  </a:lnTo>
                  <a:lnTo>
                    <a:pt x="166" y="860"/>
                  </a:lnTo>
                  <a:lnTo>
                    <a:pt x="243" y="860"/>
                  </a:lnTo>
                  <a:lnTo>
                    <a:pt x="310" y="681"/>
                  </a:lnTo>
                  <a:lnTo>
                    <a:pt x="358" y="681"/>
                  </a:lnTo>
                  <a:lnTo>
                    <a:pt x="358" y="860"/>
                  </a:lnTo>
                  <a:lnTo>
                    <a:pt x="430" y="860"/>
                  </a:lnTo>
                  <a:lnTo>
                    <a:pt x="430" y="681"/>
                  </a:lnTo>
                  <a:lnTo>
                    <a:pt x="547" y="681"/>
                  </a:lnTo>
                  <a:lnTo>
                    <a:pt x="614" y="860"/>
                  </a:lnTo>
                  <a:lnTo>
                    <a:pt x="690" y="860"/>
                  </a:lnTo>
                  <a:lnTo>
                    <a:pt x="623" y="681"/>
                  </a:lnTo>
                  <a:lnTo>
                    <a:pt x="788" y="681"/>
                  </a:lnTo>
                  <a:lnTo>
                    <a:pt x="788" y="609"/>
                  </a:lnTo>
                  <a:lnTo>
                    <a:pt x="0" y="609"/>
                  </a:lnTo>
                  <a:lnTo>
                    <a:pt x="0" y="68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6" name="Freeform 53"/>
            <p:cNvSpPr>
              <a:spLocks noEditPoints="1"/>
            </p:cNvSpPr>
            <p:nvPr/>
          </p:nvSpPr>
          <p:spPr bwMode="auto">
            <a:xfrm>
              <a:off x="8695782" y="4695336"/>
              <a:ext cx="281214" cy="245254"/>
            </a:xfrm>
            <a:custGeom>
              <a:avLst/>
              <a:gdLst>
                <a:gd name="T0" fmla="*/ 408 w 888"/>
                <a:gd name="T1" fmla="*/ 61 h 777"/>
                <a:gd name="T2" fmla="*/ 337 w 888"/>
                <a:gd name="T3" fmla="*/ 61 h 777"/>
                <a:gd name="T4" fmla="*/ 337 w 888"/>
                <a:gd name="T5" fmla="*/ 539 h 777"/>
                <a:gd name="T6" fmla="*/ 408 w 888"/>
                <a:gd name="T7" fmla="*/ 556 h 777"/>
                <a:gd name="T8" fmla="*/ 408 w 888"/>
                <a:gd name="T9" fmla="*/ 61 h 777"/>
                <a:gd name="T10" fmla="*/ 552 w 888"/>
                <a:gd name="T11" fmla="*/ 61 h 777"/>
                <a:gd name="T12" fmla="*/ 480 w 888"/>
                <a:gd name="T13" fmla="*/ 61 h 777"/>
                <a:gd name="T14" fmla="*/ 480 w 888"/>
                <a:gd name="T15" fmla="*/ 556 h 777"/>
                <a:gd name="T16" fmla="*/ 552 w 888"/>
                <a:gd name="T17" fmla="*/ 539 h 777"/>
                <a:gd name="T18" fmla="*/ 552 w 888"/>
                <a:gd name="T19" fmla="*/ 61 h 777"/>
                <a:gd name="T20" fmla="*/ 829 w 888"/>
                <a:gd name="T21" fmla="*/ 27 h 777"/>
                <a:gd name="T22" fmla="*/ 734 w 888"/>
                <a:gd name="T23" fmla="*/ 5 h 777"/>
                <a:gd name="T24" fmla="*/ 652 w 888"/>
                <a:gd name="T25" fmla="*/ 56 h 777"/>
                <a:gd name="T26" fmla="*/ 696 w 888"/>
                <a:gd name="T27" fmla="*/ 357 h 777"/>
                <a:gd name="T28" fmla="*/ 634 w 888"/>
                <a:gd name="T29" fmla="*/ 526 h 777"/>
                <a:gd name="T30" fmla="*/ 444 w 888"/>
                <a:gd name="T31" fmla="*/ 595 h 777"/>
                <a:gd name="T32" fmla="*/ 254 w 888"/>
                <a:gd name="T33" fmla="*/ 526 h 777"/>
                <a:gd name="T34" fmla="*/ 193 w 888"/>
                <a:gd name="T35" fmla="*/ 357 h 777"/>
                <a:gd name="T36" fmla="*/ 237 w 888"/>
                <a:gd name="T37" fmla="*/ 57 h 777"/>
                <a:gd name="T38" fmla="*/ 155 w 888"/>
                <a:gd name="T39" fmla="*/ 5 h 777"/>
                <a:gd name="T40" fmla="*/ 60 w 888"/>
                <a:gd name="T41" fmla="*/ 27 h 777"/>
                <a:gd name="T42" fmla="*/ 35 w 888"/>
                <a:gd name="T43" fmla="*/ 179 h 777"/>
                <a:gd name="T44" fmla="*/ 92 w 888"/>
                <a:gd name="T45" fmla="*/ 216 h 777"/>
                <a:gd name="T46" fmla="*/ 134 w 888"/>
                <a:gd name="T47" fmla="*/ 189 h 777"/>
                <a:gd name="T48" fmla="*/ 107 w 888"/>
                <a:gd name="T49" fmla="*/ 146 h 777"/>
                <a:gd name="T50" fmla="*/ 93 w 888"/>
                <a:gd name="T51" fmla="*/ 137 h 777"/>
                <a:gd name="T52" fmla="*/ 102 w 888"/>
                <a:gd name="T53" fmla="*/ 85 h 777"/>
                <a:gd name="T54" fmla="*/ 143 w 888"/>
                <a:gd name="T55" fmla="*/ 76 h 777"/>
                <a:gd name="T56" fmla="*/ 179 w 888"/>
                <a:gd name="T57" fmla="*/ 99 h 777"/>
                <a:gd name="T58" fmla="*/ 130 w 888"/>
                <a:gd name="T59" fmla="*/ 321 h 777"/>
                <a:gd name="T60" fmla="*/ 122 w 888"/>
                <a:gd name="T61" fmla="*/ 330 h 777"/>
                <a:gd name="T62" fmla="*/ 122 w 888"/>
                <a:gd name="T63" fmla="*/ 341 h 777"/>
                <a:gd name="T64" fmla="*/ 202 w 888"/>
                <a:gd name="T65" fmla="*/ 575 h 777"/>
                <a:gd name="T66" fmla="*/ 445 w 888"/>
                <a:gd name="T67" fmla="*/ 666 h 777"/>
                <a:gd name="T68" fmla="*/ 687 w 888"/>
                <a:gd name="T69" fmla="*/ 575 h 777"/>
                <a:gd name="T70" fmla="*/ 767 w 888"/>
                <a:gd name="T71" fmla="*/ 341 h 777"/>
                <a:gd name="T72" fmla="*/ 766 w 888"/>
                <a:gd name="T73" fmla="*/ 330 h 777"/>
                <a:gd name="T74" fmla="*/ 759 w 888"/>
                <a:gd name="T75" fmla="*/ 321 h 777"/>
                <a:gd name="T76" fmla="*/ 710 w 888"/>
                <a:gd name="T77" fmla="*/ 98 h 777"/>
                <a:gd name="T78" fmla="*/ 746 w 888"/>
                <a:gd name="T79" fmla="*/ 76 h 777"/>
                <a:gd name="T80" fmla="*/ 787 w 888"/>
                <a:gd name="T81" fmla="*/ 85 h 777"/>
                <a:gd name="T82" fmla="*/ 795 w 888"/>
                <a:gd name="T83" fmla="*/ 137 h 777"/>
                <a:gd name="T84" fmla="*/ 782 w 888"/>
                <a:gd name="T85" fmla="*/ 146 h 777"/>
                <a:gd name="T86" fmla="*/ 754 w 888"/>
                <a:gd name="T87" fmla="*/ 189 h 777"/>
                <a:gd name="T88" fmla="*/ 797 w 888"/>
                <a:gd name="T89" fmla="*/ 216 h 777"/>
                <a:gd name="T90" fmla="*/ 854 w 888"/>
                <a:gd name="T91" fmla="*/ 179 h 777"/>
                <a:gd name="T92" fmla="*/ 829 w 888"/>
                <a:gd name="T93" fmla="*/ 27 h 777"/>
                <a:gd name="T94" fmla="*/ 301 w 888"/>
                <a:gd name="T95" fmla="*/ 777 h 777"/>
                <a:gd name="T96" fmla="*/ 587 w 888"/>
                <a:gd name="T97" fmla="*/ 777 h 777"/>
                <a:gd name="T98" fmla="*/ 587 w 888"/>
                <a:gd name="T99" fmla="*/ 705 h 777"/>
                <a:gd name="T100" fmla="*/ 301 w 888"/>
                <a:gd name="T101" fmla="*/ 705 h 777"/>
                <a:gd name="T102" fmla="*/ 301 w 888"/>
                <a:gd name="T103" fmla="*/ 777 h 7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888" h="777">
                  <a:moveTo>
                    <a:pt x="408" y="61"/>
                  </a:moveTo>
                  <a:lnTo>
                    <a:pt x="337" y="61"/>
                  </a:lnTo>
                  <a:lnTo>
                    <a:pt x="337" y="539"/>
                  </a:lnTo>
                  <a:cubicBezTo>
                    <a:pt x="372" y="548"/>
                    <a:pt x="372" y="554"/>
                    <a:pt x="408" y="556"/>
                  </a:cubicBezTo>
                  <a:lnTo>
                    <a:pt x="408" y="61"/>
                  </a:lnTo>
                  <a:close/>
                  <a:moveTo>
                    <a:pt x="552" y="61"/>
                  </a:moveTo>
                  <a:lnTo>
                    <a:pt x="480" y="61"/>
                  </a:lnTo>
                  <a:lnTo>
                    <a:pt x="480" y="556"/>
                  </a:lnTo>
                  <a:cubicBezTo>
                    <a:pt x="516" y="554"/>
                    <a:pt x="516" y="548"/>
                    <a:pt x="552" y="539"/>
                  </a:cubicBezTo>
                  <a:lnTo>
                    <a:pt x="552" y="61"/>
                  </a:lnTo>
                  <a:close/>
                  <a:moveTo>
                    <a:pt x="829" y="27"/>
                  </a:moveTo>
                  <a:cubicBezTo>
                    <a:pt x="801" y="8"/>
                    <a:pt x="768" y="0"/>
                    <a:pt x="734" y="5"/>
                  </a:cubicBezTo>
                  <a:cubicBezTo>
                    <a:pt x="700" y="11"/>
                    <a:pt x="671" y="29"/>
                    <a:pt x="652" y="56"/>
                  </a:cubicBezTo>
                  <a:cubicBezTo>
                    <a:pt x="591" y="139"/>
                    <a:pt x="637" y="279"/>
                    <a:pt x="696" y="357"/>
                  </a:cubicBezTo>
                  <a:cubicBezTo>
                    <a:pt x="695" y="386"/>
                    <a:pt x="689" y="468"/>
                    <a:pt x="634" y="526"/>
                  </a:cubicBezTo>
                  <a:cubicBezTo>
                    <a:pt x="592" y="572"/>
                    <a:pt x="528" y="595"/>
                    <a:pt x="444" y="595"/>
                  </a:cubicBezTo>
                  <a:cubicBezTo>
                    <a:pt x="361" y="595"/>
                    <a:pt x="297" y="572"/>
                    <a:pt x="254" y="526"/>
                  </a:cubicBezTo>
                  <a:cubicBezTo>
                    <a:pt x="199" y="468"/>
                    <a:pt x="193" y="385"/>
                    <a:pt x="193" y="357"/>
                  </a:cubicBezTo>
                  <a:cubicBezTo>
                    <a:pt x="252" y="279"/>
                    <a:pt x="298" y="139"/>
                    <a:pt x="237" y="57"/>
                  </a:cubicBezTo>
                  <a:cubicBezTo>
                    <a:pt x="217" y="29"/>
                    <a:pt x="188" y="11"/>
                    <a:pt x="155" y="5"/>
                  </a:cubicBezTo>
                  <a:cubicBezTo>
                    <a:pt x="121" y="0"/>
                    <a:pt x="87" y="8"/>
                    <a:pt x="60" y="27"/>
                  </a:cubicBezTo>
                  <a:cubicBezTo>
                    <a:pt x="11" y="63"/>
                    <a:pt x="0" y="130"/>
                    <a:pt x="35" y="179"/>
                  </a:cubicBezTo>
                  <a:cubicBezTo>
                    <a:pt x="49" y="198"/>
                    <a:pt x="69" y="212"/>
                    <a:pt x="92" y="216"/>
                  </a:cubicBezTo>
                  <a:cubicBezTo>
                    <a:pt x="111" y="220"/>
                    <a:pt x="130" y="208"/>
                    <a:pt x="134" y="189"/>
                  </a:cubicBezTo>
                  <a:cubicBezTo>
                    <a:pt x="138" y="169"/>
                    <a:pt x="126" y="150"/>
                    <a:pt x="107" y="146"/>
                  </a:cubicBezTo>
                  <a:cubicBezTo>
                    <a:pt x="101" y="145"/>
                    <a:pt x="96" y="142"/>
                    <a:pt x="93" y="137"/>
                  </a:cubicBezTo>
                  <a:cubicBezTo>
                    <a:pt x="81" y="121"/>
                    <a:pt x="85" y="97"/>
                    <a:pt x="102" y="85"/>
                  </a:cubicBezTo>
                  <a:cubicBezTo>
                    <a:pt x="114" y="77"/>
                    <a:pt x="128" y="73"/>
                    <a:pt x="143" y="76"/>
                  </a:cubicBezTo>
                  <a:cubicBezTo>
                    <a:pt x="157" y="78"/>
                    <a:pt x="170" y="86"/>
                    <a:pt x="179" y="99"/>
                  </a:cubicBezTo>
                  <a:cubicBezTo>
                    <a:pt x="215" y="148"/>
                    <a:pt x="182" y="259"/>
                    <a:pt x="130" y="321"/>
                  </a:cubicBezTo>
                  <a:lnTo>
                    <a:pt x="122" y="330"/>
                  </a:lnTo>
                  <a:lnTo>
                    <a:pt x="122" y="341"/>
                  </a:lnTo>
                  <a:cubicBezTo>
                    <a:pt x="121" y="347"/>
                    <a:pt x="113" y="480"/>
                    <a:pt x="202" y="575"/>
                  </a:cubicBezTo>
                  <a:cubicBezTo>
                    <a:pt x="258" y="636"/>
                    <a:pt x="340" y="666"/>
                    <a:pt x="445" y="666"/>
                  </a:cubicBezTo>
                  <a:cubicBezTo>
                    <a:pt x="549" y="666"/>
                    <a:pt x="630" y="636"/>
                    <a:pt x="687" y="575"/>
                  </a:cubicBezTo>
                  <a:cubicBezTo>
                    <a:pt x="775" y="480"/>
                    <a:pt x="767" y="347"/>
                    <a:pt x="767" y="341"/>
                  </a:cubicBezTo>
                  <a:lnTo>
                    <a:pt x="766" y="330"/>
                  </a:lnTo>
                  <a:lnTo>
                    <a:pt x="759" y="321"/>
                  </a:lnTo>
                  <a:cubicBezTo>
                    <a:pt x="706" y="259"/>
                    <a:pt x="673" y="148"/>
                    <a:pt x="710" y="98"/>
                  </a:cubicBezTo>
                  <a:cubicBezTo>
                    <a:pt x="718" y="86"/>
                    <a:pt x="731" y="78"/>
                    <a:pt x="746" y="76"/>
                  </a:cubicBezTo>
                  <a:cubicBezTo>
                    <a:pt x="760" y="73"/>
                    <a:pt x="775" y="77"/>
                    <a:pt x="787" y="85"/>
                  </a:cubicBezTo>
                  <a:cubicBezTo>
                    <a:pt x="803" y="97"/>
                    <a:pt x="807" y="121"/>
                    <a:pt x="795" y="137"/>
                  </a:cubicBezTo>
                  <a:cubicBezTo>
                    <a:pt x="792" y="142"/>
                    <a:pt x="787" y="145"/>
                    <a:pt x="782" y="146"/>
                  </a:cubicBezTo>
                  <a:cubicBezTo>
                    <a:pt x="762" y="150"/>
                    <a:pt x="750" y="169"/>
                    <a:pt x="754" y="189"/>
                  </a:cubicBezTo>
                  <a:cubicBezTo>
                    <a:pt x="758" y="208"/>
                    <a:pt x="777" y="220"/>
                    <a:pt x="797" y="216"/>
                  </a:cubicBezTo>
                  <a:cubicBezTo>
                    <a:pt x="820" y="212"/>
                    <a:pt x="840" y="198"/>
                    <a:pt x="854" y="179"/>
                  </a:cubicBezTo>
                  <a:cubicBezTo>
                    <a:pt x="888" y="130"/>
                    <a:pt x="877" y="63"/>
                    <a:pt x="829" y="27"/>
                  </a:cubicBezTo>
                  <a:close/>
                  <a:moveTo>
                    <a:pt x="301" y="777"/>
                  </a:moveTo>
                  <a:lnTo>
                    <a:pt x="587" y="777"/>
                  </a:lnTo>
                  <a:lnTo>
                    <a:pt x="587" y="705"/>
                  </a:lnTo>
                  <a:lnTo>
                    <a:pt x="301" y="705"/>
                  </a:lnTo>
                  <a:lnTo>
                    <a:pt x="301" y="77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115" name="AutoShape 4"/>
          <p:cNvSpPr>
            <a:spLocks noChangeAspect="1" noChangeArrowheads="1" noTextEdit="1"/>
          </p:cNvSpPr>
          <p:nvPr/>
        </p:nvSpPr>
        <p:spPr bwMode="auto">
          <a:xfrm>
            <a:off x="5844301" y="1808388"/>
            <a:ext cx="918665" cy="3170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16" name="Рисунок 115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185" name="TextBox 184"/>
          <p:cNvSpPr txBox="1"/>
          <p:nvPr/>
        </p:nvSpPr>
        <p:spPr>
          <a:xfrm>
            <a:off x="394574" y="1545718"/>
            <a:ext cx="6301256" cy="461665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Open Sans" pitchFamily="34" charset="0"/>
                <a:ea typeface="Open Sans" pitchFamily="34" charset="0"/>
                <a:cs typeface="Open Sans" pitchFamily="34" charset="0"/>
              </a:rPr>
              <a:t>УМК </a:t>
            </a:r>
            <a:r>
              <a:rPr lang="ru-RU" sz="2400" b="1" dirty="0" smtClean="0">
                <a:solidFill>
                  <a:srgbClr val="002060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Л.Э. </a:t>
            </a:r>
            <a:r>
              <a:rPr lang="ru-RU" sz="2400" b="1" dirty="0" err="1" smtClean="0">
                <a:solidFill>
                  <a:srgbClr val="002060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Генденштейна</a:t>
            </a:r>
            <a:endParaRPr kumimoji="0" lang="ru-RU" sz="24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grpSp>
        <p:nvGrpSpPr>
          <p:cNvPr id="186" name="Группа 185"/>
          <p:cNvGrpSpPr/>
          <p:nvPr/>
        </p:nvGrpSpPr>
        <p:grpSpPr>
          <a:xfrm>
            <a:off x="339553" y="260649"/>
            <a:ext cx="1268960" cy="438775"/>
            <a:chOff x="254665" y="195486"/>
            <a:chExt cx="951720" cy="329081"/>
          </a:xfrm>
        </p:grpSpPr>
        <p:sp>
          <p:nvSpPr>
            <p:cNvPr id="187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8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9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0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1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2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3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4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5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6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7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8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9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0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pic>
        <p:nvPicPr>
          <p:cNvPr id="50" name="Picture 4" descr="Физика. 7 класс: учебник в 2 ч. Ч. 1"/>
          <p:cNvPicPr>
            <a:picLocks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605688" y="2738785"/>
            <a:ext cx="1512658" cy="2117682"/>
          </a:xfrm>
          <a:prstGeom prst="rect">
            <a:avLst/>
          </a:prstGeom>
          <a:noFill/>
          <a:ln>
            <a:noFill/>
          </a:ln>
        </p:spPr>
      </p:pic>
      <p:pic>
        <p:nvPicPr>
          <p:cNvPr id="51" name="Picture 10" descr="Физика. 8 класс: учебник в 2 ч. Ч. 1"/>
          <p:cNvPicPr>
            <a:picLocks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2691704" y="2738785"/>
            <a:ext cx="1431029" cy="2117682"/>
          </a:xfrm>
          <a:prstGeom prst="rect">
            <a:avLst/>
          </a:prstGeom>
          <a:noFill/>
          <a:ln>
            <a:noFill/>
          </a:ln>
        </p:spPr>
      </p:pic>
      <p:pic>
        <p:nvPicPr>
          <p:cNvPr id="53" name="Picture 14" descr="Физика. 9 класс: учебник в 2 ч. Ч. 1"/>
          <p:cNvPicPr>
            <a:picLocks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4698029" y="2738785"/>
            <a:ext cx="1471653" cy="2117682"/>
          </a:xfrm>
          <a:prstGeom prst="rect">
            <a:avLst/>
          </a:prstGeom>
          <a:noFill/>
          <a:ln>
            <a:noFill/>
          </a:ln>
        </p:spPr>
      </p:pic>
      <p:sp>
        <p:nvSpPr>
          <p:cNvPr id="54" name="Прямоугольник 53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335360" y="6516869"/>
            <a:ext cx="3411921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914377">
              <a:defRPr/>
            </a:pPr>
            <a:r>
              <a:rPr lang="ru-RU" sz="1200" dirty="0">
                <a:solidFill>
                  <a:prstClr val="white">
                    <a:lumMod val="65000"/>
                  </a:prstClr>
                </a:solidFill>
                <a:latin typeface="Calibri"/>
              </a:rPr>
              <a:t>© АО «Издательство «Просвещение», 20</a:t>
            </a:r>
            <a:r>
              <a:rPr lang="en-US" sz="1200" dirty="0" smtClean="0">
                <a:solidFill>
                  <a:prstClr val="white">
                    <a:lumMod val="65000"/>
                  </a:prstClr>
                </a:solidFill>
                <a:latin typeface="Calibri"/>
              </a:rPr>
              <a:t>21</a:t>
            </a:r>
            <a:endParaRPr lang="ru-RU" sz="1200" dirty="0">
              <a:solidFill>
                <a:prstClr val="white">
                  <a:lumMod val="6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1089989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Прямоугольник 47"/>
          <p:cNvSpPr/>
          <p:nvPr/>
        </p:nvSpPr>
        <p:spPr>
          <a:xfrm>
            <a:off x="-3051" y="886395"/>
            <a:ext cx="12192000" cy="3235205"/>
          </a:xfrm>
          <a:prstGeom prst="rect">
            <a:avLst/>
          </a:prstGeom>
          <a:solidFill>
            <a:srgbClr val="F0F8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grpSp>
        <p:nvGrpSpPr>
          <p:cNvPr id="4" name="Группа 3"/>
          <p:cNvGrpSpPr/>
          <p:nvPr/>
        </p:nvGrpSpPr>
        <p:grpSpPr>
          <a:xfrm>
            <a:off x="339553" y="260649"/>
            <a:ext cx="1268960" cy="438775"/>
            <a:chOff x="254665" y="195486"/>
            <a:chExt cx="951720" cy="329081"/>
          </a:xfrm>
        </p:grpSpPr>
        <p:sp>
          <p:nvSpPr>
            <p:cNvPr id="32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33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34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35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36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37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38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39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40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41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42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43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44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45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</p:grpSp>
      <p:cxnSp>
        <p:nvCxnSpPr>
          <p:cNvPr id="47" name="Прямая соединительная линия 46"/>
          <p:cNvCxnSpPr/>
          <p:nvPr/>
        </p:nvCxnSpPr>
        <p:spPr>
          <a:xfrm>
            <a:off x="1967541" y="0"/>
            <a:ext cx="0" cy="670171"/>
          </a:xfrm>
          <a:prstGeom prst="line">
            <a:avLst/>
          </a:prstGeom>
          <a:ln w="6350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29259" y="6432715"/>
            <a:ext cx="719403" cy="356659"/>
          </a:xfrm>
        </p:spPr>
        <p:txBody>
          <a:bodyPr/>
          <a:lstStyle/>
          <a:p>
            <a:fld id="{00000000-1234-1234-1234-123412341234}" type="slidenum">
              <a:rPr lang="en" sz="1600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</a:rPr>
              <a:pPr/>
              <a:t>36</a:t>
            </a:fld>
            <a:endParaRPr lang="en" sz="1600" dirty="0">
              <a:solidFill>
                <a:schemeClr val="tx1">
                  <a:lumMod val="75000"/>
                  <a:lumOff val="25000"/>
                </a:schemeClr>
              </a:solidFill>
              <a:latin typeface="Calibri" pitchFamily="34" charset="0"/>
            </a:endParaRPr>
          </a:p>
        </p:txBody>
      </p:sp>
      <p:sp>
        <p:nvSpPr>
          <p:cNvPr id="21" name="Прямоугольник 20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335360" y="6516869"/>
            <a:ext cx="3411921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914377">
              <a:defRPr/>
            </a:pPr>
            <a:r>
              <a:rPr lang="ru-RU" sz="1200" dirty="0">
                <a:solidFill>
                  <a:prstClr val="white">
                    <a:lumMod val="65000"/>
                  </a:prstClr>
                </a:solidFill>
                <a:latin typeface="Calibri"/>
              </a:rPr>
              <a:t>© АО «Издательство «Просвещение», 20</a:t>
            </a:r>
            <a:r>
              <a:rPr lang="en-US" sz="1200" dirty="0" smtClean="0">
                <a:solidFill>
                  <a:prstClr val="white">
                    <a:lumMod val="65000"/>
                  </a:prstClr>
                </a:solidFill>
                <a:latin typeface="Calibri"/>
              </a:rPr>
              <a:t>21</a:t>
            </a:r>
            <a:endParaRPr lang="ru-RU" sz="1200" dirty="0">
              <a:solidFill>
                <a:prstClr val="white">
                  <a:lumMod val="65000"/>
                </a:prstClr>
              </a:solidFill>
              <a:latin typeface="Calibri"/>
            </a:endParaRPr>
          </a:p>
        </p:txBody>
      </p:sp>
      <p:pic>
        <p:nvPicPr>
          <p:cNvPr id="22" name="Picture 4" descr="Физика. 7 класс: учебник в 2 ч. Ч. 1"/>
          <p:cNvPicPr>
            <a:picLocks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29975" y="977011"/>
            <a:ext cx="1512658" cy="2117682"/>
          </a:xfrm>
          <a:prstGeom prst="rect">
            <a:avLst/>
          </a:prstGeom>
          <a:noFill/>
          <a:ln>
            <a:noFill/>
          </a:ln>
        </p:spPr>
      </p:pic>
      <p:pic>
        <p:nvPicPr>
          <p:cNvPr id="24" name="Picture 10" descr="Физика. 8 класс: учебник в 2 ч. Ч. 1"/>
          <p:cNvPicPr>
            <a:picLocks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097502" y="1389392"/>
            <a:ext cx="1431029" cy="2117682"/>
          </a:xfrm>
          <a:prstGeom prst="rect">
            <a:avLst/>
          </a:prstGeom>
          <a:noFill/>
          <a:ln>
            <a:noFill/>
          </a:ln>
        </p:spPr>
      </p:pic>
      <p:pic>
        <p:nvPicPr>
          <p:cNvPr id="25" name="Picture 14" descr="Физика. 9 класс: учебник в 2 ч. Ч. 1"/>
          <p:cNvPicPr>
            <a:picLocks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1967541" y="1763985"/>
            <a:ext cx="1471653" cy="2117682"/>
          </a:xfrm>
          <a:prstGeom prst="rect">
            <a:avLst/>
          </a:prstGeom>
          <a:noFill/>
          <a:ln>
            <a:noFill/>
          </a:ln>
        </p:spPr>
      </p:pic>
      <p:sp>
        <p:nvSpPr>
          <p:cNvPr id="28" name="TextBox 27">
            <a:extLst>
              <a:ext uri="{FF2B5EF4-FFF2-40B4-BE49-F238E27FC236}">
                <a16:creationId xmlns:a16="http://schemas.microsoft.com/office/drawing/2014/main" id="{FB25405E-64C1-4201-BC05-5BD778325DF2}"/>
              </a:ext>
            </a:extLst>
          </p:cNvPr>
          <p:cNvSpPr txBox="1"/>
          <p:nvPr/>
        </p:nvSpPr>
        <p:spPr>
          <a:xfrm>
            <a:off x="6096243" y="4185552"/>
            <a:ext cx="2370789" cy="3277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ea typeface="Cambria" panose="02040503050406030204" pitchFamily="18" charset="0"/>
                <a:cs typeface="Open Sans Condensed" pitchFamily="34" charset="0"/>
              </a:rPr>
              <a:t>Состав УМК: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2259958" y="47977"/>
            <a:ext cx="438826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dirty="0" smtClean="0">
                <a:solidFill>
                  <a:srgbClr val="002060"/>
                </a:solidFill>
              </a:rPr>
              <a:t>Линия </a:t>
            </a:r>
            <a:r>
              <a:rPr lang="ru-RU" sz="2000" b="1" dirty="0" smtClean="0">
                <a:solidFill>
                  <a:srgbClr val="FF0000"/>
                </a:solidFill>
              </a:rPr>
              <a:t>УМК Л.Э. </a:t>
            </a:r>
            <a:r>
              <a:rPr lang="ru-RU" sz="2000" b="1" dirty="0" err="1" smtClean="0">
                <a:solidFill>
                  <a:srgbClr val="FF0000"/>
                </a:solidFill>
              </a:rPr>
              <a:t>Генденштейна</a:t>
            </a:r>
            <a:endParaRPr lang="ru-RU" sz="2000" b="1" dirty="0">
              <a:solidFill>
                <a:srgbClr val="FF0000"/>
              </a:solidFill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7BE1C79A-BB3D-4364-AA65-F5F458A1A033}"/>
              </a:ext>
            </a:extLst>
          </p:cNvPr>
          <p:cNvSpPr txBox="1"/>
          <p:nvPr/>
        </p:nvSpPr>
        <p:spPr>
          <a:xfrm rot="10800000" flipV="1">
            <a:off x="3329371" y="4566720"/>
            <a:ext cx="8719290" cy="15050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ru-RU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ea typeface="Cambria" panose="02040503050406030204" pitchFamily="18" charset="0"/>
                <a:cs typeface="Times New Roman" panose="02020603050405020304" pitchFamily="18" charset="0"/>
              </a:rPr>
              <a:t>Учебник </a:t>
            </a:r>
            <a:endParaRPr kumimoji="0" lang="ru-RU" b="0" i="0" u="none" strike="noStrike" kern="1200" cap="none" spc="0" normalizeH="0" baseline="0" noProof="0" dirty="0" smtClean="0">
              <a:ln>
                <a:noFill/>
              </a:ln>
              <a:solidFill>
                <a:srgbClr val="002060"/>
              </a:solidFill>
              <a:effectLst/>
              <a:uLnTx/>
              <a:uFillTx/>
              <a:ea typeface="Cambria" panose="02040503050406030204" pitchFamily="18" charset="0"/>
              <a:cs typeface="Times New Roman" panose="02020603050405020304" pitchFamily="18" charset="0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lang="ru-RU" dirty="0" smtClean="0">
                <a:solidFill>
                  <a:srgbClr val="002060"/>
                </a:solidFill>
                <a:ea typeface="Cambria" panose="02040503050406030204" pitchFamily="18" charset="0"/>
                <a:cs typeface="Times New Roman" panose="02020603050405020304" pitchFamily="18" charset="0"/>
              </a:rPr>
              <a:t>Рабочая программа</a:t>
            </a:r>
          </a:p>
          <a:p>
            <a:pPr marL="342900" lvl="0" indent="-342900">
              <a:lnSpc>
                <a:spcPct val="85000"/>
              </a:lnSpc>
              <a:buFontTx/>
              <a:buAutoNum type="arabicPeriod"/>
              <a:defRPr/>
            </a:pPr>
            <a:r>
              <a:rPr kumimoji="0" lang="ru-RU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ea typeface="Cambria" panose="02040503050406030204" pitchFamily="18" charset="0"/>
                <a:cs typeface="Times New Roman" panose="02020603050405020304" pitchFamily="18" charset="0"/>
              </a:rPr>
              <a:t>Поурочные методические рекомендации</a:t>
            </a:r>
            <a:endParaRPr kumimoji="0" lang="ru-RU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ea typeface="Cambria" panose="02040503050406030204" pitchFamily="18" charset="0"/>
              <a:cs typeface="Times New Roman" panose="02020603050405020304" pitchFamily="18" charset="0"/>
            </a:endParaRPr>
          </a:p>
          <a:p>
            <a:pPr marL="342900" indent="-342900">
              <a:lnSpc>
                <a:spcPct val="85000"/>
              </a:lnSpc>
              <a:buFontTx/>
              <a:buAutoNum type="arabicPeriod"/>
              <a:defRPr/>
            </a:pPr>
            <a:r>
              <a:rPr lang="ru-RU" dirty="0">
                <a:solidFill>
                  <a:srgbClr val="002060"/>
                </a:solidFill>
                <a:ea typeface="Cambria" panose="02040503050406030204" pitchFamily="18" charset="0"/>
              </a:rPr>
              <a:t>Методическое  пособие  с указаниями к решению некоторых олимпиадных задач</a:t>
            </a:r>
          </a:p>
          <a:p>
            <a:pPr marL="342900" lvl="0" indent="-342900">
              <a:lnSpc>
                <a:spcPct val="85000"/>
              </a:lnSpc>
              <a:buFontTx/>
              <a:buAutoNum type="arabicPeriod"/>
              <a:defRPr/>
            </a:pPr>
            <a:r>
              <a:rPr kumimoji="0" lang="ru-RU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ea typeface="Cambria" panose="02040503050406030204" pitchFamily="18" charset="0"/>
                <a:cs typeface="Times New Roman" panose="02020603050405020304" pitchFamily="18" charset="0"/>
              </a:rPr>
              <a:t>Сборник </a:t>
            </a:r>
            <a:r>
              <a:rPr kumimoji="0" lang="ru-RU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ea typeface="Cambria" panose="02040503050406030204" pitchFamily="18" charset="0"/>
                <a:cs typeface="Times New Roman" panose="02020603050405020304" pitchFamily="18" charset="0"/>
              </a:rPr>
              <a:t>лабораторных, самостоятельных и контрольных </a:t>
            </a:r>
            <a:r>
              <a:rPr kumimoji="0" lang="ru-RU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ea typeface="Cambria" panose="02040503050406030204" pitchFamily="18" charset="0"/>
                <a:cs typeface="Times New Roman" panose="02020603050405020304" pitchFamily="18" charset="0"/>
              </a:rPr>
              <a:t>работ</a:t>
            </a:r>
          </a:p>
          <a:p>
            <a:pPr marL="342900" marR="0" lvl="0" indent="-34290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endParaRPr kumimoji="0" lang="ru-RU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ea typeface="Cambria" panose="02040503050406030204" pitchFamily="18" charset="0"/>
              <a:cs typeface="Open Sans Condensed" pitchFamily="34" charset="0"/>
            </a:endParaRPr>
          </a:p>
        </p:txBody>
      </p:sp>
      <p:sp>
        <p:nvSpPr>
          <p:cNvPr id="31" name="Содержимое 2">
            <a:extLst>
              <a:ext uri="{FF2B5EF4-FFF2-40B4-BE49-F238E27FC236}">
                <a16:creationId xmlns:a16="http://schemas.microsoft.com/office/drawing/2014/main" id="{C4296FE0-7477-47E4-8204-C51C37D6FF18}"/>
              </a:ext>
            </a:extLst>
          </p:cNvPr>
          <p:cNvSpPr txBox="1">
            <a:spLocks/>
          </p:cNvSpPr>
          <p:nvPr/>
        </p:nvSpPr>
        <p:spPr>
          <a:xfrm>
            <a:off x="3713225" y="1683629"/>
            <a:ext cx="7942981" cy="2616509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R="0" lvl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ru-RU" sz="1600" b="0" i="0" u="none" strike="noStrike" kern="10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mbria" panose="02040503050406030204" pitchFamily="18" charset="0"/>
                <a:ea typeface="Cambria" panose="02040503050406030204" pitchFamily="18" charset="0"/>
                <a:cs typeface="Times New Roman" pitchFamily="18" charset="0"/>
              </a:rPr>
              <a:t>При изложении материала использован</a:t>
            </a:r>
            <a:r>
              <a:rPr kumimoji="0" lang="ru-RU" sz="1600" b="0" i="0" u="none" strike="noStrike" kern="1000" cap="none" spc="0" normalizeH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mbria" panose="02040503050406030204" pitchFamily="18" charset="0"/>
                <a:ea typeface="Cambria" panose="02040503050406030204" pitchFamily="18" charset="0"/>
                <a:cs typeface="Times New Roman" pitchFamily="18" charset="0"/>
              </a:rPr>
              <a:t> метод ключевых ситуаций</a:t>
            </a:r>
          </a:p>
          <a:p>
            <a:pPr lvl="0">
              <a:lnSpc>
                <a:spcPct val="150000"/>
              </a:lnSpc>
              <a:spcBef>
                <a:spcPts val="0"/>
              </a:spcBef>
              <a:buClr>
                <a:prstClr val="black"/>
              </a:buClr>
              <a:buFont typeface="Wingdings" panose="05000000000000000000" pitchFamily="2" charset="2"/>
              <a:buChar char="ü"/>
              <a:defRPr/>
            </a:pPr>
            <a:r>
              <a:rPr lang="ru-RU" sz="1600" kern="1000" dirty="0" smtClean="0">
                <a:solidFill>
                  <a:srgbClr val="002060"/>
                </a:solidFill>
                <a:latin typeface="Cambria" panose="02040503050406030204" pitchFamily="18" charset="0"/>
                <a:ea typeface="Cambria" panose="02040503050406030204" pitchFamily="18" charset="0"/>
                <a:cs typeface="Times New Roman" pitchFamily="18" charset="0"/>
              </a:rPr>
              <a:t>Представлены </a:t>
            </a:r>
            <a:r>
              <a:rPr lang="ru-RU" sz="1600" kern="1000" dirty="0">
                <a:solidFill>
                  <a:srgbClr val="002060"/>
                </a:solidFill>
                <a:latin typeface="Cambria" panose="02040503050406030204" pitchFamily="18" charset="0"/>
                <a:ea typeface="Cambria" panose="02040503050406030204" pitchFamily="18" charset="0"/>
                <a:cs typeface="Times New Roman" pitchFamily="18" charset="0"/>
              </a:rPr>
              <a:t>задания на </a:t>
            </a:r>
            <a:r>
              <a:rPr lang="ru-RU" sz="1600" kern="1000" dirty="0" err="1" smtClean="0">
                <a:solidFill>
                  <a:srgbClr val="002060"/>
                </a:solidFill>
                <a:latin typeface="Cambria" panose="02040503050406030204" pitchFamily="18" charset="0"/>
                <a:ea typeface="Cambria" panose="02040503050406030204" pitchFamily="18" charset="0"/>
                <a:cs typeface="Times New Roman" pitchFamily="18" charset="0"/>
              </a:rPr>
              <a:t>межпредметную</a:t>
            </a:r>
            <a:r>
              <a:rPr lang="ru-RU" sz="1600" kern="1000" dirty="0" smtClean="0">
                <a:solidFill>
                  <a:srgbClr val="002060"/>
                </a:solidFill>
                <a:latin typeface="Cambria" panose="02040503050406030204" pitchFamily="18" charset="0"/>
                <a:ea typeface="Cambria" panose="02040503050406030204" pitchFamily="18" charset="0"/>
                <a:cs typeface="Times New Roman" pitchFamily="18" charset="0"/>
              </a:rPr>
              <a:t> связь</a:t>
            </a:r>
            <a:r>
              <a:rPr lang="ru-RU" sz="1600" kern="1000" dirty="0">
                <a:solidFill>
                  <a:srgbClr val="002060"/>
                </a:solidFill>
                <a:latin typeface="Cambria" panose="02040503050406030204" pitchFamily="18" charset="0"/>
                <a:ea typeface="Cambria" panose="02040503050406030204" pitchFamily="18" charset="0"/>
                <a:cs typeface="Times New Roman" pitchFamily="18" charset="0"/>
              </a:rPr>
              <a:t>, проектную и исследовательскую </a:t>
            </a:r>
            <a:r>
              <a:rPr lang="ru-RU" sz="1600" kern="1000" dirty="0" smtClean="0">
                <a:solidFill>
                  <a:srgbClr val="002060"/>
                </a:solidFill>
                <a:latin typeface="Cambria" panose="02040503050406030204" pitchFamily="18" charset="0"/>
                <a:ea typeface="Cambria" panose="02040503050406030204" pitchFamily="18" charset="0"/>
                <a:cs typeface="Times New Roman" pitchFamily="18" charset="0"/>
              </a:rPr>
              <a:t>деятельность</a:t>
            </a:r>
            <a:endParaRPr lang="ru-RU" sz="1600" kern="1000" dirty="0">
              <a:solidFill>
                <a:srgbClr val="002060"/>
              </a:solidFill>
              <a:latin typeface="Cambria" panose="02040503050406030204" pitchFamily="18" charset="0"/>
              <a:ea typeface="Cambria" panose="02040503050406030204" pitchFamily="18" charset="0"/>
              <a:cs typeface="Times New Roman" pitchFamily="18" charset="0"/>
            </a:endParaRPr>
          </a:p>
          <a:p>
            <a:pPr marR="0" lvl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ru-RU" sz="1600" b="0" i="0" u="none" strike="noStrike" kern="10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mbria" panose="02040503050406030204" pitchFamily="18" charset="0"/>
                <a:ea typeface="Cambria" panose="02040503050406030204" pitchFamily="18" charset="0"/>
                <a:cs typeface="Times New Roman" pitchFamily="18" charset="0"/>
              </a:rPr>
              <a:t>Представлены </a:t>
            </a:r>
            <a:r>
              <a:rPr kumimoji="0" lang="ru-RU" sz="1600" b="0" i="0" u="none" strike="noStrike" kern="10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mbria" panose="02040503050406030204" pitchFamily="18" charset="0"/>
                <a:ea typeface="Cambria" panose="02040503050406030204" pitchFamily="18" charset="0"/>
                <a:cs typeface="Times New Roman" pitchFamily="18" charset="0"/>
              </a:rPr>
              <a:t>все типы лабораторных </a:t>
            </a:r>
            <a:r>
              <a:rPr kumimoji="0" lang="ru-RU" sz="1600" b="0" i="0" u="none" strike="noStrike" kern="10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mbria" panose="02040503050406030204" pitchFamily="18" charset="0"/>
                <a:ea typeface="Cambria" panose="02040503050406030204" pitchFamily="18" charset="0"/>
                <a:cs typeface="Times New Roman" pitchFamily="18" charset="0"/>
              </a:rPr>
              <a:t>работ</a:t>
            </a:r>
          </a:p>
          <a:p>
            <a:pPr lvl="0">
              <a:lnSpc>
                <a:spcPct val="150000"/>
              </a:lnSpc>
              <a:spcBef>
                <a:spcPts val="0"/>
              </a:spcBef>
              <a:buClr>
                <a:prstClr val="black"/>
              </a:buClr>
              <a:buFont typeface="Wingdings" panose="05000000000000000000" pitchFamily="2" charset="2"/>
              <a:buChar char="ü"/>
              <a:defRPr/>
            </a:pPr>
            <a:r>
              <a:rPr lang="ru-RU" sz="1600" kern="1000" dirty="0">
                <a:solidFill>
                  <a:srgbClr val="002060"/>
                </a:solidFill>
                <a:latin typeface="Cambria" panose="02040503050406030204" pitchFamily="18" charset="0"/>
                <a:ea typeface="Cambria" panose="02040503050406030204" pitchFamily="18" charset="0"/>
                <a:cs typeface="Times New Roman" pitchFamily="18" charset="0"/>
              </a:rPr>
              <a:t>Преемственность с </a:t>
            </a:r>
            <a:r>
              <a:rPr lang="ru-RU" sz="1600" kern="1000" dirty="0" smtClean="0">
                <a:solidFill>
                  <a:srgbClr val="002060"/>
                </a:solidFill>
                <a:latin typeface="Cambria" panose="02040503050406030204" pitchFamily="18" charset="0"/>
                <a:ea typeface="Cambria" panose="02040503050406030204" pitchFamily="18" charset="0"/>
                <a:cs typeface="Times New Roman" pitchFamily="18" charset="0"/>
              </a:rPr>
              <a:t>линией УМК Л.Э. </a:t>
            </a:r>
            <a:r>
              <a:rPr lang="ru-RU" sz="1600" kern="1000" dirty="0" err="1" smtClean="0">
                <a:solidFill>
                  <a:srgbClr val="002060"/>
                </a:solidFill>
                <a:latin typeface="Cambria" panose="02040503050406030204" pitchFamily="18" charset="0"/>
                <a:ea typeface="Cambria" panose="02040503050406030204" pitchFamily="18" charset="0"/>
                <a:cs typeface="Times New Roman" pitchFamily="18" charset="0"/>
              </a:rPr>
              <a:t>Генденштейна</a:t>
            </a:r>
            <a:r>
              <a:rPr lang="ru-RU" sz="1600" kern="1000" dirty="0" smtClean="0">
                <a:solidFill>
                  <a:srgbClr val="002060"/>
                </a:solidFill>
                <a:latin typeface="Cambria" panose="02040503050406030204" pitchFamily="18" charset="0"/>
                <a:ea typeface="Cambria" panose="02040503050406030204" pitchFamily="18" charset="0"/>
                <a:cs typeface="Times New Roman" pitchFamily="18" charset="0"/>
              </a:rPr>
              <a:t> в </a:t>
            </a:r>
            <a:r>
              <a:rPr lang="ru-RU" sz="1600" kern="1000" dirty="0">
                <a:solidFill>
                  <a:srgbClr val="002060"/>
                </a:solidFill>
                <a:latin typeface="Cambria" panose="02040503050406030204" pitchFamily="18" charset="0"/>
                <a:ea typeface="Cambria" panose="02040503050406030204" pitchFamily="18" charset="0"/>
                <a:cs typeface="Times New Roman" pitchFamily="18" charset="0"/>
              </a:rPr>
              <a:t>средней </a:t>
            </a:r>
            <a:r>
              <a:rPr lang="ru-RU" sz="1600" kern="1000" dirty="0" smtClean="0">
                <a:solidFill>
                  <a:srgbClr val="002060"/>
                </a:solidFill>
                <a:latin typeface="Cambria" panose="02040503050406030204" pitchFamily="18" charset="0"/>
                <a:ea typeface="Cambria" panose="02040503050406030204" pitchFamily="18" charset="0"/>
                <a:cs typeface="Times New Roman" pitchFamily="18" charset="0"/>
              </a:rPr>
              <a:t>школе</a:t>
            </a:r>
            <a:endParaRPr lang="ru-RU" sz="1600" kern="1000" dirty="0">
              <a:solidFill>
                <a:srgbClr val="002060"/>
              </a:solidFill>
              <a:latin typeface="Cambria" panose="02040503050406030204" pitchFamily="18" charset="0"/>
              <a:ea typeface="Cambria" panose="02040503050406030204" pitchFamily="18" charset="0"/>
              <a:cs typeface="Times New Roman" pitchFamily="18" charset="0"/>
            </a:endParaRPr>
          </a:p>
        </p:txBody>
      </p:sp>
      <p:sp>
        <p:nvSpPr>
          <p:cNvPr id="46" name="Прямоугольник 45"/>
          <p:cNvSpPr/>
          <p:nvPr/>
        </p:nvSpPr>
        <p:spPr>
          <a:xfrm>
            <a:off x="875103" y="4092347"/>
            <a:ext cx="1653428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ea typeface="Cambria" panose="02040503050406030204" pitchFamily="18" charset="0"/>
                <a:cs typeface="Calibri" panose="020F0502020204030204" pitchFamily="34" charset="0"/>
              </a:rPr>
              <a:t>В ФПУ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ea typeface="Cambria" panose="02040503050406030204" pitchFamily="18" charset="0"/>
                <a:cs typeface="Calibri" panose="020F0502020204030204" pitchFamily="34" charset="0"/>
              </a:rPr>
              <a:t>1.1.2.5.1.2.1</a:t>
            </a: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ea typeface="Cambria" panose="02040503050406030204" pitchFamily="18" charset="0"/>
              <a:cs typeface="Calibri" panose="020F050202020403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ea typeface="Cambria" panose="02040503050406030204" pitchFamily="18" charset="0"/>
                <a:cs typeface="Calibri" panose="020F0502020204030204" pitchFamily="34" charset="0"/>
              </a:rPr>
              <a:t>1.1.2.5.1.2.2</a:t>
            </a: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ea typeface="Cambria" panose="02040503050406030204" pitchFamily="18" charset="0"/>
              <a:cs typeface="Calibri" panose="020F050202020403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ea typeface="Cambria" panose="02040503050406030204" pitchFamily="18" charset="0"/>
                <a:cs typeface="Calibri" panose="020F0502020204030204" pitchFamily="34" charset="0"/>
              </a:rPr>
              <a:t>1.1.2.5.1.2.3</a:t>
            </a: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ea typeface="Cambria" panose="02040503050406030204" pitchFamily="18" charset="0"/>
              <a:cs typeface="Calibri" panose="020F0502020204030204" pitchFamily="34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3747280" y="920972"/>
            <a:ext cx="7173761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dirty="0">
                <a:solidFill>
                  <a:srgbClr val="FF0000"/>
                </a:solidFill>
              </a:rPr>
              <a:t>Современный курс по физике, ориентированный на самостоятельную экспериментальную деятельность учащихся</a:t>
            </a:r>
          </a:p>
        </p:txBody>
      </p:sp>
    </p:spTree>
    <p:extLst>
      <p:ext uri="{BB962C8B-B14F-4D97-AF65-F5344CB8AC3E}">
        <p14:creationId xmlns:p14="http://schemas.microsoft.com/office/powerpoint/2010/main" val="26172363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Прямоугольник 44"/>
          <p:cNvSpPr/>
          <p:nvPr/>
        </p:nvSpPr>
        <p:spPr>
          <a:xfrm>
            <a:off x="7010143" y="-70075"/>
            <a:ext cx="5177889" cy="6888480"/>
          </a:xfrm>
          <a:prstGeom prst="rect">
            <a:avLst/>
          </a:prstGeom>
          <a:solidFill>
            <a:srgbClr val="D8EBF4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id="{C57A16CD-55A2-4F01-A658-438A93B431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796" name="Слайд think-cell" r:id="rId5" imgW="359" imgH="360" progId="TCLayout.ActiveDocument.1">
                  <p:embed/>
                </p:oleObj>
              </mc:Choice>
              <mc:Fallback>
                <p:oleObj name="Слайд think-cell" r:id="rId5" imgW="359" imgH="360" progId="TCLayout.ActiveDocument.1">
                  <p:embed/>
                  <p:pic>
                    <p:nvPicPr>
                      <p:cNvPr id="4" name="Объект 3" hidden="1">
                        <a:extLst>
                          <a:ext uri="{FF2B5EF4-FFF2-40B4-BE49-F238E27FC236}">
                            <a16:creationId xmlns:a16="http://schemas.microsoft.com/office/drawing/2014/main" id="{C57A16CD-55A2-4F01-A658-438A93B431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Номер слайда 8"/>
          <p:cNvSpPr txBox="1">
            <a:spLocks/>
          </p:cNvSpPr>
          <p:nvPr/>
        </p:nvSpPr>
        <p:spPr>
          <a:xfrm>
            <a:off x="8763000" y="65087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8" name="Прямоугольник 27"/>
          <p:cNvSpPr/>
          <p:nvPr/>
        </p:nvSpPr>
        <p:spPr>
          <a:xfrm>
            <a:off x="7219412" y="1844967"/>
            <a:ext cx="3582899" cy="259558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ea typeface="Open Sans" panose="020B0606030504020204" pitchFamily="34" charset="0"/>
                <a:cs typeface="Open Sans" panose="020B0606030504020204" pitchFamily="34" charset="0"/>
              </a:rPr>
              <a:t>Содержание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Tx/>
              <a:buBlip>
                <a:blip r:embed="rId7"/>
              </a:buBlip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ea typeface="Open Sans" pitchFamily="34" charset="0"/>
                <a:cs typeface="Open Sans" pitchFamily="34" charset="0"/>
              </a:rPr>
              <a:t>Линия УМК 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ea typeface="Open Sans" pitchFamily="34" charset="0"/>
                <a:cs typeface="Open Sans" pitchFamily="34" charset="0"/>
              </a:rPr>
              <a:t>«Сферы»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ea typeface="Open Sans" pitchFamily="34" charset="0"/>
              <a:cs typeface="Open Sans" pitchFamily="34" charset="0"/>
            </a:endParaRPr>
          </a:p>
          <a:p>
            <a:pPr marL="285750" lvl="0" indent="-285750">
              <a:spcBef>
                <a:spcPts val="1600"/>
              </a:spcBef>
              <a:buBlip>
                <a:blip r:embed="rId7"/>
              </a:buBlip>
              <a:defRPr/>
            </a:pPr>
            <a:r>
              <a:rPr lang="ru-RU" sz="1400" dirty="0">
                <a:solidFill>
                  <a:srgbClr val="002060"/>
                </a:solidFill>
                <a:ea typeface="Open Sans" pitchFamily="34" charset="0"/>
                <a:cs typeface="Open Sans" pitchFamily="34" charset="0"/>
              </a:rPr>
              <a:t>Ёмкость без потери </a:t>
            </a:r>
            <a:r>
              <a:rPr lang="ru-RU" sz="1400" dirty="0" smtClean="0">
                <a:solidFill>
                  <a:srgbClr val="002060"/>
                </a:solidFill>
                <a:ea typeface="Open Sans" pitchFamily="34" charset="0"/>
                <a:cs typeface="Open Sans" pitchFamily="34" charset="0"/>
              </a:rPr>
              <a:t>содержания</a:t>
            </a:r>
          </a:p>
          <a:p>
            <a:pPr marL="285750" lvl="0" indent="-285750">
              <a:spcBef>
                <a:spcPts val="1600"/>
              </a:spcBef>
              <a:buBlip>
                <a:blip r:embed="rId7"/>
              </a:buBlip>
              <a:defRPr/>
            </a:pPr>
            <a:r>
              <a:rPr lang="ru-RU" sz="1400" dirty="0" smtClean="0">
                <a:solidFill>
                  <a:srgbClr val="002060"/>
                </a:solidFill>
                <a:ea typeface="Open Sans" pitchFamily="34" charset="0"/>
                <a:cs typeface="Open Sans" pitchFamily="34" charset="0"/>
              </a:rPr>
              <a:t>Упор </a:t>
            </a:r>
            <a:r>
              <a:rPr lang="ru-RU" sz="1400" dirty="0">
                <a:solidFill>
                  <a:srgbClr val="002060"/>
                </a:solidFill>
                <a:ea typeface="Open Sans" pitchFamily="34" charset="0"/>
                <a:cs typeface="Open Sans" pitchFamily="34" charset="0"/>
              </a:rPr>
              <a:t>на практическое применение </a:t>
            </a:r>
            <a:r>
              <a:rPr lang="ru-RU" sz="1400" dirty="0" smtClean="0">
                <a:solidFill>
                  <a:srgbClr val="002060"/>
                </a:solidFill>
                <a:ea typeface="Open Sans" pitchFamily="34" charset="0"/>
                <a:cs typeface="Open Sans" pitchFamily="34" charset="0"/>
              </a:rPr>
              <a:t>физики</a:t>
            </a:r>
          </a:p>
          <a:p>
            <a:pPr marL="285750" lvl="0" indent="-285750">
              <a:spcBef>
                <a:spcPts val="1600"/>
              </a:spcBef>
              <a:buBlip>
                <a:blip r:embed="rId7"/>
              </a:buBlip>
              <a:defRPr/>
            </a:pPr>
            <a:r>
              <a:rPr lang="ru-RU" sz="1400" dirty="0">
                <a:solidFill>
                  <a:srgbClr val="002060"/>
                </a:solidFill>
                <a:ea typeface="Open Sans" pitchFamily="34" charset="0"/>
                <a:cs typeface="Open Sans" pitchFamily="34" charset="0"/>
              </a:rPr>
              <a:t>Задачник и практикум с лабораторными работами в самом учебнике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Tx/>
              <a:buBlip>
                <a:blip r:embed="rId7"/>
              </a:buBlip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ea typeface="Open Sans" pitchFamily="34" charset="0"/>
                <a:cs typeface="Open Sans" pitchFamily="34" charset="0"/>
              </a:rPr>
              <a:t>Компоненты линии УМК «Сферы»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ea typeface="Open Sans" pitchFamily="34" charset="0"/>
              <a:cs typeface="Open Sans" pitchFamily="34" charset="0"/>
            </a:endParaRPr>
          </a:p>
        </p:txBody>
      </p:sp>
      <p:grpSp>
        <p:nvGrpSpPr>
          <p:cNvPr id="6" name="Группа 5"/>
          <p:cNvGrpSpPr/>
          <p:nvPr/>
        </p:nvGrpSpPr>
        <p:grpSpPr>
          <a:xfrm>
            <a:off x="11375669" y="-4589"/>
            <a:ext cx="813280" cy="6790912"/>
            <a:chOff x="8531752" y="-3442"/>
            <a:chExt cx="609960" cy="5093184"/>
          </a:xfrm>
        </p:grpSpPr>
        <p:sp>
          <p:nvSpPr>
            <p:cNvPr id="32" name="Rectangle 10"/>
            <p:cNvSpPr>
              <a:spLocks noChangeArrowheads="1"/>
            </p:cNvSpPr>
            <p:nvPr/>
          </p:nvSpPr>
          <p:spPr bwMode="auto">
            <a:xfrm>
              <a:off x="8531752" y="1693368"/>
              <a:ext cx="609272" cy="566063"/>
            </a:xfrm>
            <a:prstGeom prst="rect">
              <a:avLst/>
            </a:prstGeom>
            <a:solidFill>
              <a:srgbClr val="40D4E2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0" name="Rectangle 13"/>
            <p:cNvSpPr>
              <a:spLocks noChangeArrowheads="1"/>
            </p:cNvSpPr>
            <p:nvPr/>
          </p:nvSpPr>
          <p:spPr bwMode="auto">
            <a:xfrm>
              <a:off x="8531752" y="3957617"/>
              <a:ext cx="609272" cy="566063"/>
            </a:xfrm>
            <a:prstGeom prst="rect">
              <a:avLst/>
            </a:prstGeom>
            <a:solidFill>
              <a:srgbClr val="43D1A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1" name="Rectangle 14"/>
            <p:cNvSpPr>
              <a:spLocks noChangeArrowheads="1"/>
            </p:cNvSpPr>
            <p:nvPr/>
          </p:nvSpPr>
          <p:spPr bwMode="auto">
            <a:xfrm>
              <a:off x="8532440" y="3391554"/>
              <a:ext cx="609272" cy="566063"/>
            </a:xfrm>
            <a:prstGeom prst="rect">
              <a:avLst/>
            </a:prstGeom>
            <a:solidFill>
              <a:srgbClr val="5471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4" name="Rectangle 17"/>
            <p:cNvSpPr>
              <a:spLocks noChangeArrowheads="1"/>
            </p:cNvSpPr>
            <p:nvPr/>
          </p:nvSpPr>
          <p:spPr bwMode="auto">
            <a:xfrm>
              <a:off x="8531753" y="-3442"/>
              <a:ext cx="609272" cy="566063"/>
            </a:xfrm>
            <a:prstGeom prst="rect">
              <a:avLst/>
            </a:prstGeom>
            <a:solidFill>
              <a:srgbClr val="F5B1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6" name="Rectangle 19"/>
            <p:cNvSpPr>
              <a:spLocks noChangeArrowheads="1"/>
            </p:cNvSpPr>
            <p:nvPr/>
          </p:nvSpPr>
          <p:spPr bwMode="auto">
            <a:xfrm>
              <a:off x="8532440" y="2259429"/>
              <a:ext cx="609272" cy="566063"/>
            </a:xfrm>
            <a:prstGeom prst="rect">
              <a:avLst/>
            </a:prstGeom>
            <a:solidFill>
              <a:srgbClr val="40A7E1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8" name="Rectangle 21"/>
            <p:cNvSpPr>
              <a:spLocks noChangeArrowheads="1"/>
            </p:cNvSpPr>
            <p:nvPr/>
          </p:nvSpPr>
          <p:spPr bwMode="auto">
            <a:xfrm>
              <a:off x="8532440" y="4523679"/>
              <a:ext cx="609272" cy="566063"/>
            </a:xfrm>
            <a:prstGeom prst="rect">
              <a:avLst/>
            </a:prstGeom>
            <a:solidFill>
              <a:srgbClr val="F5B144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9" name="Rectangle 22"/>
            <p:cNvSpPr>
              <a:spLocks noChangeArrowheads="1"/>
            </p:cNvSpPr>
            <p:nvPr/>
          </p:nvSpPr>
          <p:spPr bwMode="auto">
            <a:xfrm>
              <a:off x="8531753" y="1127076"/>
              <a:ext cx="609272" cy="566063"/>
            </a:xfrm>
            <a:prstGeom prst="rect">
              <a:avLst/>
            </a:prstGeom>
            <a:solidFill>
              <a:srgbClr val="43D1A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2" name="Rectangle 25"/>
            <p:cNvSpPr>
              <a:spLocks noChangeArrowheads="1"/>
            </p:cNvSpPr>
            <p:nvPr/>
          </p:nvSpPr>
          <p:spPr bwMode="auto">
            <a:xfrm>
              <a:off x="8532440" y="2825491"/>
              <a:ext cx="609272" cy="566063"/>
            </a:xfrm>
            <a:prstGeom prst="rect">
              <a:avLst/>
            </a:prstGeom>
            <a:solidFill>
              <a:srgbClr val="4383D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6" name="Rectangle 29"/>
            <p:cNvSpPr>
              <a:spLocks noChangeArrowheads="1"/>
            </p:cNvSpPr>
            <p:nvPr/>
          </p:nvSpPr>
          <p:spPr bwMode="auto">
            <a:xfrm>
              <a:off x="8531753" y="561014"/>
              <a:ext cx="609272" cy="566063"/>
            </a:xfrm>
            <a:prstGeom prst="rect">
              <a:avLst/>
            </a:prstGeom>
            <a:solidFill>
              <a:srgbClr val="9ED4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9" name="Freeform 32"/>
            <p:cNvSpPr>
              <a:spLocks noEditPoints="1"/>
            </p:cNvSpPr>
            <p:nvPr/>
          </p:nvSpPr>
          <p:spPr bwMode="auto">
            <a:xfrm>
              <a:off x="8700607" y="1885691"/>
              <a:ext cx="271564" cy="203921"/>
            </a:xfrm>
            <a:custGeom>
              <a:avLst/>
              <a:gdLst>
                <a:gd name="T0" fmla="*/ 787 w 859"/>
                <a:gd name="T1" fmla="*/ 107 h 644"/>
                <a:gd name="T2" fmla="*/ 787 w 859"/>
                <a:gd name="T3" fmla="*/ 573 h 644"/>
                <a:gd name="T4" fmla="*/ 537 w 859"/>
                <a:gd name="T5" fmla="*/ 573 h 644"/>
                <a:gd name="T6" fmla="*/ 465 w 859"/>
                <a:gd name="T7" fmla="*/ 644 h 644"/>
                <a:gd name="T8" fmla="*/ 859 w 859"/>
                <a:gd name="T9" fmla="*/ 644 h 644"/>
                <a:gd name="T10" fmla="*/ 859 w 859"/>
                <a:gd name="T11" fmla="*/ 107 h 644"/>
                <a:gd name="T12" fmla="*/ 787 w 859"/>
                <a:gd name="T13" fmla="*/ 107 h 644"/>
                <a:gd name="T14" fmla="*/ 476 w 859"/>
                <a:gd name="T15" fmla="*/ 476 h 644"/>
                <a:gd name="T16" fmla="*/ 383 w 859"/>
                <a:gd name="T17" fmla="*/ 476 h 644"/>
                <a:gd name="T18" fmla="*/ 373 w 859"/>
                <a:gd name="T19" fmla="*/ 465 h 644"/>
                <a:gd name="T20" fmla="*/ 179 w 859"/>
                <a:gd name="T21" fmla="*/ 465 h 644"/>
                <a:gd name="T22" fmla="*/ 179 w 859"/>
                <a:gd name="T23" fmla="*/ 71 h 644"/>
                <a:gd name="T24" fmla="*/ 344 w 859"/>
                <a:gd name="T25" fmla="*/ 71 h 644"/>
                <a:gd name="T26" fmla="*/ 393 w 859"/>
                <a:gd name="T27" fmla="*/ 96 h 644"/>
                <a:gd name="T28" fmla="*/ 393 w 859"/>
                <a:gd name="T29" fmla="*/ 358 h 644"/>
                <a:gd name="T30" fmla="*/ 465 w 859"/>
                <a:gd name="T31" fmla="*/ 358 h 644"/>
                <a:gd name="T32" fmla="*/ 465 w 859"/>
                <a:gd name="T33" fmla="*/ 96 h 644"/>
                <a:gd name="T34" fmla="*/ 515 w 859"/>
                <a:gd name="T35" fmla="*/ 71 h 644"/>
                <a:gd name="T36" fmla="*/ 680 w 859"/>
                <a:gd name="T37" fmla="*/ 71 h 644"/>
                <a:gd name="T38" fmla="*/ 680 w 859"/>
                <a:gd name="T39" fmla="*/ 465 h 644"/>
                <a:gd name="T40" fmla="*/ 486 w 859"/>
                <a:gd name="T41" fmla="*/ 465 h 644"/>
                <a:gd name="T42" fmla="*/ 476 w 859"/>
                <a:gd name="T43" fmla="*/ 476 h 644"/>
                <a:gd name="T44" fmla="*/ 752 w 859"/>
                <a:gd name="T45" fmla="*/ 537 h 644"/>
                <a:gd name="T46" fmla="*/ 752 w 859"/>
                <a:gd name="T47" fmla="*/ 0 h 644"/>
                <a:gd name="T48" fmla="*/ 486 w 859"/>
                <a:gd name="T49" fmla="*/ 0 h 644"/>
                <a:gd name="T50" fmla="*/ 476 w 859"/>
                <a:gd name="T51" fmla="*/ 10 h 644"/>
                <a:gd name="T52" fmla="*/ 383 w 859"/>
                <a:gd name="T53" fmla="*/ 10 h 644"/>
                <a:gd name="T54" fmla="*/ 373 w 859"/>
                <a:gd name="T55" fmla="*/ 0 h 644"/>
                <a:gd name="T56" fmla="*/ 107 w 859"/>
                <a:gd name="T57" fmla="*/ 0 h 644"/>
                <a:gd name="T58" fmla="*/ 107 w 859"/>
                <a:gd name="T59" fmla="*/ 537 h 644"/>
                <a:gd name="T60" fmla="*/ 344 w 859"/>
                <a:gd name="T61" fmla="*/ 537 h 644"/>
                <a:gd name="T62" fmla="*/ 429 w 859"/>
                <a:gd name="T63" fmla="*/ 566 h 644"/>
                <a:gd name="T64" fmla="*/ 515 w 859"/>
                <a:gd name="T65" fmla="*/ 537 h 644"/>
                <a:gd name="T66" fmla="*/ 752 w 859"/>
                <a:gd name="T67" fmla="*/ 537 h 644"/>
                <a:gd name="T68" fmla="*/ 71 w 859"/>
                <a:gd name="T69" fmla="*/ 573 h 644"/>
                <a:gd name="T70" fmla="*/ 71 w 859"/>
                <a:gd name="T71" fmla="*/ 107 h 644"/>
                <a:gd name="T72" fmla="*/ 0 w 859"/>
                <a:gd name="T73" fmla="*/ 107 h 644"/>
                <a:gd name="T74" fmla="*/ 0 w 859"/>
                <a:gd name="T75" fmla="*/ 644 h 644"/>
                <a:gd name="T76" fmla="*/ 394 w 859"/>
                <a:gd name="T77" fmla="*/ 644 h 644"/>
                <a:gd name="T78" fmla="*/ 322 w 859"/>
                <a:gd name="T79" fmla="*/ 573 h 644"/>
                <a:gd name="T80" fmla="*/ 71 w 859"/>
                <a:gd name="T81" fmla="*/ 573 h 6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859" h="644">
                  <a:moveTo>
                    <a:pt x="787" y="107"/>
                  </a:moveTo>
                  <a:lnTo>
                    <a:pt x="787" y="573"/>
                  </a:lnTo>
                  <a:lnTo>
                    <a:pt x="537" y="573"/>
                  </a:lnTo>
                  <a:lnTo>
                    <a:pt x="465" y="644"/>
                  </a:lnTo>
                  <a:lnTo>
                    <a:pt x="859" y="644"/>
                  </a:lnTo>
                  <a:lnTo>
                    <a:pt x="859" y="107"/>
                  </a:lnTo>
                  <a:lnTo>
                    <a:pt x="787" y="107"/>
                  </a:lnTo>
                  <a:close/>
                  <a:moveTo>
                    <a:pt x="476" y="476"/>
                  </a:moveTo>
                  <a:cubicBezTo>
                    <a:pt x="450" y="501"/>
                    <a:pt x="409" y="501"/>
                    <a:pt x="383" y="476"/>
                  </a:cubicBezTo>
                  <a:lnTo>
                    <a:pt x="373" y="465"/>
                  </a:lnTo>
                  <a:lnTo>
                    <a:pt x="179" y="465"/>
                  </a:lnTo>
                  <a:lnTo>
                    <a:pt x="179" y="71"/>
                  </a:lnTo>
                  <a:lnTo>
                    <a:pt x="344" y="71"/>
                  </a:lnTo>
                  <a:cubicBezTo>
                    <a:pt x="359" y="71"/>
                    <a:pt x="393" y="91"/>
                    <a:pt x="393" y="96"/>
                  </a:cubicBezTo>
                  <a:lnTo>
                    <a:pt x="393" y="358"/>
                  </a:lnTo>
                  <a:lnTo>
                    <a:pt x="465" y="358"/>
                  </a:lnTo>
                  <a:lnTo>
                    <a:pt x="465" y="96"/>
                  </a:lnTo>
                  <a:cubicBezTo>
                    <a:pt x="465" y="91"/>
                    <a:pt x="500" y="71"/>
                    <a:pt x="515" y="71"/>
                  </a:cubicBezTo>
                  <a:lnTo>
                    <a:pt x="680" y="71"/>
                  </a:lnTo>
                  <a:lnTo>
                    <a:pt x="680" y="465"/>
                  </a:lnTo>
                  <a:lnTo>
                    <a:pt x="486" y="465"/>
                  </a:lnTo>
                  <a:lnTo>
                    <a:pt x="476" y="476"/>
                  </a:lnTo>
                  <a:close/>
                  <a:moveTo>
                    <a:pt x="752" y="537"/>
                  </a:moveTo>
                  <a:lnTo>
                    <a:pt x="752" y="0"/>
                  </a:lnTo>
                  <a:lnTo>
                    <a:pt x="486" y="0"/>
                  </a:lnTo>
                  <a:lnTo>
                    <a:pt x="476" y="10"/>
                  </a:lnTo>
                  <a:cubicBezTo>
                    <a:pt x="450" y="36"/>
                    <a:pt x="409" y="36"/>
                    <a:pt x="383" y="10"/>
                  </a:cubicBezTo>
                  <a:lnTo>
                    <a:pt x="373" y="0"/>
                  </a:lnTo>
                  <a:lnTo>
                    <a:pt x="107" y="0"/>
                  </a:lnTo>
                  <a:lnTo>
                    <a:pt x="107" y="537"/>
                  </a:lnTo>
                  <a:lnTo>
                    <a:pt x="344" y="537"/>
                  </a:lnTo>
                  <a:cubicBezTo>
                    <a:pt x="369" y="573"/>
                    <a:pt x="399" y="566"/>
                    <a:pt x="429" y="566"/>
                  </a:cubicBezTo>
                  <a:cubicBezTo>
                    <a:pt x="460" y="566"/>
                    <a:pt x="490" y="573"/>
                    <a:pt x="515" y="537"/>
                  </a:cubicBezTo>
                  <a:lnTo>
                    <a:pt x="752" y="537"/>
                  </a:lnTo>
                  <a:close/>
                  <a:moveTo>
                    <a:pt x="71" y="573"/>
                  </a:moveTo>
                  <a:lnTo>
                    <a:pt x="71" y="107"/>
                  </a:lnTo>
                  <a:lnTo>
                    <a:pt x="0" y="107"/>
                  </a:lnTo>
                  <a:lnTo>
                    <a:pt x="0" y="644"/>
                  </a:lnTo>
                  <a:lnTo>
                    <a:pt x="394" y="644"/>
                  </a:lnTo>
                  <a:lnTo>
                    <a:pt x="322" y="573"/>
                  </a:lnTo>
                  <a:lnTo>
                    <a:pt x="71" y="57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7" name="Freeform 40"/>
            <p:cNvSpPr>
              <a:spLocks noEditPoints="1"/>
            </p:cNvSpPr>
            <p:nvPr/>
          </p:nvSpPr>
          <p:spPr bwMode="auto">
            <a:xfrm>
              <a:off x="8701296" y="1308377"/>
              <a:ext cx="270186" cy="225965"/>
            </a:xfrm>
            <a:custGeom>
              <a:avLst/>
              <a:gdLst>
                <a:gd name="T0" fmla="*/ 716 w 859"/>
                <a:gd name="T1" fmla="*/ 0 h 716"/>
                <a:gd name="T2" fmla="*/ 143 w 859"/>
                <a:gd name="T3" fmla="*/ 0 h 716"/>
                <a:gd name="T4" fmla="*/ 0 w 859"/>
                <a:gd name="T5" fmla="*/ 143 h 716"/>
                <a:gd name="T6" fmla="*/ 143 w 859"/>
                <a:gd name="T7" fmla="*/ 286 h 716"/>
                <a:gd name="T8" fmla="*/ 286 w 859"/>
                <a:gd name="T9" fmla="*/ 143 h 716"/>
                <a:gd name="T10" fmla="*/ 215 w 859"/>
                <a:gd name="T11" fmla="*/ 143 h 716"/>
                <a:gd name="T12" fmla="*/ 143 w 859"/>
                <a:gd name="T13" fmla="*/ 215 h 716"/>
                <a:gd name="T14" fmla="*/ 72 w 859"/>
                <a:gd name="T15" fmla="*/ 143 h 716"/>
                <a:gd name="T16" fmla="*/ 143 w 859"/>
                <a:gd name="T17" fmla="*/ 72 h 716"/>
                <a:gd name="T18" fmla="*/ 716 w 859"/>
                <a:gd name="T19" fmla="*/ 72 h 716"/>
                <a:gd name="T20" fmla="*/ 788 w 859"/>
                <a:gd name="T21" fmla="*/ 143 h 716"/>
                <a:gd name="T22" fmla="*/ 716 w 859"/>
                <a:gd name="T23" fmla="*/ 215 h 716"/>
                <a:gd name="T24" fmla="*/ 645 w 859"/>
                <a:gd name="T25" fmla="*/ 143 h 716"/>
                <a:gd name="T26" fmla="*/ 573 w 859"/>
                <a:gd name="T27" fmla="*/ 143 h 716"/>
                <a:gd name="T28" fmla="*/ 716 w 859"/>
                <a:gd name="T29" fmla="*/ 286 h 716"/>
                <a:gd name="T30" fmla="*/ 859 w 859"/>
                <a:gd name="T31" fmla="*/ 143 h 716"/>
                <a:gd name="T32" fmla="*/ 716 w 859"/>
                <a:gd name="T33" fmla="*/ 0 h 716"/>
                <a:gd name="T34" fmla="*/ 394 w 859"/>
                <a:gd name="T35" fmla="*/ 143 h 716"/>
                <a:gd name="T36" fmla="*/ 394 w 859"/>
                <a:gd name="T37" fmla="*/ 573 h 716"/>
                <a:gd name="T38" fmla="*/ 465 w 859"/>
                <a:gd name="T39" fmla="*/ 573 h 716"/>
                <a:gd name="T40" fmla="*/ 465 w 859"/>
                <a:gd name="T41" fmla="*/ 143 h 716"/>
                <a:gd name="T42" fmla="*/ 394 w 859"/>
                <a:gd name="T43" fmla="*/ 143 h 716"/>
                <a:gd name="T44" fmla="*/ 537 w 859"/>
                <a:gd name="T45" fmla="*/ 262 h 716"/>
                <a:gd name="T46" fmla="*/ 537 w 859"/>
                <a:gd name="T47" fmla="*/ 573 h 716"/>
                <a:gd name="T48" fmla="*/ 609 w 859"/>
                <a:gd name="T49" fmla="*/ 573 h 716"/>
                <a:gd name="T50" fmla="*/ 609 w 859"/>
                <a:gd name="T51" fmla="*/ 329 h 716"/>
                <a:gd name="T52" fmla="*/ 537 w 859"/>
                <a:gd name="T53" fmla="*/ 262 h 716"/>
                <a:gd name="T54" fmla="*/ 250 w 859"/>
                <a:gd name="T55" fmla="*/ 329 h 716"/>
                <a:gd name="T56" fmla="*/ 250 w 859"/>
                <a:gd name="T57" fmla="*/ 573 h 716"/>
                <a:gd name="T58" fmla="*/ 322 w 859"/>
                <a:gd name="T59" fmla="*/ 573 h 716"/>
                <a:gd name="T60" fmla="*/ 322 w 859"/>
                <a:gd name="T61" fmla="*/ 262 h 716"/>
                <a:gd name="T62" fmla="*/ 250 w 859"/>
                <a:gd name="T63" fmla="*/ 329 h 716"/>
                <a:gd name="T64" fmla="*/ 143 w 859"/>
                <a:gd name="T65" fmla="*/ 716 h 716"/>
                <a:gd name="T66" fmla="*/ 716 w 859"/>
                <a:gd name="T67" fmla="*/ 716 h 716"/>
                <a:gd name="T68" fmla="*/ 716 w 859"/>
                <a:gd name="T69" fmla="*/ 645 h 716"/>
                <a:gd name="T70" fmla="*/ 143 w 859"/>
                <a:gd name="T71" fmla="*/ 645 h 716"/>
                <a:gd name="T72" fmla="*/ 143 w 859"/>
                <a:gd name="T73" fmla="*/ 716 h 7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859" h="716">
                  <a:moveTo>
                    <a:pt x="716" y="0"/>
                  </a:moveTo>
                  <a:lnTo>
                    <a:pt x="143" y="0"/>
                  </a:lnTo>
                  <a:cubicBezTo>
                    <a:pt x="64" y="0"/>
                    <a:pt x="0" y="64"/>
                    <a:pt x="0" y="143"/>
                  </a:cubicBezTo>
                  <a:cubicBezTo>
                    <a:pt x="0" y="222"/>
                    <a:pt x="64" y="286"/>
                    <a:pt x="143" y="286"/>
                  </a:cubicBezTo>
                  <a:cubicBezTo>
                    <a:pt x="222" y="286"/>
                    <a:pt x="286" y="215"/>
                    <a:pt x="286" y="143"/>
                  </a:cubicBezTo>
                  <a:lnTo>
                    <a:pt x="215" y="143"/>
                  </a:lnTo>
                  <a:cubicBezTo>
                    <a:pt x="215" y="179"/>
                    <a:pt x="183" y="215"/>
                    <a:pt x="143" y="215"/>
                  </a:cubicBezTo>
                  <a:cubicBezTo>
                    <a:pt x="104" y="215"/>
                    <a:pt x="72" y="183"/>
                    <a:pt x="72" y="143"/>
                  </a:cubicBezTo>
                  <a:cubicBezTo>
                    <a:pt x="72" y="104"/>
                    <a:pt x="104" y="72"/>
                    <a:pt x="143" y="72"/>
                  </a:cubicBezTo>
                  <a:lnTo>
                    <a:pt x="716" y="72"/>
                  </a:lnTo>
                  <a:cubicBezTo>
                    <a:pt x="756" y="72"/>
                    <a:pt x="788" y="104"/>
                    <a:pt x="788" y="143"/>
                  </a:cubicBezTo>
                  <a:cubicBezTo>
                    <a:pt x="788" y="183"/>
                    <a:pt x="756" y="215"/>
                    <a:pt x="716" y="215"/>
                  </a:cubicBezTo>
                  <a:cubicBezTo>
                    <a:pt x="677" y="215"/>
                    <a:pt x="645" y="179"/>
                    <a:pt x="645" y="143"/>
                  </a:cubicBezTo>
                  <a:lnTo>
                    <a:pt x="573" y="143"/>
                  </a:lnTo>
                  <a:cubicBezTo>
                    <a:pt x="573" y="215"/>
                    <a:pt x="637" y="286"/>
                    <a:pt x="716" y="286"/>
                  </a:cubicBezTo>
                  <a:cubicBezTo>
                    <a:pt x="795" y="286"/>
                    <a:pt x="859" y="222"/>
                    <a:pt x="859" y="143"/>
                  </a:cubicBezTo>
                  <a:cubicBezTo>
                    <a:pt x="859" y="64"/>
                    <a:pt x="795" y="0"/>
                    <a:pt x="716" y="0"/>
                  </a:cubicBezTo>
                  <a:close/>
                  <a:moveTo>
                    <a:pt x="394" y="143"/>
                  </a:moveTo>
                  <a:lnTo>
                    <a:pt x="394" y="573"/>
                  </a:lnTo>
                  <a:lnTo>
                    <a:pt x="465" y="573"/>
                  </a:lnTo>
                  <a:lnTo>
                    <a:pt x="465" y="143"/>
                  </a:lnTo>
                  <a:lnTo>
                    <a:pt x="394" y="143"/>
                  </a:lnTo>
                  <a:close/>
                  <a:moveTo>
                    <a:pt x="537" y="262"/>
                  </a:moveTo>
                  <a:lnTo>
                    <a:pt x="537" y="573"/>
                  </a:lnTo>
                  <a:lnTo>
                    <a:pt x="609" y="573"/>
                  </a:lnTo>
                  <a:lnTo>
                    <a:pt x="609" y="329"/>
                  </a:lnTo>
                  <a:cubicBezTo>
                    <a:pt x="573" y="312"/>
                    <a:pt x="573" y="289"/>
                    <a:pt x="537" y="262"/>
                  </a:cubicBezTo>
                  <a:close/>
                  <a:moveTo>
                    <a:pt x="250" y="329"/>
                  </a:moveTo>
                  <a:lnTo>
                    <a:pt x="250" y="573"/>
                  </a:lnTo>
                  <a:lnTo>
                    <a:pt x="322" y="573"/>
                  </a:lnTo>
                  <a:lnTo>
                    <a:pt x="322" y="262"/>
                  </a:lnTo>
                  <a:cubicBezTo>
                    <a:pt x="286" y="289"/>
                    <a:pt x="286" y="312"/>
                    <a:pt x="250" y="329"/>
                  </a:cubicBezTo>
                  <a:close/>
                  <a:moveTo>
                    <a:pt x="143" y="716"/>
                  </a:moveTo>
                  <a:lnTo>
                    <a:pt x="716" y="716"/>
                  </a:lnTo>
                  <a:lnTo>
                    <a:pt x="716" y="645"/>
                  </a:lnTo>
                  <a:lnTo>
                    <a:pt x="143" y="645"/>
                  </a:lnTo>
                  <a:lnTo>
                    <a:pt x="143" y="71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8" name="Freeform 41"/>
            <p:cNvSpPr>
              <a:spLocks/>
            </p:cNvSpPr>
            <p:nvPr/>
          </p:nvSpPr>
          <p:spPr bwMode="auto">
            <a:xfrm>
              <a:off x="8700607" y="3567344"/>
              <a:ext cx="271564" cy="236988"/>
            </a:xfrm>
            <a:custGeom>
              <a:avLst/>
              <a:gdLst>
                <a:gd name="T0" fmla="*/ 860 w 860"/>
                <a:gd name="T1" fmla="*/ 251 h 752"/>
                <a:gd name="T2" fmla="*/ 430 w 860"/>
                <a:gd name="T3" fmla="*/ 0 h 752"/>
                <a:gd name="T4" fmla="*/ 0 w 860"/>
                <a:gd name="T5" fmla="*/ 251 h 752"/>
                <a:gd name="T6" fmla="*/ 144 w 860"/>
                <a:gd name="T7" fmla="*/ 334 h 752"/>
                <a:gd name="T8" fmla="*/ 144 w 860"/>
                <a:gd name="T9" fmla="*/ 475 h 752"/>
                <a:gd name="T10" fmla="*/ 149 w 860"/>
                <a:gd name="T11" fmla="*/ 484 h 752"/>
                <a:gd name="T12" fmla="*/ 430 w 860"/>
                <a:gd name="T13" fmla="*/ 644 h 752"/>
                <a:gd name="T14" fmla="*/ 573 w 860"/>
                <a:gd name="T15" fmla="*/ 610 h 752"/>
                <a:gd name="T16" fmla="*/ 573 w 860"/>
                <a:gd name="T17" fmla="*/ 528 h 752"/>
                <a:gd name="T18" fmla="*/ 430 w 860"/>
                <a:gd name="T19" fmla="*/ 573 h 752"/>
                <a:gd name="T20" fmla="*/ 215 w 860"/>
                <a:gd name="T21" fmla="*/ 455 h 752"/>
                <a:gd name="T22" fmla="*/ 215 w 860"/>
                <a:gd name="T23" fmla="*/ 376 h 752"/>
                <a:gd name="T24" fmla="*/ 430 w 860"/>
                <a:gd name="T25" fmla="*/ 501 h 752"/>
                <a:gd name="T26" fmla="*/ 553 w 860"/>
                <a:gd name="T27" fmla="*/ 430 h 752"/>
                <a:gd name="T28" fmla="*/ 483 w 860"/>
                <a:gd name="T29" fmla="*/ 388 h 752"/>
                <a:gd name="T30" fmla="*/ 430 w 860"/>
                <a:gd name="T31" fmla="*/ 418 h 752"/>
                <a:gd name="T32" fmla="*/ 142 w 860"/>
                <a:gd name="T33" fmla="*/ 251 h 752"/>
                <a:gd name="T34" fmla="*/ 430 w 860"/>
                <a:gd name="T35" fmla="*/ 83 h 752"/>
                <a:gd name="T36" fmla="*/ 718 w 860"/>
                <a:gd name="T37" fmla="*/ 251 h 752"/>
                <a:gd name="T38" fmla="*/ 624 w 860"/>
                <a:gd name="T39" fmla="*/ 305 h 752"/>
                <a:gd name="T40" fmla="*/ 454 w 860"/>
                <a:gd name="T41" fmla="*/ 204 h 752"/>
                <a:gd name="T42" fmla="*/ 391 w 860"/>
                <a:gd name="T43" fmla="*/ 247 h 752"/>
                <a:gd name="T44" fmla="*/ 390 w 860"/>
                <a:gd name="T45" fmla="*/ 249 h 752"/>
                <a:gd name="T46" fmla="*/ 645 w 860"/>
                <a:gd name="T47" fmla="*/ 401 h 752"/>
                <a:gd name="T48" fmla="*/ 645 w 860"/>
                <a:gd name="T49" fmla="*/ 752 h 752"/>
                <a:gd name="T50" fmla="*/ 717 w 860"/>
                <a:gd name="T51" fmla="*/ 752 h 752"/>
                <a:gd name="T52" fmla="*/ 717 w 860"/>
                <a:gd name="T53" fmla="*/ 360 h 752"/>
                <a:gd name="T54" fmla="*/ 694 w 860"/>
                <a:gd name="T55" fmla="*/ 347 h 752"/>
                <a:gd name="T56" fmla="*/ 860 w 860"/>
                <a:gd name="T57" fmla="*/ 251 h 7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860" h="752">
                  <a:moveTo>
                    <a:pt x="860" y="251"/>
                  </a:moveTo>
                  <a:lnTo>
                    <a:pt x="430" y="0"/>
                  </a:lnTo>
                  <a:lnTo>
                    <a:pt x="0" y="251"/>
                  </a:lnTo>
                  <a:lnTo>
                    <a:pt x="144" y="334"/>
                  </a:lnTo>
                  <a:lnTo>
                    <a:pt x="144" y="475"/>
                  </a:lnTo>
                  <a:lnTo>
                    <a:pt x="149" y="484"/>
                  </a:lnTo>
                  <a:cubicBezTo>
                    <a:pt x="207" y="583"/>
                    <a:pt x="315" y="644"/>
                    <a:pt x="430" y="644"/>
                  </a:cubicBezTo>
                  <a:cubicBezTo>
                    <a:pt x="480" y="644"/>
                    <a:pt x="529" y="632"/>
                    <a:pt x="573" y="610"/>
                  </a:cubicBezTo>
                  <a:lnTo>
                    <a:pt x="573" y="528"/>
                  </a:lnTo>
                  <a:cubicBezTo>
                    <a:pt x="532" y="556"/>
                    <a:pt x="482" y="573"/>
                    <a:pt x="430" y="573"/>
                  </a:cubicBezTo>
                  <a:cubicBezTo>
                    <a:pt x="343" y="573"/>
                    <a:pt x="262" y="528"/>
                    <a:pt x="215" y="455"/>
                  </a:cubicBezTo>
                  <a:lnTo>
                    <a:pt x="215" y="376"/>
                  </a:lnTo>
                  <a:lnTo>
                    <a:pt x="430" y="501"/>
                  </a:lnTo>
                  <a:lnTo>
                    <a:pt x="553" y="430"/>
                  </a:lnTo>
                  <a:lnTo>
                    <a:pt x="483" y="388"/>
                  </a:lnTo>
                  <a:lnTo>
                    <a:pt x="430" y="418"/>
                  </a:lnTo>
                  <a:lnTo>
                    <a:pt x="142" y="251"/>
                  </a:lnTo>
                  <a:lnTo>
                    <a:pt x="430" y="83"/>
                  </a:lnTo>
                  <a:lnTo>
                    <a:pt x="718" y="251"/>
                  </a:lnTo>
                  <a:lnTo>
                    <a:pt x="624" y="305"/>
                  </a:lnTo>
                  <a:lnTo>
                    <a:pt x="454" y="204"/>
                  </a:lnTo>
                  <a:lnTo>
                    <a:pt x="391" y="247"/>
                  </a:lnTo>
                  <a:lnTo>
                    <a:pt x="390" y="249"/>
                  </a:lnTo>
                  <a:lnTo>
                    <a:pt x="645" y="401"/>
                  </a:lnTo>
                  <a:lnTo>
                    <a:pt x="645" y="752"/>
                  </a:lnTo>
                  <a:lnTo>
                    <a:pt x="717" y="752"/>
                  </a:lnTo>
                  <a:lnTo>
                    <a:pt x="717" y="360"/>
                  </a:lnTo>
                  <a:lnTo>
                    <a:pt x="694" y="347"/>
                  </a:lnTo>
                  <a:lnTo>
                    <a:pt x="860" y="25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grpSp>
          <p:nvGrpSpPr>
            <p:cNvPr id="69" name="Группа 68"/>
            <p:cNvGrpSpPr/>
            <p:nvPr/>
          </p:nvGrpSpPr>
          <p:grpSpPr>
            <a:xfrm>
              <a:off x="8710946" y="150720"/>
              <a:ext cx="250887" cy="271436"/>
              <a:chOff x="477468" y="2705515"/>
              <a:chExt cx="409903" cy="443477"/>
            </a:xfrm>
          </p:grpSpPr>
          <p:sp>
            <p:nvSpPr>
              <p:cNvPr id="70" name="Freeform 42"/>
              <p:cNvSpPr>
                <a:spLocks noEditPoints="1"/>
              </p:cNvSpPr>
              <p:nvPr/>
            </p:nvSpPr>
            <p:spPr bwMode="auto">
              <a:xfrm>
                <a:off x="477468" y="2705515"/>
                <a:ext cx="409903" cy="387195"/>
              </a:xfrm>
              <a:custGeom>
                <a:avLst/>
                <a:gdLst>
                  <a:gd name="T0" fmla="*/ 218 w 793"/>
                  <a:gd name="T1" fmla="*/ 575 h 751"/>
                  <a:gd name="T2" fmla="*/ 194 w 793"/>
                  <a:gd name="T3" fmla="*/ 95 h 751"/>
                  <a:gd name="T4" fmla="*/ 219 w 793"/>
                  <a:gd name="T5" fmla="*/ 121 h 751"/>
                  <a:gd name="T6" fmla="*/ 149 w 793"/>
                  <a:gd name="T7" fmla="*/ 322 h 751"/>
                  <a:gd name="T8" fmla="*/ 471 w 793"/>
                  <a:gd name="T9" fmla="*/ 644 h 751"/>
                  <a:gd name="T10" fmla="*/ 672 w 793"/>
                  <a:gd name="T11" fmla="*/ 574 h 751"/>
                  <a:gd name="T12" fmla="*/ 698 w 793"/>
                  <a:gd name="T13" fmla="*/ 599 h 751"/>
                  <a:gd name="T14" fmla="*/ 218 w 793"/>
                  <a:gd name="T15" fmla="*/ 575 h 751"/>
                  <a:gd name="T16" fmla="*/ 471 w 793"/>
                  <a:gd name="T17" fmla="*/ 71 h 751"/>
                  <a:gd name="T18" fmla="*/ 722 w 793"/>
                  <a:gd name="T19" fmla="*/ 322 h 751"/>
                  <a:gd name="T20" fmla="*/ 471 w 793"/>
                  <a:gd name="T21" fmla="*/ 573 h 751"/>
                  <a:gd name="T22" fmla="*/ 220 w 793"/>
                  <a:gd name="T23" fmla="*/ 322 h 751"/>
                  <a:gd name="T24" fmla="*/ 471 w 793"/>
                  <a:gd name="T25" fmla="*/ 71 h 751"/>
                  <a:gd name="T26" fmla="*/ 723 w 793"/>
                  <a:gd name="T27" fmla="*/ 523 h 751"/>
                  <a:gd name="T28" fmla="*/ 793 w 793"/>
                  <a:gd name="T29" fmla="*/ 322 h 751"/>
                  <a:gd name="T30" fmla="*/ 471 w 793"/>
                  <a:gd name="T31" fmla="*/ 0 h 751"/>
                  <a:gd name="T32" fmla="*/ 270 w 793"/>
                  <a:gd name="T33" fmla="*/ 71 h 751"/>
                  <a:gd name="T34" fmla="*/ 218 w 793"/>
                  <a:gd name="T35" fmla="*/ 18 h 751"/>
                  <a:gd name="T36" fmla="*/ 192 w 793"/>
                  <a:gd name="T37" fmla="*/ 8 h 751"/>
                  <a:gd name="T38" fmla="*/ 192 w 793"/>
                  <a:gd name="T39" fmla="*/ 8 h 751"/>
                  <a:gd name="T40" fmla="*/ 167 w 793"/>
                  <a:gd name="T41" fmla="*/ 18 h 751"/>
                  <a:gd name="T42" fmla="*/ 167 w 793"/>
                  <a:gd name="T43" fmla="*/ 626 h 751"/>
                  <a:gd name="T44" fmla="*/ 471 w 793"/>
                  <a:gd name="T45" fmla="*/ 751 h 751"/>
                  <a:gd name="T46" fmla="*/ 775 w 793"/>
                  <a:gd name="T47" fmla="*/ 626 h 751"/>
                  <a:gd name="T48" fmla="*/ 785 w 793"/>
                  <a:gd name="T49" fmla="*/ 601 h 751"/>
                  <a:gd name="T50" fmla="*/ 775 w 793"/>
                  <a:gd name="T51" fmla="*/ 575 h 751"/>
                  <a:gd name="T52" fmla="*/ 723 w 793"/>
                  <a:gd name="T53" fmla="*/ 523 h 7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793" h="751">
                    <a:moveTo>
                      <a:pt x="218" y="575"/>
                    </a:moveTo>
                    <a:cubicBezTo>
                      <a:pt x="87" y="444"/>
                      <a:pt x="79" y="236"/>
                      <a:pt x="194" y="95"/>
                    </a:cubicBezTo>
                    <a:lnTo>
                      <a:pt x="219" y="121"/>
                    </a:lnTo>
                    <a:cubicBezTo>
                      <a:pt x="175" y="176"/>
                      <a:pt x="149" y="246"/>
                      <a:pt x="149" y="322"/>
                    </a:cubicBezTo>
                    <a:cubicBezTo>
                      <a:pt x="149" y="500"/>
                      <a:pt x="293" y="644"/>
                      <a:pt x="471" y="644"/>
                    </a:cubicBezTo>
                    <a:cubicBezTo>
                      <a:pt x="547" y="644"/>
                      <a:pt x="617" y="618"/>
                      <a:pt x="672" y="574"/>
                    </a:cubicBezTo>
                    <a:lnTo>
                      <a:pt x="698" y="599"/>
                    </a:lnTo>
                    <a:cubicBezTo>
                      <a:pt x="557" y="714"/>
                      <a:pt x="349" y="706"/>
                      <a:pt x="218" y="575"/>
                    </a:cubicBezTo>
                    <a:close/>
                    <a:moveTo>
                      <a:pt x="471" y="71"/>
                    </a:moveTo>
                    <a:cubicBezTo>
                      <a:pt x="609" y="71"/>
                      <a:pt x="722" y="184"/>
                      <a:pt x="722" y="322"/>
                    </a:cubicBezTo>
                    <a:cubicBezTo>
                      <a:pt x="722" y="460"/>
                      <a:pt x="609" y="573"/>
                      <a:pt x="471" y="573"/>
                    </a:cubicBezTo>
                    <a:cubicBezTo>
                      <a:pt x="333" y="573"/>
                      <a:pt x="220" y="460"/>
                      <a:pt x="220" y="322"/>
                    </a:cubicBezTo>
                    <a:cubicBezTo>
                      <a:pt x="220" y="184"/>
                      <a:pt x="333" y="71"/>
                      <a:pt x="471" y="71"/>
                    </a:cubicBezTo>
                    <a:close/>
                    <a:moveTo>
                      <a:pt x="723" y="523"/>
                    </a:moveTo>
                    <a:cubicBezTo>
                      <a:pt x="767" y="468"/>
                      <a:pt x="793" y="398"/>
                      <a:pt x="793" y="322"/>
                    </a:cubicBezTo>
                    <a:cubicBezTo>
                      <a:pt x="793" y="144"/>
                      <a:pt x="649" y="0"/>
                      <a:pt x="471" y="0"/>
                    </a:cubicBezTo>
                    <a:cubicBezTo>
                      <a:pt x="395" y="0"/>
                      <a:pt x="325" y="26"/>
                      <a:pt x="270" y="71"/>
                    </a:cubicBezTo>
                    <a:lnTo>
                      <a:pt x="218" y="18"/>
                    </a:lnTo>
                    <a:cubicBezTo>
                      <a:pt x="211" y="11"/>
                      <a:pt x="202" y="8"/>
                      <a:pt x="192" y="8"/>
                    </a:cubicBezTo>
                    <a:cubicBezTo>
                      <a:pt x="192" y="8"/>
                      <a:pt x="192" y="8"/>
                      <a:pt x="192" y="8"/>
                    </a:cubicBezTo>
                    <a:cubicBezTo>
                      <a:pt x="183" y="8"/>
                      <a:pt x="174" y="11"/>
                      <a:pt x="167" y="18"/>
                    </a:cubicBezTo>
                    <a:cubicBezTo>
                      <a:pt x="0" y="186"/>
                      <a:pt x="0" y="458"/>
                      <a:pt x="167" y="626"/>
                    </a:cubicBezTo>
                    <a:cubicBezTo>
                      <a:pt x="251" y="710"/>
                      <a:pt x="361" y="751"/>
                      <a:pt x="471" y="751"/>
                    </a:cubicBezTo>
                    <a:cubicBezTo>
                      <a:pt x="581" y="751"/>
                      <a:pt x="691" y="710"/>
                      <a:pt x="775" y="626"/>
                    </a:cubicBezTo>
                    <a:cubicBezTo>
                      <a:pt x="782" y="619"/>
                      <a:pt x="785" y="610"/>
                      <a:pt x="785" y="601"/>
                    </a:cubicBezTo>
                    <a:cubicBezTo>
                      <a:pt x="785" y="591"/>
                      <a:pt x="782" y="582"/>
                      <a:pt x="775" y="575"/>
                    </a:cubicBezTo>
                    <a:lnTo>
                      <a:pt x="723" y="523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1" name="Rectangle 43"/>
              <p:cNvSpPr>
                <a:spLocks noChangeArrowheads="1"/>
              </p:cNvSpPr>
              <p:nvPr/>
            </p:nvSpPr>
            <p:spPr bwMode="auto">
              <a:xfrm>
                <a:off x="637377" y="3110722"/>
                <a:ext cx="148646" cy="38270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sp>
          <p:nvSpPr>
            <p:cNvPr id="72" name="Freeform 44"/>
            <p:cNvSpPr>
              <a:spLocks noEditPoints="1"/>
            </p:cNvSpPr>
            <p:nvPr/>
          </p:nvSpPr>
          <p:spPr bwMode="auto">
            <a:xfrm>
              <a:off x="8704742" y="4098042"/>
              <a:ext cx="263294" cy="285213"/>
            </a:xfrm>
            <a:custGeom>
              <a:avLst/>
              <a:gdLst>
                <a:gd name="T0" fmla="*/ 583 w 837"/>
                <a:gd name="T1" fmla="*/ 579 h 901"/>
                <a:gd name="T2" fmla="*/ 511 w 837"/>
                <a:gd name="T3" fmla="*/ 650 h 901"/>
                <a:gd name="T4" fmla="*/ 583 w 837"/>
                <a:gd name="T5" fmla="*/ 722 h 901"/>
                <a:gd name="T6" fmla="*/ 654 w 837"/>
                <a:gd name="T7" fmla="*/ 650 h 901"/>
                <a:gd name="T8" fmla="*/ 583 w 837"/>
                <a:gd name="T9" fmla="*/ 579 h 901"/>
                <a:gd name="T10" fmla="*/ 332 w 837"/>
                <a:gd name="T11" fmla="*/ 579 h 901"/>
                <a:gd name="T12" fmla="*/ 260 w 837"/>
                <a:gd name="T13" fmla="*/ 650 h 901"/>
                <a:gd name="T14" fmla="*/ 332 w 837"/>
                <a:gd name="T15" fmla="*/ 722 h 901"/>
                <a:gd name="T16" fmla="*/ 404 w 837"/>
                <a:gd name="T17" fmla="*/ 650 h 901"/>
                <a:gd name="T18" fmla="*/ 332 w 837"/>
                <a:gd name="T19" fmla="*/ 579 h 901"/>
                <a:gd name="T20" fmla="*/ 332 w 837"/>
                <a:gd name="T21" fmla="*/ 435 h 901"/>
                <a:gd name="T22" fmla="*/ 260 w 837"/>
                <a:gd name="T23" fmla="*/ 364 h 901"/>
                <a:gd name="T24" fmla="*/ 189 w 837"/>
                <a:gd name="T25" fmla="*/ 435 h 901"/>
                <a:gd name="T26" fmla="*/ 260 w 837"/>
                <a:gd name="T27" fmla="*/ 507 h 901"/>
                <a:gd name="T28" fmla="*/ 332 w 837"/>
                <a:gd name="T29" fmla="*/ 435 h 901"/>
                <a:gd name="T30" fmla="*/ 404 w 837"/>
                <a:gd name="T31" fmla="*/ 185 h 901"/>
                <a:gd name="T32" fmla="*/ 332 w 837"/>
                <a:gd name="T33" fmla="*/ 256 h 901"/>
                <a:gd name="T34" fmla="*/ 404 w 837"/>
                <a:gd name="T35" fmla="*/ 328 h 901"/>
                <a:gd name="T36" fmla="*/ 475 w 837"/>
                <a:gd name="T37" fmla="*/ 256 h 901"/>
                <a:gd name="T38" fmla="*/ 404 w 837"/>
                <a:gd name="T39" fmla="*/ 185 h 901"/>
                <a:gd name="T40" fmla="*/ 757 w 837"/>
                <a:gd name="T41" fmla="*/ 635 h 901"/>
                <a:gd name="T42" fmla="*/ 698 w 837"/>
                <a:gd name="T43" fmla="*/ 711 h 901"/>
                <a:gd name="T44" fmla="*/ 429 w 837"/>
                <a:gd name="T45" fmla="*/ 829 h 901"/>
                <a:gd name="T46" fmla="*/ 207 w 837"/>
                <a:gd name="T47" fmla="*/ 738 h 901"/>
                <a:gd name="T48" fmla="*/ 233 w 837"/>
                <a:gd name="T49" fmla="*/ 231 h 901"/>
                <a:gd name="T50" fmla="*/ 502 w 837"/>
                <a:gd name="T51" fmla="*/ 113 h 901"/>
                <a:gd name="T52" fmla="*/ 658 w 837"/>
                <a:gd name="T53" fmla="*/ 154 h 901"/>
                <a:gd name="T54" fmla="*/ 675 w 837"/>
                <a:gd name="T55" fmla="*/ 177 h 901"/>
                <a:gd name="T56" fmla="*/ 665 w 837"/>
                <a:gd name="T57" fmla="*/ 208 h 901"/>
                <a:gd name="T58" fmla="*/ 602 w 837"/>
                <a:gd name="T59" fmla="*/ 366 h 901"/>
                <a:gd name="T60" fmla="*/ 744 w 837"/>
                <a:gd name="T61" fmla="*/ 584 h 901"/>
                <a:gd name="T62" fmla="*/ 760 w 837"/>
                <a:gd name="T63" fmla="*/ 605 h 901"/>
                <a:gd name="T64" fmla="*/ 757 w 837"/>
                <a:gd name="T65" fmla="*/ 635 h 901"/>
                <a:gd name="T66" fmla="*/ 829 w 837"/>
                <a:gd name="T67" fmla="*/ 585 h 901"/>
                <a:gd name="T68" fmla="*/ 776 w 837"/>
                <a:gd name="T69" fmla="*/ 520 h 901"/>
                <a:gd name="T70" fmla="*/ 673 w 837"/>
                <a:gd name="T71" fmla="*/ 366 h 901"/>
                <a:gd name="T72" fmla="*/ 718 w 837"/>
                <a:gd name="T73" fmla="*/ 257 h 901"/>
                <a:gd name="T74" fmla="*/ 746 w 837"/>
                <a:gd name="T75" fmla="*/ 166 h 901"/>
                <a:gd name="T76" fmla="*/ 694 w 837"/>
                <a:gd name="T77" fmla="*/ 92 h 901"/>
                <a:gd name="T78" fmla="*/ 181 w 837"/>
                <a:gd name="T79" fmla="*/ 181 h 901"/>
                <a:gd name="T80" fmla="*/ 156 w 837"/>
                <a:gd name="T81" fmla="*/ 788 h 901"/>
                <a:gd name="T82" fmla="*/ 429 w 837"/>
                <a:gd name="T83" fmla="*/ 901 h 901"/>
                <a:gd name="T84" fmla="*/ 749 w 837"/>
                <a:gd name="T85" fmla="*/ 761 h 901"/>
                <a:gd name="T86" fmla="*/ 818 w 837"/>
                <a:gd name="T87" fmla="*/ 672 h 901"/>
                <a:gd name="T88" fmla="*/ 829 w 837"/>
                <a:gd name="T89" fmla="*/ 585 h 9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837" h="901">
                  <a:moveTo>
                    <a:pt x="583" y="579"/>
                  </a:moveTo>
                  <a:cubicBezTo>
                    <a:pt x="543" y="579"/>
                    <a:pt x="511" y="611"/>
                    <a:pt x="511" y="650"/>
                  </a:cubicBezTo>
                  <a:cubicBezTo>
                    <a:pt x="511" y="690"/>
                    <a:pt x="543" y="722"/>
                    <a:pt x="583" y="722"/>
                  </a:cubicBezTo>
                  <a:cubicBezTo>
                    <a:pt x="622" y="722"/>
                    <a:pt x="654" y="690"/>
                    <a:pt x="654" y="650"/>
                  </a:cubicBezTo>
                  <a:cubicBezTo>
                    <a:pt x="654" y="611"/>
                    <a:pt x="622" y="579"/>
                    <a:pt x="583" y="579"/>
                  </a:cubicBezTo>
                  <a:close/>
                  <a:moveTo>
                    <a:pt x="332" y="579"/>
                  </a:moveTo>
                  <a:cubicBezTo>
                    <a:pt x="292" y="579"/>
                    <a:pt x="260" y="611"/>
                    <a:pt x="260" y="650"/>
                  </a:cubicBezTo>
                  <a:cubicBezTo>
                    <a:pt x="260" y="690"/>
                    <a:pt x="292" y="722"/>
                    <a:pt x="332" y="722"/>
                  </a:cubicBezTo>
                  <a:cubicBezTo>
                    <a:pt x="372" y="722"/>
                    <a:pt x="404" y="690"/>
                    <a:pt x="404" y="650"/>
                  </a:cubicBezTo>
                  <a:cubicBezTo>
                    <a:pt x="404" y="611"/>
                    <a:pt x="372" y="579"/>
                    <a:pt x="332" y="579"/>
                  </a:cubicBezTo>
                  <a:close/>
                  <a:moveTo>
                    <a:pt x="332" y="435"/>
                  </a:moveTo>
                  <a:cubicBezTo>
                    <a:pt x="332" y="396"/>
                    <a:pt x="300" y="364"/>
                    <a:pt x="260" y="364"/>
                  </a:cubicBezTo>
                  <a:cubicBezTo>
                    <a:pt x="221" y="364"/>
                    <a:pt x="189" y="396"/>
                    <a:pt x="189" y="435"/>
                  </a:cubicBezTo>
                  <a:cubicBezTo>
                    <a:pt x="189" y="475"/>
                    <a:pt x="221" y="507"/>
                    <a:pt x="260" y="507"/>
                  </a:cubicBezTo>
                  <a:cubicBezTo>
                    <a:pt x="300" y="507"/>
                    <a:pt x="332" y="475"/>
                    <a:pt x="332" y="435"/>
                  </a:cubicBezTo>
                  <a:close/>
                  <a:moveTo>
                    <a:pt x="404" y="185"/>
                  </a:moveTo>
                  <a:cubicBezTo>
                    <a:pt x="364" y="185"/>
                    <a:pt x="332" y="217"/>
                    <a:pt x="332" y="256"/>
                  </a:cubicBezTo>
                  <a:cubicBezTo>
                    <a:pt x="332" y="296"/>
                    <a:pt x="364" y="328"/>
                    <a:pt x="404" y="328"/>
                  </a:cubicBezTo>
                  <a:cubicBezTo>
                    <a:pt x="443" y="328"/>
                    <a:pt x="475" y="296"/>
                    <a:pt x="475" y="256"/>
                  </a:cubicBezTo>
                  <a:cubicBezTo>
                    <a:pt x="475" y="217"/>
                    <a:pt x="443" y="185"/>
                    <a:pt x="404" y="185"/>
                  </a:cubicBezTo>
                  <a:close/>
                  <a:moveTo>
                    <a:pt x="757" y="635"/>
                  </a:moveTo>
                  <a:cubicBezTo>
                    <a:pt x="740" y="663"/>
                    <a:pt x="721" y="688"/>
                    <a:pt x="698" y="711"/>
                  </a:cubicBezTo>
                  <a:cubicBezTo>
                    <a:pt x="625" y="786"/>
                    <a:pt x="527" y="829"/>
                    <a:pt x="429" y="829"/>
                  </a:cubicBezTo>
                  <a:cubicBezTo>
                    <a:pt x="343" y="829"/>
                    <a:pt x="265" y="797"/>
                    <a:pt x="207" y="738"/>
                  </a:cubicBezTo>
                  <a:cubicBezTo>
                    <a:pt x="78" y="605"/>
                    <a:pt x="89" y="378"/>
                    <a:pt x="233" y="231"/>
                  </a:cubicBezTo>
                  <a:cubicBezTo>
                    <a:pt x="308" y="154"/>
                    <a:pt x="406" y="113"/>
                    <a:pt x="502" y="113"/>
                  </a:cubicBezTo>
                  <a:cubicBezTo>
                    <a:pt x="557" y="113"/>
                    <a:pt x="610" y="126"/>
                    <a:pt x="658" y="154"/>
                  </a:cubicBezTo>
                  <a:cubicBezTo>
                    <a:pt x="668" y="159"/>
                    <a:pt x="674" y="167"/>
                    <a:pt x="675" y="177"/>
                  </a:cubicBezTo>
                  <a:cubicBezTo>
                    <a:pt x="677" y="188"/>
                    <a:pt x="673" y="199"/>
                    <a:pt x="665" y="208"/>
                  </a:cubicBezTo>
                  <a:cubicBezTo>
                    <a:pt x="624" y="253"/>
                    <a:pt x="602" y="309"/>
                    <a:pt x="602" y="366"/>
                  </a:cubicBezTo>
                  <a:cubicBezTo>
                    <a:pt x="602" y="456"/>
                    <a:pt x="656" y="540"/>
                    <a:pt x="744" y="584"/>
                  </a:cubicBezTo>
                  <a:cubicBezTo>
                    <a:pt x="754" y="590"/>
                    <a:pt x="759" y="600"/>
                    <a:pt x="760" y="605"/>
                  </a:cubicBezTo>
                  <a:cubicBezTo>
                    <a:pt x="763" y="615"/>
                    <a:pt x="762" y="626"/>
                    <a:pt x="757" y="635"/>
                  </a:cubicBezTo>
                  <a:close/>
                  <a:moveTo>
                    <a:pt x="829" y="585"/>
                  </a:moveTo>
                  <a:cubicBezTo>
                    <a:pt x="821" y="557"/>
                    <a:pt x="801" y="533"/>
                    <a:pt x="776" y="520"/>
                  </a:cubicBezTo>
                  <a:cubicBezTo>
                    <a:pt x="713" y="488"/>
                    <a:pt x="673" y="429"/>
                    <a:pt x="673" y="366"/>
                  </a:cubicBezTo>
                  <a:cubicBezTo>
                    <a:pt x="673" y="326"/>
                    <a:pt x="689" y="288"/>
                    <a:pt x="718" y="257"/>
                  </a:cubicBezTo>
                  <a:cubicBezTo>
                    <a:pt x="741" y="231"/>
                    <a:pt x="751" y="198"/>
                    <a:pt x="746" y="166"/>
                  </a:cubicBezTo>
                  <a:cubicBezTo>
                    <a:pt x="741" y="135"/>
                    <a:pt x="722" y="108"/>
                    <a:pt x="694" y="92"/>
                  </a:cubicBezTo>
                  <a:cubicBezTo>
                    <a:pt x="533" y="0"/>
                    <a:pt x="323" y="37"/>
                    <a:pt x="181" y="181"/>
                  </a:cubicBezTo>
                  <a:cubicBezTo>
                    <a:pt x="11" y="356"/>
                    <a:pt x="0" y="628"/>
                    <a:pt x="156" y="788"/>
                  </a:cubicBezTo>
                  <a:cubicBezTo>
                    <a:pt x="227" y="861"/>
                    <a:pt x="324" y="901"/>
                    <a:pt x="429" y="901"/>
                  </a:cubicBezTo>
                  <a:cubicBezTo>
                    <a:pt x="546" y="901"/>
                    <a:pt x="663" y="850"/>
                    <a:pt x="749" y="761"/>
                  </a:cubicBezTo>
                  <a:cubicBezTo>
                    <a:pt x="776" y="734"/>
                    <a:pt x="799" y="704"/>
                    <a:pt x="818" y="672"/>
                  </a:cubicBezTo>
                  <a:cubicBezTo>
                    <a:pt x="833" y="646"/>
                    <a:pt x="837" y="615"/>
                    <a:pt x="829" y="58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3" name="Freeform 45"/>
            <p:cNvSpPr>
              <a:spLocks noEditPoints="1"/>
            </p:cNvSpPr>
            <p:nvPr/>
          </p:nvSpPr>
          <p:spPr bwMode="auto">
            <a:xfrm>
              <a:off x="8701296" y="725091"/>
              <a:ext cx="270186" cy="260412"/>
            </a:xfrm>
            <a:custGeom>
              <a:avLst/>
              <a:gdLst>
                <a:gd name="T0" fmla="*/ 573 w 859"/>
                <a:gd name="T1" fmla="*/ 573 h 824"/>
                <a:gd name="T2" fmla="*/ 573 w 859"/>
                <a:gd name="T3" fmla="*/ 645 h 824"/>
                <a:gd name="T4" fmla="*/ 859 w 859"/>
                <a:gd name="T5" fmla="*/ 645 h 824"/>
                <a:gd name="T6" fmla="*/ 859 w 859"/>
                <a:gd name="T7" fmla="*/ 573 h 824"/>
                <a:gd name="T8" fmla="*/ 573 w 859"/>
                <a:gd name="T9" fmla="*/ 573 h 824"/>
                <a:gd name="T10" fmla="*/ 787 w 859"/>
                <a:gd name="T11" fmla="*/ 537 h 824"/>
                <a:gd name="T12" fmla="*/ 787 w 859"/>
                <a:gd name="T13" fmla="*/ 466 h 824"/>
                <a:gd name="T14" fmla="*/ 573 w 859"/>
                <a:gd name="T15" fmla="*/ 466 h 824"/>
                <a:gd name="T16" fmla="*/ 573 w 859"/>
                <a:gd name="T17" fmla="*/ 537 h 824"/>
                <a:gd name="T18" fmla="*/ 787 w 859"/>
                <a:gd name="T19" fmla="*/ 537 h 824"/>
                <a:gd name="T20" fmla="*/ 250 w 859"/>
                <a:gd name="T21" fmla="*/ 430 h 824"/>
                <a:gd name="T22" fmla="*/ 250 w 859"/>
                <a:gd name="T23" fmla="*/ 698 h 824"/>
                <a:gd name="T24" fmla="*/ 394 w 859"/>
                <a:gd name="T25" fmla="*/ 627 h 824"/>
                <a:gd name="T26" fmla="*/ 537 w 859"/>
                <a:gd name="T27" fmla="*/ 698 h 824"/>
                <a:gd name="T28" fmla="*/ 537 w 859"/>
                <a:gd name="T29" fmla="*/ 430 h 824"/>
                <a:gd name="T30" fmla="*/ 465 w 859"/>
                <a:gd name="T31" fmla="*/ 430 h 824"/>
                <a:gd name="T32" fmla="*/ 465 w 859"/>
                <a:gd name="T33" fmla="*/ 582 h 824"/>
                <a:gd name="T34" fmla="*/ 394 w 859"/>
                <a:gd name="T35" fmla="*/ 547 h 824"/>
                <a:gd name="T36" fmla="*/ 322 w 859"/>
                <a:gd name="T37" fmla="*/ 582 h 824"/>
                <a:gd name="T38" fmla="*/ 322 w 859"/>
                <a:gd name="T39" fmla="*/ 430 h 824"/>
                <a:gd name="T40" fmla="*/ 250 w 859"/>
                <a:gd name="T41" fmla="*/ 430 h 824"/>
                <a:gd name="T42" fmla="*/ 788 w 859"/>
                <a:gd name="T43" fmla="*/ 125 h 824"/>
                <a:gd name="T44" fmla="*/ 662 w 859"/>
                <a:gd name="T45" fmla="*/ 0 h 824"/>
                <a:gd name="T46" fmla="*/ 143 w 859"/>
                <a:gd name="T47" fmla="*/ 0 h 824"/>
                <a:gd name="T48" fmla="*/ 143 w 859"/>
                <a:gd name="T49" fmla="*/ 72 h 824"/>
                <a:gd name="T50" fmla="*/ 662 w 859"/>
                <a:gd name="T51" fmla="*/ 72 h 824"/>
                <a:gd name="T52" fmla="*/ 716 w 859"/>
                <a:gd name="T53" fmla="*/ 125 h 824"/>
                <a:gd name="T54" fmla="*/ 662 w 859"/>
                <a:gd name="T55" fmla="*/ 179 h 824"/>
                <a:gd name="T56" fmla="*/ 143 w 859"/>
                <a:gd name="T57" fmla="*/ 179 h 824"/>
                <a:gd name="T58" fmla="*/ 143 w 859"/>
                <a:gd name="T59" fmla="*/ 251 h 824"/>
                <a:gd name="T60" fmla="*/ 662 w 859"/>
                <a:gd name="T61" fmla="*/ 251 h 824"/>
                <a:gd name="T62" fmla="*/ 788 w 859"/>
                <a:gd name="T63" fmla="*/ 125 h 824"/>
                <a:gd name="T64" fmla="*/ 197 w 859"/>
                <a:gd name="T65" fmla="*/ 537 h 824"/>
                <a:gd name="T66" fmla="*/ 214 w 859"/>
                <a:gd name="T67" fmla="*/ 537 h 824"/>
                <a:gd name="T68" fmla="*/ 214 w 859"/>
                <a:gd name="T69" fmla="*/ 466 h 824"/>
                <a:gd name="T70" fmla="*/ 197 w 859"/>
                <a:gd name="T71" fmla="*/ 466 h 824"/>
                <a:gd name="T72" fmla="*/ 143 w 859"/>
                <a:gd name="T73" fmla="*/ 412 h 824"/>
                <a:gd name="T74" fmla="*/ 197 w 859"/>
                <a:gd name="T75" fmla="*/ 358 h 824"/>
                <a:gd name="T76" fmla="*/ 787 w 859"/>
                <a:gd name="T77" fmla="*/ 358 h 824"/>
                <a:gd name="T78" fmla="*/ 787 w 859"/>
                <a:gd name="T79" fmla="*/ 286 h 824"/>
                <a:gd name="T80" fmla="*/ 197 w 859"/>
                <a:gd name="T81" fmla="*/ 286 h 824"/>
                <a:gd name="T82" fmla="*/ 71 w 859"/>
                <a:gd name="T83" fmla="*/ 412 h 824"/>
                <a:gd name="T84" fmla="*/ 197 w 859"/>
                <a:gd name="T85" fmla="*/ 537 h 824"/>
                <a:gd name="T86" fmla="*/ 71 w 859"/>
                <a:gd name="T87" fmla="*/ 698 h 824"/>
                <a:gd name="T88" fmla="*/ 125 w 859"/>
                <a:gd name="T89" fmla="*/ 645 h 824"/>
                <a:gd name="T90" fmla="*/ 214 w 859"/>
                <a:gd name="T91" fmla="*/ 645 h 824"/>
                <a:gd name="T92" fmla="*/ 214 w 859"/>
                <a:gd name="T93" fmla="*/ 573 h 824"/>
                <a:gd name="T94" fmla="*/ 125 w 859"/>
                <a:gd name="T95" fmla="*/ 573 h 824"/>
                <a:gd name="T96" fmla="*/ 0 w 859"/>
                <a:gd name="T97" fmla="*/ 698 h 824"/>
                <a:gd name="T98" fmla="*/ 125 w 859"/>
                <a:gd name="T99" fmla="*/ 824 h 824"/>
                <a:gd name="T100" fmla="*/ 859 w 859"/>
                <a:gd name="T101" fmla="*/ 824 h 824"/>
                <a:gd name="T102" fmla="*/ 859 w 859"/>
                <a:gd name="T103" fmla="*/ 752 h 824"/>
                <a:gd name="T104" fmla="*/ 125 w 859"/>
                <a:gd name="T105" fmla="*/ 752 h 824"/>
                <a:gd name="T106" fmla="*/ 71 w 859"/>
                <a:gd name="T107" fmla="*/ 698 h 8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859" h="824">
                  <a:moveTo>
                    <a:pt x="573" y="573"/>
                  </a:moveTo>
                  <a:lnTo>
                    <a:pt x="573" y="645"/>
                  </a:lnTo>
                  <a:lnTo>
                    <a:pt x="859" y="645"/>
                  </a:lnTo>
                  <a:lnTo>
                    <a:pt x="859" y="573"/>
                  </a:lnTo>
                  <a:lnTo>
                    <a:pt x="573" y="573"/>
                  </a:lnTo>
                  <a:close/>
                  <a:moveTo>
                    <a:pt x="787" y="537"/>
                  </a:moveTo>
                  <a:lnTo>
                    <a:pt x="787" y="466"/>
                  </a:lnTo>
                  <a:lnTo>
                    <a:pt x="573" y="466"/>
                  </a:lnTo>
                  <a:lnTo>
                    <a:pt x="573" y="537"/>
                  </a:lnTo>
                  <a:lnTo>
                    <a:pt x="787" y="537"/>
                  </a:lnTo>
                  <a:close/>
                  <a:moveTo>
                    <a:pt x="250" y="430"/>
                  </a:moveTo>
                  <a:lnTo>
                    <a:pt x="250" y="698"/>
                  </a:lnTo>
                  <a:lnTo>
                    <a:pt x="394" y="627"/>
                  </a:lnTo>
                  <a:lnTo>
                    <a:pt x="537" y="698"/>
                  </a:lnTo>
                  <a:lnTo>
                    <a:pt x="537" y="430"/>
                  </a:lnTo>
                  <a:lnTo>
                    <a:pt x="465" y="430"/>
                  </a:lnTo>
                  <a:lnTo>
                    <a:pt x="465" y="582"/>
                  </a:lnTo>
                  <a:lnTo>
                    <a:pt x="394" y="547"/>
                  </a:lnTo>
                  <a:lnTo>
                    <a:pt x="322" y="582"/>
                  </a:lnTo>
                  <a:lnTo>
                    <a:pt x="322" y="430"/>
                  </a:lnTo>
                  <a:lnTo>
                    <a:pt x="250" y="430"/>
                  </a:lnTo>
                  <a:close/>
                  <a:moveTo>
                    <a:pt x="788" y="125"/>
                  </a:moveTo>
                  <a:cubicBezTo>
                    <a:pt x="788" y="56"/>
                    <a:pt x="731" y="0"/>
                    <a:pt x="662" y="0"/>
                  </a:cubicBezTo>
                  <a:lnTo>
                    <a:pt x="143" y="0"/>
                  </a:lnTo>
                  <a:lnTo>
                    <a:pt x="143" y="72"/>
                  </a:lnTo>
                  <a:lnTo>
                    <a:pt x="662" y="72"/>
                  </a:lnTo>
                  <a:cubicBezTo>
                    <a:pt x="692" y="72"/>
                    <a:pt x="716" y="96"/>
                    <a:pt x="716" y="125"/>
                  </a:cubicBezTo>
                  <a:cubicBezTo>
                    <a:pt x="716" y="155"/>
                    <a:pt x="692" y="179"/>
                    <a:pt x="662" y="179"/>
                  </a:cubicBezTo>
                  <a:lnTo>
                    <a:pt x="143" y="179"/>
                  </a:lnTo>
                  <a:lnTo>
                    <a:pt x="143" y="251"/>
                  </a:lnTo>
                  <a:lnTo>
                    <a:pt x="662" y="251"/>
                  </a:lnTo>
                  <a:cubicBezTo>
                    <a:pt x="731" y="251"/>
                    <a:pt x="788" y="194"/>
                    <a:pt x="788" y="125"/>
                  </a:cubicBezTo>
                  <a:close/>
                  <a:moveTo>
                    <a:pt x="197" y="537"/>
                  </a:moveTo>
                  <a:lnTo>
                    <a:pt x="214" y="537"/>
                  </a:lnTo>
                  <a:lnTo>
                    <a:pt x="214" y="466"/>
                  </a:lnTo>
                  <a:lnTo>
                    <a:pt x="197" y="466"/>
                  </a:lnTo>
                  <a:cubicBezTo>
                    <a:pt x="167" y="466"/>
                    <a:pt x="143" y="441"/>
                    <a:pt x="143" y="412"/>
                  </a:cubicBezTo>
                  <a:cubicBezTo>
                    <a:pt x="143" y="382"/>
                    <a:pt x="167" y="358"/>
                    <a:pt x="197" y="358"/>
                  </a:cubicBezTo>
                  <a:lnTo>
                    <a:pt x="787" y="358"/>
                  </a:lnTo>
                  <a:lnTo>
                    <a:pt x="787" y="286"/>
                  </a:lnTo>
                  <a:lnTo>
                    <a:pt x="197" y="286"/>
                  </a:lnTo>
                  <a:cubicBezTo>
                    <a:pt x="128" y="286"/>
                    <a:pt x="71" y="343"/>
                    <a:pt x="71" y="412"/>
                  </a:cubicBezTo>
                  <a:cubicBezTo>
                    <a:pt x="71" y="481"/>
                    <a:pt x="128" y="537"/>
                    <a:pt x="197" y="537"/>
                  </a:cubicBezTo>
                  <a:close/>
                  <a:moveTo>
                    <a:pt x="71" y="698"/>
                  </a:moveTo>
                  <a:cubicBezTo>
                    <a:pt x="71" y="669"/>
                    <a:pt x="95" y="645"/>
                    <a:pt x="125" y="645"/>
                  </a:cubicBezTo>
                  <a:lnTo>
                    <a:pt x="214" y="645"/>
                  </a:lnTo>
                  <a:lnTo>
                    <a:pt x="214" y="573"/>
                  </a:lnTo>
                  <a:lnTo>
                    <a:pt x="125" y="573"/>
                  </a:lnTo>
                  <a:cubicBezTo>
                    <a:pt x="56" y="573"/>
                    <a:pt x="0" y="629"/>
                    <a:pt x="0" y="698"/>
                  </a:cubicBezTo>
                  <a:cubicBezTo>
                    <a:pt x="0" y="767"/>
                    <a:pt x="56" y="824"/>
                    <a:pt x="125" y="824"/>
                  </a:cubicBezTo>
                  <a:lnTo>
                    <a:pt x="859" y="824"/>
                  </a:lnTo>
                  <a:lnTo>
                    <a:pt x="859" y="752"/>
                  </a:lnTo>
                  <a:lnTo>
                    <a:pt x="125" y="752"/>
                  </a:lnTo>
                  <a:cubicBezTo>
                    <a:pt x="95" y="752"/>
                    <a:pt x="71" y="728"/>
                    <a:pt x="71" y="69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9" name="Freeform 46"/>
            <p:cNvSpPr>
              <a:spLocks noEditPoints="1"/>
            </p:cNvSpPr>
            <p:nvPr/>
          </p:nvSpPr>
          <p:spPr bwMode="auto">
            <a:xfrm>
              <a:off x="8741962" y="2983368"/>
              <a:ext cx="188855" cy="272813"/>
            </a:xfrm>
            <a:custGeom>
              <a:avLst/>
              <a:gdLst>
                <a:gd name="T0" fmla="*/ 275 w 598"/>
                <a:gd name="T1" fmla="*/ 251 h 860"/>
                <a:gd name="T2" fmla="*/ 347 w 598"/>
                <a:gd name="T3" fmla="*/ 179 h 860"/>
                <a:gd name="T4" fmla="*/ 419 w 598"/>
                <a:gd name="T5" fmla="*/ 251 h 860"/>
                <a:gd name="T6" fmla="*/ 347 w 598"/>
                <a:gd name="T7" fmla="*/ 322 h 860"/>
                <a:gd name="T8" fmla="*/ 275 w 598"/>
                <a:gd name="T9" fmla="*/ 251 h 860"/>
                <a:gd name="T10" fmla="*/ 598 w 598"/>
                <a:gd name="T11" fmla="*/ 752 h 860"/>
                <a:gd name="T12" fmla="*/ 449 w 598"/>
                <a:gd name="T13" fmla="*/ 352 h 860"/>
                <a:gd name="T14" fmla="*/ 490 w 598"/>
                <a:gd name="T15" fmla="*/ 251 h 860"/>
                <a:gd name="T16" fmla="*/ 383 w 598"/>
                <a:gd name="T17" fmla="*/ 113 h 860"/>
                <a:gd name="T18" fmla="*/ 383 w 598"/>
                <a:gd name="T19" fmla="*/ 36 h 860"/>
                <a:gd name="T20" fmla="*/ 347 w 598"/>
                <a:gd name="T21" fmla="*/ 0 h 860"/>
                <a:gd name="T22" fmla="*/ 311 w 598"/>
                <a:gd name="T23" fmla="*/ 36 h 860"/>
                <a:gd name="T24" fmla="*/ 311 w 598"/>
                <a:gd name="T25" fmla="*/ 113 h 860"/>
                <a:gd name="T26" fmla="*/ 204 w 598"/>
                <a:gd name="T27" fmla="*/ 251 h 860"/>
                <a:gd name="T28" fmla="*/ 245 w 598"/>
                <a:gd name="T29" fmla="*/ 352 h 860"/>
                <a:gd name="T30" fmla="*/ 196 w 598"/>
                <a:gd name="T31" fmla="*/ 485 h 860"/>
                <a:gd name="T32" fmla="*/ 260 w 598"/>
                <a:gd name="T33" fmla="*/ 519 h 860"/>
                <a:gd name="T34" fmla="*/ 308 w 598"/>
                <a:gd name="T35" fmla="*/ 388 h 860"/>
                <a:gd name="T36" fmla="*/ 347 w 598"/>
                <a:gd name="T37" fmla="*/ 394 h 860"/>
                <a:gd name="T38" fmla="*/ 386 w 598"/>
                <a:gd name="T39" fmla="*/ 388 h 860"/>
                <a:gd name="T40" fmla="*/ 459 w 598"/>
                <a:gd name="T41" fmla="*/ 586 h 860"/>
                <a:gd name="T42" fmla="*/ 347 w 598"/>
                <a:gd name="T43" fmla="*/ 607 h 860"/>
                <a:gd name="T44" fmla="*/ 72 w 598"/>
                <a:gd name="T45" fmla="*/ 453 h 860"/>
                <a:gd name="T46" fmla="*/ 26 w 598"/>
                <a:gd name="T47" fmla="*/ 440 h 860"/>
                <a:gd name="T48" fmla="*/ 11 w 598"/>
                <a:gd name="T49" fmla="*/ 491 h 860"/>
                <a:gd name="T50" fmla="*/ 145 w 598"/>
                <a:gd name="T51" fmla="*/ 623 h 860"/>
                <a:gd name="T52" fmla="*/ 96 w 598"/>
                <a:gd name="T53" fmla="*/ 752 h 860"/>
                <a:gd name="T54" fmla="*/ 134 w 598"/>
                <a:gd name="T55" fmla="*/ 860 h 860"/>
                <a:gd name="T56" fmla="*/ 210 w 598"/>
                <a:gd name="T57" fmla="*/ 654 h 860"/>
                <a:gd name="T58" fmla="*/ 347 w 598"/>
                <a:gd name="T59" fmla="*/ 679 h 860"/>
                <a:gd name="T60" fmla="*/ 483 w 598"/>
                <a:gd name="T61" fmla="*/ 653 h 860"/>
                <a:gd name="T62" fmla="*/ 560 w 598"/>
                <a:gd name="T63" fmla="*/ 860 h 860"/>
                <a:gd name="T64" fmla="*/ 598 w 598"/>
                <a:gd name="T65" fmla="*/ 752 h 8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98" h="860">
                  <a:moveTo>
                    <a:pt x="275" y="251"/>
                  </a:moveTo>
                  <a:cubicBezTo>
                    <a:pt x="275" y="211"/>
                    <a:pt x="307" y="179"/>
                    <a:pt x="347" y="179"/>
                  </a:cubicBezTo>
                  <a:cubicBezTo>
                    <a:pt x="386" y="179"/>
                    <a:pt x="419" y="211"/>
                    <a:pt x="419" y="251"/>
                  </a:cubicBezTo>
                  <a:cubicBezTo>
                    <a:pt x="419" y="290"/>
                    <a:pt x="386" y="322"/>
                    <a:pt x="347" y="322"/>
                  </a:cubicBezTo>
                  <a:cubicBezTo>
                    <a:pt x="307" y="322"/>
                    <a:pt x="275" y="290"/>
                    <a:pt x="275" y="251"/>
                  </a:cubicBezTo>
                  <a:close/>
                  <a:moveTo>
                    <a:pt x="598" y="752"/>
                  </a:moveTo>
                  <a:lnTo>
                    <a:pt x="449" y="352"/>
                  </a:lnTo>
                  <a:cubicBezTo>
                    <a:pt x="474" y="326"/>
                    <a:pt x="490" y="290"/>
                    <a:pt x="490" y="251"/>
                  </a:cubicBezTo>
                  <a:cubicBezTo>
                    <a:pt x="490" y="184"/>
                    <a:pt x="444" y="129"/>
                    <a:pt x="383" y="113"/>
                  </a:cubicBezTo>
                  <a:lnTo>
                    <a:pt x="383" y="36"/>
                  </a:lnTo>
                  <a:cubicBezTo>
                    <a:pt x="383" y="16"/>
                    <a:pt x="367" y="0"/>
                    <a:pt x="347" y="0"/>
                  </a:cubicBezTo>
                  <a:cubicBezTo>
                    <a:pt x="327" y="0"/>
                    <a:pt x="311" y="16"/>
                    <a:pt x="311" y="36"/>
                  </a:cubicBezTo>
                  <a:lnTo>
                    <a:pt x="311" y="113"/>
                  </a:lnTo>
                  <a:cubicBezTo>
                    <a:pt x="250" y="129"/>
                    <a:pt x="204" y="184"/>
                    <a:pt x="204" y="251"/>
                  </a:cubicBezTo>
                  <a:cubicBezTo>
                    <a:pt x="204" y="290"/>
                    <a:pt x="220" y="326"/>
                    <a:pt x="245" y="352"/>
                  </a:cubicBezTo>
                  <a:lnTo>
                    <a:pt x="196" y="485"/>
                  </a:lnTo>
                  <a:cubicBezTo>
                    <a:pt x="216" y="499"/>
                    <a:pt x="237" y="511"/>
                    <a:pt x="260" y="519"/>
                  </a:cubicBezTo>
                  <a:lnTo>
                    <a:pt x="308" y="388"/>
                  </a:lnTo>
                  <a:cubicBezTo>
                    <a:pt x="321" y="392"/>
                    <a:pt x="333" y="394"/>
                    <a:pt x="347" y="394"/>
                  </a:cubicBezTo>
                  <a:cubicBezTo>
                    <a:pt x="361" y="394"/>
                    <a:pt x="373" y="392"/>
                    <a:pt x="386" y="388"/>
                  </a:cubicBezTo>
                  <a:lnTo>
                    <a:pt x="459" y="586"/>
                  </a:lnTo>
                  <a:cubicBezTo>
                    <a:pt x="423" y="599"/>
                    <a:pt x="386" y="607"/>
                    <a:pt x="347" y="607"/>
                  </a:cubicBezTo>
                  <a:cubicBezTo>
                    <a:pt x="233" y="607"/>
                    <a:pt x="130" y="549"/>
                    <a:pt x="72" y="453"/>
                  </a:cubicBezTo>
                  <a:cubicBezTo>
                    <a:pt x="63" y="438"/>
                    <a:pt x="43" y="432"/>
                    <a:pt x="26" y="440"/>
                  </a:cubicBezTo>
                  <a:cubicBezTo>
                    <a:pt x="7" y="449"/>
                    <a:pt x="0" y="473"/>
                    <a:pt x="11" y="491"/>
                  </a:cubicBezTo>
                  <a:cubicBezTo>
                    <a:pt x="45" y="547"/>
                    <a:pt x="92" y="591"/>
                    <a:pt x="145" y="623"/>
                  </a:cubicBezTo>
                  <a:lnTo>
                    <a:pt x="96" y="752"/>
                  </a:lnTo>
                  <a:lnTo>
                    <a:pt x="134" y="860"/>
                  </a:lnTo>
                  <a:lnTo>
                    <a:pt x="210" y="654"/>
                  </a:lnTo>
                  <a:cubicBezTo>
                    <a:pt x="253" y="670"/>
                    <a:pt x="299" y="679"/>
                    <a:pt x="347" y="679"/>
                  </a:cubicBezTo>
                  <a:cubicBezTo>
                    <a:pt x="394" y="679"/>
                    <a:pt x="440" y="669"/>
                    <a:pt x="483" y="653"/>
                  </a:cubicBezTo>
                  <a:lnTo>
                    <a:pt x="560" y="860"/>
                  </a:lnTo>
                  <a:lnTo>
                    <a:pt x="598" y="75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5" name="Freeform 52"/>
            <p:cNvSpPr>
              <a:spLocks noEditPoints="1"/>
            </p:cNvSpPr>
            <p:nvPr/>
          </p:nvSpPr>
          <p:spPr bwMode="auto">
            <a:xfrm>
              <a:off x="8704053" y="2417306"/>
              <a:ext cx="264672" cy="272813"/>
            </a:xfrm>
            <a:custGeom>
              <a:avLst/>
              <a:gdLst>
                <a:gd name="T0" fmla="*/ 179 w 839"/>
                <a:gd name="T1" fmla="*/ 143 h 860"/>
                <a:gd name="T2" fmla="*/ 609 w 839"/>
                <a:gd name="T3" fmla="*/ 143 h 860"/>
                <a:gd name="T4" fmla="*/ 609 w 839"/>
                <a:gd name="T5" fmla="*/ 269 h 860"/>
                <a:gd name="T6" fmla="*/ 474 w 839"/>
                <a:gd name="T7" fmla="*/ 383 h 860"/>
                <a:gd name="T8" fmla="*/ 526 w 839"/>
                <a:gd name="T9" fmla="*/ 440 h 860"/>
                <a:gd name="T10" fmla="*/ 839 w 839"/>
                <a:gd name="T11" fmla="*/ 208 h 860"/>
                <a:gd name="T12" fmla="*/ 781 w 839"/>
                <a:gd name="T13" fmla="*/ 151 h 860"/>
                <a:gd name="T14" fmla="*/ 680 w 839"/>
                <a:gd name="T15" fmla="*/ 215 h 860"/>
                <a:gd name="T16" fmla="*/ 680 w 839"/>
                <a:gd name="T17" fmla="*/ 72 h 860"/>
                <a:gd name="T18" fmla="*/ 430 w 839"/>
                <a:gd name="T19" fmla="*/ 72 h 860"/>
                <a:gd name="T20" fmla="*/ 430 w 839"/>
                <a:gd name="T21" fmla="*/ 0 h 860"/>
                <a:gd name="T22" fmla="*/ 358 w 839"/>
                <a:gd name="T23" fmla="*/ 0 h 860"/>
                <a:gd name="T24" fmla="*/ 358 w 839"/>
                <a:gd name="T25" fmla="*/ 72 h 860"/>
                <a:gd name="T26" fmla="*/ 107 w 839"/>
                <a:gd name="T27" fmla="*/ 72 h 860"/>
                <a:gd name="T28" fmla="*/ 107 w 839"/>
                <a:gd name="T29" fmla="*/ 537 h 860"/>
                <a:gd name="T30" fmla="*/ 179 w 839"/>
                <a:gd name="T31" fmla="*/ 537 h 860"/>
                <a:gd name="T32" fmla="*/ 179 w 839"/>
                <a:gd name="T33" fmla="*/ 143 h 860"/>
                <a:gd name="T34" fmla="*/ 680 w 839"/>
                <a:gd name="T35" fmla="*/ 537 h 860"/>
                <a:gd name="T36" fmla="*/ 680 w 839"/>
                <a:gd name="T37" fmla="*/ 393 h 860"/>
                <a:gd name="T38" fmla="*/ 609 w 839"/>
                <a:gd name="T39" fmla="*/ 447 h 860"/>
                <a:gd name="T40" fmla="*/ 609 w 839"/>
                <a:gd name="T41" fmla="*/ 537 h 860"/>
                <a:gd name="T42" fmla="*/ 680 w 839"/>
                <a:gd name="T43" fmla="*/ 537 h 860"/>
                <a:gd name="T44" fmla="*/ 371 w 839"/>
                <a:gd name="T45" fmla="*/ 473 h 860"/>
                <a:gd name="T46" fmla="*/ 414 w 839"/>
                <a:gd name="T47" fmla="*/ 530 h 860"/>
                <a:gd name="T48" fmla="*/ 506 w 839"/>
                <a:gd name="T49" fmla="*/ 461 h 860"/>
                <a:gd name="T50" fmla="*/ 463 w 839"/>
                <a:gd name="T51" fmla="*/ 404 h 860"/>
                <a:gd name="T52" fmla="*/ 371 w 839"/>
                <a:gd name="T53" fmla="*/ 473 h 860"/>
                <a:gd name="T54" fmla="*/ 0 w 839"/>
                <a:gd name="T55" fmla="*/ 681 h 860"/>
                <a:gd name="T56" fmla="*/ 233 w 839"/>
                <a:gd name="T57" fmla="*/ 681 h 860"/>
                <a:gd name="T58" fmla="*/ 166 w 839"/>
                <a:gd name="T59" fmla="*/ 860 h 860"/>
                <a:gd name="T60" fmla="*/ 243 w 839"/>
                <a:gd name="T61" fmla="*/ 860 h 860"/>
                <a:gd name="T62" fmla="*/ 310 w 839"/>
                <a:gd name="T63" fmla="*/ 681 h 860"/>
                <a:gd name="T64" fmla="*/ 358 w 839"/>
                <a:gd name="T65" fmla="*/ 681 h 860"/>
                <a:gd name="T66" fmla="*/ 358 w 839"/>
                <a:gd name="T67" fmla="*/ 860 h 860"/>
                <a:gd name="T68" fmla="*/ 430 w 839"/>
                <a:gd name="T69" fmla="*/ 860 h 860"/>
                <a:gd name="T70" fmla="*/ 430 w 839"/>
                <a:gd name="T71" fmla="*/ 681 h 860"/>
                <a:gd name="T72" fmla="*/ 547 w 839"/>
                <a:gd name="T73" fmla="*/ 681 h 860"/>
                <a:gd name="T74" fmla="*/ 614 w 839"/>
                <a:gd name="T75" fmla="*/ 860 h 860"/>
                <a:gd name="T76" fmla="*/ 690 w 839"/>
                <a:gd name="T77" fmla="*/ 860 h 860"/>
                <a:gd name="T78" fmla="*/ 623 w 839"/>
                <a:gd name="T79" fmla="*/ 681 h 860"/>
                <a:gd name="T80" fmla="*/ 788 w 839"/>
                <a:gd name="T81" fmla="*/ 681 h 860"/>
                <a:gd name="T82" fmla="*/ 788 w 839"/>
                <a:gd name="T83" fmla="*/ 609 h 860"/>
                <a:gd name="T84" fmla="*/ 0 w 839"/>
                <a:gd name="T85" fmla="*/ 609 h 860"/>
                <a:gd name="T86" fmla="*/ 0 w 839"/>
                <a:gd name="T87" fmla="*/ 681 h 8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839" h="860">
                  <a:moveTo>
                    <a:pt x="179" y="143"/>
                  </a:moveTo>
                  <a:lnTo>
                    <a:pt x="609" y="143"/>
                  </a:lnTo>
                  <a:lnTo>
                    <a:pt x="609" y="269"/>
                  </a:lnTo>
                  <a:lnTo>
                    <a:pt x="474" y="383"/>
                  </a:lnTo>
                  <a:lnTo>
                    <a:pt x="526" y="440"/>
                  </a:lnTo>
                  <a:lnTo>
                    <a:pt x="839" y="208"/>
                  </a:lnTo>
                  <a:lnTo>
                    <a:pt x="781" y="151"/>
                  </a:lnTo>
                  <a:lnTo>
                    <a:pt x="680" y="215"/>
                  </a:lnTo>
                  <a:lnTo>
                    <a:pt x="680" y="72"/>
                  </a:lnTo>
                  <a:lnTo>
                    <a:pt x="430" y="72"/>
                  </a:lnTo>
                  <a:lnTo>
                    <a:pt x="430" y="0"/>
                  </a:lnTo>
                  <a:lnTo>
                    <a:pt x="358" y="0"/>
                  </a:lnTo>
                  <a:lnTo>
                    <a:pt x="358" y="72"/>
                  </a:lnTo>
                  <a:lnTo>
                    <a:pt x="107" y="72"/>
                  </a:lnTo>
                  <a:lnTo>
                    <a:pt x="107" y="537"/>
                  </a:lnTo>
                  <a:lnTo>
                    <a:pt x="179" y="537"/>
                  </a:lnTo>
                  <a:lnTo>
                    <a:pt x="179" y="143"/>
                  </a:lnTo>
                  <a:close/>
                  <a:moveTo>
                    <a:pt x="680" y="537"/>
                  </a:moveTo>
                  <a:lnTo>
                    <a:pt x="680" y="393"/>
                  </a:lnTo>
                  <a:lnTo>
                    <a:pt x="609" y="447"/>
                  </a:lnTo>
                  <a:lnTo>
                    <a:pt x="609" y="537"/>
                  </a:lnTo>
                  <a:lnTo>
                    <a:pt x="680" y="537"/>
                  </a:lnTo>
                  <a:close/>
                  <a:moveTo>
                    <a:pt x="371" y="473"/>
                  </a:moveTo>
                  <a:lnTo>
                    <a:pt x="414" y="530"/>
                  </a:lnTo>
                  <a:lnTo>
                    <a:pt x="506" y="461"/>
                  </a:lnTo>
                  <a:lnTo>
                    <a:pt x="463" y="404"/>
                  </a:lnTo>
                  <a:lnTo>
                    <a:pt x="371" y="473"/>
                  </a:lnTo>
                  <a:close/>
                  <a:moveTo>
                    <a:pt x="0" y="681"/>
                  </a:moveTo>
                  <a:lnTo>
                    <a:pt x="233" y="681"/>
                  </a:lnTo>
                  <a:lnTo>
                    <a:pt x="166" y="860"/>
                  </a:lnTo>
                  <a:lnTo>
                    <a:pt x="243" y="860"/>
                  </a:lnTo>
                  <a:lnTo>
                    <a:pt x="310" y="681"/>
                  </a:lnTo>
                  <a:lnTo>
                    <a:pt x="358" y="681"/>
                  </a:lnTo>
                  <a:lnTo>
                    <a:pt x="358" y="860"/>
                  </a:lnTo>
                  <a:lnTo>
                    <a:pt x="430" y="860"/>
                  </a:lnTo>
                  <a:lnTo>
                    <a:pt x="430" y="681"/>
                  </a:lnTo>
                  <a:lnTo>
                    <a:pt x="547" y="681"/>
                  </a:lnTo>
                  <a:lnTo>
                    <a:pt x="614" y="860"/>
                  </a:lnTo>
                  <a:lnTo>
                    <a:pt x="690" y="860"/>
                  </a:lnTo>
                  <a:lnTo>
                    <a:pt x="623" y="681"/>
                  </a:lnTo>
                  <a:lnTo>
                    <a:pt x="788" y="681"/>
                  </a:lnTo>
                  <a:lnTo>
                    <a:pt x="788" y="609"/>
                  </a:lnTo>
                  <a:lnTo>
                    <a:pt x="0" y="609"/>
                  </a:lnTo>
                  <a:lnTo>
                    <a:pt x="0" y="68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6" name="Freeform 53"/>
            <p:cNvSpPr>
              <a:spLocks noEditPoints="1"/>
            </p:cNvSpPr>
            <p:nvPr/>
          </p:nvSpPr>
          <p:spPr bwMode="auto">
            <a:xfrm>
              <a:off x="8695782" y="4695336"/>
              <a:ext cx="281214" cy="245254"/>
            </a:xfrm>
            <a:custGeom>
              <a:avLst/>
              <a:gdLst>
                <a:gd name="T0" fmla="*/ 408 w 888"/>
                <a:gd name="T1" fmla="*/ 61 h 777"/>
                <a:gd name="T2" fmla="*/ 337 w 888"/>
                <a:gd name="T3" fmla="*/ 61 h 777"/>
                <a:gd name="T4" fmla="*/ 337 w 888"/>
                <a:gd name="T5" fmla="*/ 539 h 777"/>
                <a:gd name="T6" fmla="*/ 408 w 888"/>
                <a:gd name="T7" fmla="*/ 556 h 777"/>
                <a:gd name="T8" fmla="*/ 408 w 888"/>
                <a:gd name="T9" fmla="*/ 61 h 777"/>
                <a:gd name="T10" fmla="*/ 552 w 888"/>
                <a:gd name="T11" fmla="*/ 61 h 777"/>
                <a:gd name="T12" fmla="*/ 480 w 888"/>
                <a:gd name="T13" fmla="*/ 61 h 777"/>
                <a:gd name="T14" fmla="*/ 480 w 888"/>
                <a:gd name="T15" fmla="*/ 556 h 777"/>
                <a:gd name="T16" fmla="*/ 552 w 888"/>
                <a:gd name="T17" fmla="*/ 539 h 777"/>
                <a:gd name="T18" fmla="*/ 552 w 888"/>
                <a:gd name="T19" fmla="*/ 61 h 777"/>
                <a:gd name="T20" fmla="*/ 829 w 888"/>
                <a:gd name="T21" fmla="*/ 27 h 777"/>
                <a:gd name="T22" fmla="*/ 734 w 888"/>
                <a:gd name="T23" fmla="*/ 5 h 777"/>
                <a:gd name="T24" fmla="*/ 652 w 888"/>
                <a:gd name="T25" fmla="*/ 56 h 777"/>
                <a:gd name="T26" fmla="*/ 696 w 888"/>
                <a:gd name="T27" fmla="*/ 357 h 777"/>
                <a:gd name="T28" fmla="*/ 634 w 888"/>
                <a:gd name="T29" fmla="*/ 526 h 777"/>
                <a:gd name="T30" fmla="*/ 444 w 888"/>
                <a:gd name="T31" fmla="*/ 595 h 777"/>
                <a:gd name="T32" fmla="*/ 254 w 888"/>
                <a:gd name="T33" fmla="*/ 526 h 777"/>
                <a:gd name="T34" fmla="*/ 193 w 888"/>
                <a:gd name="T35" fmla="*/ 357 h 777"/>
                <a:gd name="T36" fmla="*/ 237 w 888"/>
                <a:gd name="T37" fmla="*/ 57 h 777"/>
                <a:gd name="T38" fmla="*/ 155 w 888"/>
                <a:gd name="T39" fmla="*/ 5 h 777"/>
                <a:gd name="T40" fmla="*/ 60 w 888"/>
                <a:gd name="T41" fmla="*/ 27 h 777"/>
                <a:gd name="T42" fmla="*/ 35 w 888"/>
                <a:gd name="T43" fmla="*/ 179 h 777"/>
                <a:gd name="T44" fmla="*/ 92 w 888"/>
                <a:gd name="T45" fmla="*/ 216 h 777"/>
                <a:gd name="T46" fmla="*/ 134 w 888"/>
                <a:gd name="T47" fmla="*/ 189 h 777"/>
                <a:gd name="T48" fmla="*/ 107 w 888"/>
                <a:gd name="T49" fmla="*/ 146 h 777"/>
                <a:gd name="T50" fmla="*/ 93 w 888"/>
                <a:gd name="T51" fmla="*/ 137 h 777"/>
                <a:gd name="T52" fmla="*/ 102 w 888"/>
                <a:gd name="T53" fmla="*/ 85 h 777"/>
                <a:gd name="T54" fmla="*/ 143 w 888"/>
                <a:gd name="T55" fmla="*/ 76 h 777"/>
                <a:gd name="T56" fmla="*/ 179 w 888"/>
                <a:gd name="T57" fmla="*/ 99 h 777"/>
                <a:gd name="T58" fmla="*/ 130 w 888"/>
                <a:gd name="T59" fmla="*/ 321 h 777"/>
                <a:gd name="T60" fmla="*/ 122 w 888"/>
                <a:gd name="T61" fmla="*/ 330 h 777"/>
                <a:gd name="T62" fmla="*/ 122 w 888"/>
                <a:gd name="T63" fmla="*/ 341 h 777"/>
                <a:gd name="T64" fmla="*/ 202 w 888"/>
                <a:gd name="T65" fmla="*/ 575 h 777"/>
                <a:gd name="T66" fmla="*/ 445 w 888"/>
                <a:gd name="T67" fmla="*/ 666 h 777"/>
                <a:gd name="T68" fmla="*/ 687 w 888"/>
                <a:gd name="T69" fmla="*/ 575 h 777"/>
                <a:gd name="T70" fmla="*/ 767 w 888"/>
                <a:gd name="T71" fmla="*/ 341 h 777"/>
                <a:gd name="T72" fmla="*/ 766 w 888"/>
                <a:gd name="T73" fmla="*/ 330 h 777"/>
                <a:gd name="T74" fmla="*/ 759 w 888"/>
                <a:gd name="T75" fmla="*/ 321 h 777"/>
                <a:gd name="T76" fmla="*/ 710 w 888"/>
                <a:gd name="T77" fmla="*/ 98 h 777"/>
                <a:gd name="T78" fmla="*/ 746 w 888"/>
                <a:gd name="T79" fmla="*/ 76 h 777"/>
                <a:gd name="T80" fmla="*/ 787 w 888"/>
                <a:gd name="T81" fmla="*/ 85 h 777"/>
                <a:gd name="T82" fmla="*/ 795 w 888"/>
                <a:gd name="T83" fmla="*/ 137 h 777"/>
                <a:gd name="T84" fmla="*/ 782 w 888"/>
                <a:gd name="T85" fmla="*/ 146 h 777"/>
                <a:gd name="T86" fmla="*/ 754 w 888"/>
                <a:gd name="T87" fmla="*/ 189 h 777"/>
                <a:gd name="T88" fmla="*/ 797 w 888"/>
                <a:gd name="T89" fmla="*/ 216 h 777"/>
                <a:gd name="T90" fmla="*/ 854 w 888"/>
                <a:gd name="T91" fmla="*/ 179 h 777"/>
                <a:gd name="T92" fmla="*/ 829 w 888"/>
                <a:gd name="T93" fmla="*/ 27 h 777"/>
                <a:gd name="T94" fmla="*/ 301 w 888"/>
                <a:gd name="T95" fmla="*/ 777 h 777"/>
                <a:gd name="T96" fmla="*/ 587 w 888"/>
                <a:gd name="T97" fmla="*/ 777 h 777"/>
                <a:gd name="T98" fmla="*/ 587 w 888"/>
                <a:gd name="T99" fmla="*/ 705 h 777"/>
                <a:gd name="T100" fmla="*/ 301 w 888"/>
                <a:gd name="T101" fmla="*/ 705 h 777"/>
                <a:gd name="T102" fmla="*/ 301 w 888"/>
                <a:gd name="T103" fmla="*/ 777 h 7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888" h="777">
                  <a:moveTo>
                    <a:pt x="408" y="61"/>
                  </a:moveTo>
                  <a:lnTo>
                    <a:pt x="337" y="61"/>
                  </a:lnTo>
                  <a:lnTo>
                    <a:pt x="337" y="539"/>
                  </a:lnTo>
                  <a:cubicBezTo>
                    <a:pt x="372" y="548"/>
                    <a:pt x="372" y="554"/>
                    <a:pt x="408" y="556"/>
                  </a:cubicBezTo>
                  <a:lnTo>
                    <a:pt x="408" y="61"/>
                  </a:lnTo>
                  <a:close/>
                  <a:moveTo>
                    <a:pt x="552" y="61"/>
                  </a:moveTo>
                  <a:lnTo>
                    <a:pt x="480" y="61"/>
                  </a:lnTo>
                  <a:lnTo>
                    <a:pt x="480" y="556"/>
                  </a:lnTo>
                  <a:cubicBezTo>
                    <a:pt x="516" y="554"/>
                    <a:pt x="516" y="548"/>
                    <a:pt x="552" y="539"/>
                  </a:cubicBezTo>
                  <a:lnTo>
                    <a:pt x="552" y="61"/>
                  </a:lnTo>
                  <a:close/>
                  <a:moveTo>
                    <a:pt x="829" y="27"/>
                  </a:moveTo>
                  <a:cubicBezTo>
                    <a:pt x="801" y="8"/>
                    <a:pt x="768" y="0"/>
                    <a:pt x="734" y="5"/>
                  </a:cubicBezTo>
                  <a:cubicBezTo>
                    <a:pt x="700" y="11"/>
                    <a:pt x="671" y="29"/>
                    <a:pt x="652" y="56"/>
                  </a:cubicBezTo>
                  <a:cubicBezTo>
                    <a:pt x="591" y="139"/>
                    <a:pt x="637" y="279"/>
                    <a:pt x="696" y="357"/>
                  </a:cubicBezTo>
                  <a:cubicBezTo>
                    <a:pt x="695" y="386"/>
                    <a:pt x="689" y="468"/>
                    <a:pt x="634" y="526"/>
                  </a:cubicBezTo>
                  <a:cubicBezTo>
                    <a:pt x="592" y="572"/>
                    <a:pt x="528" y="595"/>
                    <a:pt x="444" y="595"/>
                  </a:cubicBezTo>
                  <a:cubicBezTo>
                    <a:pt x="361" y="595"/>
                    <a:pt x="297" y="572"/>
                    <a:pt x="254" y="526"/>
                  </a:cubicBezTo>
                  <a:cubicBezTo>
                    <a:pt x="199" y="468"/>
                    <a:pt x="193" y="385"/>
                    <a:pt x="193" y="357"/>
                  </a:cubicBezTo>
                  <a:cubicBezTo>
                    <a:pt x="252" y="279"/>
                    <a:pt x="298" y="139"/>
                    <a:pt x="237" y="57"/>
                  </a:cubicBezTo>
                  <a:cubicBezTo>
                    <a:pt x="217" y="29"/>
                    <a:pt x="188" y="11"/>
                    <a:pt x="155" y="5"/>
                  </a:cubicBezTo>
                  <a:cubicBezTo>
                    <a:pt x="121" y="0"/>
                    <a:pt x="87" y="8"/>
                    <a:pt x="60" y="27"/>
                  </a:cubicBezTo>
                  <a:cubicBezTo>
                    <a:pt x="11" y="63"/>
                    <a:pt x="0" y="130"/>
                    <a:pt x="35" y="179"/>
                  </a:cubicBezTo>
                  <a:cubicBezTo>
                    <a:pt x="49" y="198"/>
                    <a:pt x="69" y="212"/>
                    <a:pt x="92" y="216"/>
                  </a:cubicBezTo>
                  <a:cubicBezTo>
                    <a:pt x="111" y="220"/>
                    <a:pt x="130" y="208"/>
                    <a:pt x="134" y="189"/>
                  </a:cubicBezTo>
                  <a:cubicBezTo>
                    <a:pt x="138" y="169"/>
                    <a:pt x="126" y="150"/>
                    <a:pt x="107" y="146"/>
                  </a:cubicBezTo>
                  <a:cubicBezTo>
                    <a:pt x="101" y="145"/>
                    <a:pt x="96" y="142"/>
                    <a:pt x="93" y="137"/>
                  </a:cubicBezTo>
                  <a:cubicBezTo>
                    <a:pt x="81" y="121"/>
                    <a:pt x="85" y="97"/>
                    <a:pt x="102" y="85"/>
                  </a:cubicBezTo>
                  <a:cubicBezTo>
                    <a:pt x="114" y="77"/>
                    <a:pt x="128" y="73"/>
                    <a:pt x="143" y="76"/>
                  </a:cubicBezTo>
                  <a:cubicBezTo>
                    <a:pt x="157" y="78"/>
                    <a:pt x="170" y="86"/>
                    <a:pt x="179" y="99"/>
                  </a:cubicBezTo>
                  <a:cubicBezTo>
                    <a:pt x="215" y="148"/>
                    <a:pt x="182" y="259"/>
                    <a:pt x="130" y="321"/>
                  </a:cubicBezTo>
                  <a:lnTo>
                    <a:pt x="122" y="330"/>
                  </a:lnTo>
                  <a:lnTo>
                    <a:pt x="122" y="341"/>
                  </a:lnTo>
                  <a:cubicBezTo>
                    <a:pt x="121" y="347"/>
                    <a:pt x="113" y="480"/>
                    <a:pt x="202" y="575"/>
                  </a:cubicBezTo>
                  <a:cubicBezTo>
                    <a:pt x="258" y="636"/>
                    <a:pt x="340" y="666"/>
                    <a:pt x="445" y="666"/>
                  </a:cubicBezTo>
                  <a:cubicBezTo>
                    <a:pt x="549" y="666"/>
                    <a:pt x="630" y="636"/>
                    <a:pt x="687" y="575"/>
                  </a:cubicBezTo>
                  <a:cubicBezTo>
                    <a:pt x="775" y="480"/>
                    <a:pt x="767" y="347"/>
                    <a:pt x="767" y="341"/>
                  </a:cubicBezTo>
                  <a:lnTo>
                    <a:pt x="766" y="330"/>
                  </a:lnTo>
                  <a:lnTo>
                    <a:pt x="759" y="321"/>
                  </a:lnTo>
                  <a:cubicBezTo>
                    <a:pt x="706" y="259"/>
                    <a:pt x="673" y="148"/>
                    <a:pt x="710" y="98"/>
                  </a:cubicBezTo>
                  <a:cubicBezTo>
                    <a:pt x="718" y="86"/>
                    <a:pt x="731" y="78"/>
                    <a:pt x="746" y="76"/>
                  </a:cubicBezTo>
                  <a:cubicBezTo>
                    <a:pt x="760" y="73"/>
                    <a:pt x="775" y="77"/>
                    <a:pt x="787" y="85"/>
                  </a:cubicBezTo>
                  <a:cubicBezTo>
                    <a:pt x="803" y="97"/>
                    <a:pt x="807" y="121"/>
                    <a:pt x="795" y="137"/>
                  </a:cubicBezTo>
                  <a:cubicBezTo>
                    <a:pt x="792" y="142"/>
                    <a:pt x="787" y="145"/>
                    <a:pt x="782" y="146"/>
                  </a:cubicBezTo>
                  <a:cubicBezTo>
                    <a:pt x="762" y="150"/>
                    <a:pt x="750" y="169"/>
                    <a:pt x="754" y="189"/>
                  </a:cubicBezTo>
                  <a:cubicBezTo>
                    <a:pt x="758" y="208"/>
                    <a:pt x="777" y="220"/>
                    <a:pt x="797" y="216"/>
                  </a:cubicBezTo>
                  <a:cubicBezTo>
                    <a:pt x="820" y="212"/>
                    <a:pt x="840" y="198"/>
                    <a:pt x="854" y="179"/>
                  </a:cubicBezTo>
                  <a:cubicBezTo>
                    <a:pt x="888" y="130"/>
                    <a:pt x="877" y="63"/>
                    <a:pt x="829" y="27"/>
                  </a:cubicBezTo>
                  <a:close/>
                  <a:moveTo>
                    <a:pt x="301" y="777"/>
                  </a:moveTo>
                  <a:lnTo>
                    <a:pt x="587" y="777"/>
                  </a:lnTo>
                  <a:lnTo>
                    <a:pt x="587" y="705"/>
                  </a:lnTo>
                  <a:lnTo>
                    <a:pt x="301" y="705"/>
                  </a:lnTo>
                  <a:lnTo>
                    <a:pt x="301" y="77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115" name="AutoShape 4"/>
          <p:cNvSpPr>
            <a:spLocks noChangeAspect="1" noChangeArrowheads="1" noTextEdit="1"/>
          </p:cNvSpPr>
          <p:nvPr/>
        </p:nvSpPr>
        <p:spPr bwMode="auto">
          <a:xfrm>
            <a:off x="5844301" y="1808388"/>
            <a:ext cx="918665" cy="3170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16" name="Рисунок 115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185" name="TextBox 184"/>
          <p:cNvSpPr txBox="1"/>
          <p:nvPr/>
        </p:nvSpPr>
        <p:spPr>
          <a:xfrm>
            <a:off x="394574" y="1545718"/>
            <a:ext cx="6301256" cy="461665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Open Sans" pitchFamily="34" charset="0"/>
                <a:ea typeface="Open Sans" pitchFamily="34" charset="0"/>
                <a:cs typeface="Open Sans" pitchFamily="34" charset="0"/>
              </a:rPr>
              <a:t>УМК </a:t>
            </a:r>
            <a:r>
              <a:rPr kumimoji="0" lang="ru-RU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Open Sans" pitchFamily="34" charset="0"/>
                <a:ea typeface="Open Sans" pitchFamily="34" charset="0"/>
                <a:cs typeface="Open Sans" pitchFamily="34" charset="0"/>
              </a:rPr>
              <a:t>«СФЕРЫ»</a:t>
            </a:r>
            <a:endParaRPr kumimoji="0" lang="ru-RU" sz="24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grpSp>
        <p:nvGrpSpPr>
          <p:cNvPr id="186" name="Группа 185"/>
          <p:cNvGrpSpPr/>
          <p:nvPr/>
        </p:nvGrpSpPr>
        <p:grpSpPr>
          <a:xfrm>
            <a:off x="339553" y="260649"/>
            <a:ext cx="1268960" cy="438775"/>
            <a:chOff x="254665" y="195486"/>
            <a:chExt cx="951720" cy="329081"/>
          </a:xfrm>
        </p:grpSpPr>
        <p:sp>
          <p:nvSpPr>
            <p:cNvPr id="187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8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9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0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1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2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3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4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5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6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7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8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9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0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pic>
        <p:nvPicPr>
          <p:cNvPr id="54" name="Picture 6" descr="https://catalog.prosv.ru/images/big/1ad47392-7045-11e7-9411-0050569c7d18.jp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55474" y="2648525"/>
            <a:ext cx="1719403" cy="23995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5" name="Picture 4" descr="https://catalog.prosv.ru/images/big/5a1e99a6-7044-11e7-9411-0050569c7d18.jp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30537" y="2648525"/>
            <a:ext cx="1711707" cy="23938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7" name="Picture 2" descr="https://catalog.prosv.ru/images/big/075d484f-7043-11e7-9411-0050569c7d18.jpg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8283" y="2648526"/>
            <a:ext cx="1799024" cy="23995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0" name="Прямоугольник 49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335360" y="6516869"/>
            <a:ext cx="3411921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914377">
              <a:defRPr/>
            </a:pPr>
            <a:r>
              <a:rPr lang="ru-RU" sz="1200" dirty="0">
                <a:solidFill>
                  <a:prstClr val="white">
                    <a:lumMod val="65000"/>
                  </a:prstClr>
                </a:solidFill>
                <a:latin typeface="Calibri"/>
              </a:rPr>
              <a:t>© АО «Издательство «Просвещение», 20</a:t>
            </a:r>
            <a:r>
              <a:rPr lang="en-US" sz="1200" dirty="0" smtClean="0">
                <a:solidFill>
                  <a:prstClr val="white">
                    <a:lumMod val="65000"/>
                  </a:prstClr>
                </a:solidFill>
                <a:latin typeface="Calibri"/>
              </a:rPr>
              <a:t>21</a:t>
            </a:r>
            <a:endParaRPr lang="ru-RU" sz="1200" dirty="0">
              <a:solidFill>
                <a:prstClr val="white">
                  <a:lumMod val="6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5819436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Прямоугольник 52"/>
          <p:cNvSpPr/>
          <p:nvPr/>
        </p:nvSpPr>
        <p:spPr>
          <a:xfrm>
            <a:off x="-3051" y="862266"/>
            <a:ext cx="12192000" cy="2918222"/>
          </a:xfrm>
          <a:prstGeom prst="rect">
            <a:avLst/>
          </a:prstGeom>
          <a:solidFill>
            <a:srgbClr val="F0F8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grpSp>
        <p:nvGrpSpPr>
          <p:cNvPr id="4" name="Группа 3"/>
          <p:cNvGrpSpPr/>
          <p:nvPr/>
        </p:nvGrpSpPr>
        <p:grpSpPr>
          <a:xfrm>
            <a:off x="339553" y="260649"/>
            <a:ext cx="1268960" cy="438775"/>
            <a:chOff x="254665" y="195486"/>
            <a:chExt cx="951720" cy="329081"/>
          </a:xfrm>
        </p:grpSpPr>
        <p:sp>
          <p:nvSpPr>
            <p:cNvPr id="32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33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34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35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36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37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38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39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40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41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42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43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44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45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</p:grpSp>
      <p:cxnSp>
        <p:nvCxnSpPr>
          <p:cNvPr id="47" name="Прямая соединительная линия 46"/>
          <p:cNvCxnSpPr/>
          <p:nvPr/>
        </p:nvCxnSpPr>
        <p:spPr>
          <a:xfrm>
            <a:off x="1967541" y="0"/>
            <a:ext cx="0" cy="670171"/>
          </a:xfrm>
          <a:prstGeom prst="line">
            <a:avLst/>
          </a:prstGeom>
          <a:ln w="6350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29259" y="6432715"/>
            <a:ext cx="719403" cy="356659"/>
          </a:xfrm>
        </p:spPr>
        <p:txBody>
          <a:bodyPr/>
          <a:lstStyle/>
          <a:p>
            <a:fld id="{00000000-1234-1234-1234-123412341234}" type="slidenum">
              <a:rPr lang="en" sz="1600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</a:rPr>
              <a:pPr/>
              <a:t>38</a:t>
            </a:fld>
            <a:endParaRPr lang="en" sz="1600" dirty="0">
              <a:solidFill>
                <a:schemeClr val="tx1">
                  <a:lumMod val="75000"/>
                  <a:lumOff val="25000"/>
                </a:schemeClr>
              </a:solidFill>
              <a:latin typeface="Calibri" pitchFamily="34" charset="0"/>
            </a:endParaRPr>
          </a:p>
        </p:txBody>
      </p:sp>
      <p:sp>
        <p:nvSpPr>
          <p:cNvPr id="21" name="Прямоугольник 20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335360" y="6516869"/>
            <a:ext cx="3411921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914377">
              <a:defRPr/>
            </a:pPr>
            <a:r>
              <a:rPr lang="ru-RU" sz="1200" dirty="0">
                <a:solidFill>
                  <a:prstClr val="white">
                    <a:lumMod val="65000"/>
                  </a:prstClr>
                </a:solidFill>
                <a:latin typeface="Calibri"/>
              </a:rPr>
              <a:t>© АО «Издательство «Просвещение», 20</a:t>
            </a:r>
            <a:r>
              <a:rPr lang="en-US" sz="1200" dirty="0" smtClean="0">
                <a:solidFill>
                  <a:prstClr val="white">
                    <a:lumMod val="65000"/>
                  </a:prstClr>
                </a:solidFill>
                <a:latin typeface="Calibri"/>
              </a:rPr>
              <a:t>21</a:t>
            </a:r>
            <a:endParaRPr lang="ru-RU" sz="1200" dirty="0">
              <a:solidFill>
                <a:prstClr val="white">
                  <a:lumMod val="65000"/>
                </a:prstClr>
              </a:solidFill>
              <a:latin typeface="Calibri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2107537" y="142679"/>
            <a:ext cx="8214236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000" b="1" dirty="0" smtClean="0">
                <a:solidFill>
                  <a:srgbClr val="002060"/>
                </a:solidFill>
              </a:rPr>
              <a:t>Линия</a:t>
            </a:r>
            <a:r>
              <a:rPr lang="ru-RU" sz="2000" b="1" dirty="0" smtClean="0">
                <a:solidFill>
                  <a:srgbClr val="002060"/>
                </a:solidFill>
                <a:latin typeface="Cambria" panose="02040503050406030204" pitchFamily="18" charset="0"/>
              </a:rPr>
              <a:t> </a:t>
            </a:r>
            <a:r>
              <a:rPr lang="ru-RU" sz="2000" b="1" dirty="0" smtClean="0">
                <a:solidFill>
                  <a:srgbClr val="FF0000"/>
                </a:solidFill>
              </a:rPr>
              <a:t>УМК «Сферы</a:t>
            </a:r>
            <a:r>
              <a:rPr lang="ru-RU" sz="2000" b="1" dirty="0">
                <a:solidFill>
                  <a:srgbClr val="FF0000"/>
                </a:solidFill>
              </a:rPr>
              <a:t>» В. В. </a:t>
            </a:r>
            <a:r>
              <a:rPr lang="ru-RU" sz="2000" b="1" dirty="0" err="1">
                <a:solidFill>
                  <a:srgbClr val="FF0000"/>
                </a:solidFill>
              </a:rPr>
              <a:t>Белага</a:t>
            </a:r>
            <a:r>
              <a:rPr lang="ru-RU" sz="2000" b="1" dirty="0">
                <a:solidFill>
                  <a:srgbClr val="FF0000"/>
                </a:solidFill>
              </a:rPr>
              <a:t>, Ю. А. </a:t>
            </a:r>
            <a:r>
              <a:rPr lang="ru-RU" sz="2000" b="1" dirty="0" err="1">
                <a:solidFill>
                  <a:srgbClr val="FF0000"/>
                </a:solidFill>
              </a:rPr>
              <a:t>Панебратцев</a:t>
            </a:r>
            <a:r>
              <a:rPr lang="ru-RU" sz="2000" b="1" dirty="0">
                <a:solidFill>
                  <a:srgbClr val="FF0000"/>
                </a:solidFill>
              </a:rPr>
              <a:t>, И. А. </a:t>
            </a:r>
            <a:r>
              <a:rPr lang="ru-RU" sz="2000" b="1" dirty="0" err="1">
                <a:solidFill>
                  <a:srgbClr val="FF0000"/>
                </a:solidFill>
              </a:rPr>
              <a:t>Ломаченков</a:t>
            </a:r>
            <a:endParaRPr lang="ru-RU" sz="2000" b="1" dirty="0">
              <a:solidFill>
                <a:srgbClr val="FF0000"/>
              </a:solidFill>
            </a:endParaRPr>
          </a:p>
          <a:p>
            <a:endParaRPr lang="ru-RU" sz="2000" b="1" dirty="0">
              <a:solidFill>
                <a:srgbClr val="FF0000"/>
              </a:solidFill>
            </a:endParaRPr>
          </a:p>
        </p:txBody>
      </p:sp>
      <p:sp>
        <p:nvSpPr>
          <p:cNvPr id="57" name="TextBox 56"/>
          <p:cNvSpPr txBox="1"/>
          <p:nvPr/>
        </p:nvSpPr>
        <p:spPr>
          <a:xfrm>
            <a:off x="5260612" y="3793527"/>
            <a:ext cx="4331537" cy="3277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ea typeface="Cambria" panose="02040503050406030204" pitchFamily="18" charset="0"/>
                <a:cs typeface="Open Sans Condensed" pitchFamily="34" charset="0"/>
              </a:rPr>
              <a:t>Состав УМК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ea typeface="Cambria" panose="02040503050406030204" pitchFamily="18" charset="0"/>
                <a:cs typeface="Open Sans Condensed" pitchFamily="34" charset="0"/>
              </a:rPr>
              <a:t>:</a:t>
            </a:r>
          </a:p>
        </p:txBody>
      </p:sp>
      <p:sp>
        <p:nvSpPr>
          <p:cNvPr id="58" name="TextBox 57"/>
          <p:cNvSpPr txBox="1"/>
          <p:nvPr/>
        </p:nvSpPr>
        <p:spPr>
          <a:xfrm>
            <a:off x="3747281" y="4127198"/>
            <a:ext cx="7358205" cy="19779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ea typeface="Cambria" panose="02040503050406030204" pitchFamily="18" charset="0"/>
                <a:cs typeface="Open Sans Condensed" pitchFamily="34" charset="0"/>
              </a:rPr>
              <a:t>Учебник </a:t>
            </a:r>
            <a:endParaRPr kumimoji="0" lang="ru-RU" sz="1800" b="0" i="0" u="none" strike="noStrike" kern="1200" cap="none" spc="0" normalizeH="0" baseline="0" noProof="0" dirty="0" smtClean="0">
              <a:ln>
                <a:noFill/>
              </a:ln>
              <a:solidFill>
                <a:srgbClr val="002060"/>
              </a:solidFill>
              <a:effectLst/>
              <a:uLnTx/>
              <a:uFillTx/>
              <a:ea typeface="Cambria" panose="02040503050406030204" pitchFamily="18" charset="0"/>
              <a:cs typeface="Open Sans Condensed" pitchFamily="34" charset="0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lang="ru-RU" dirty="0" smtClean="0">
                <a:solidFill>
                  <a:srgbClr val="002060"/>
                </a:solidFill>
                <a:ea typeface="Cambria" panose="02040503050406030204" pitchFamily="18" charset="0"/>
                <a:cs typeface="Open Sans Condensed" pitchFamily="34" charset="0"/>
              </a:rPr>
              <a:t>Поурочные </a:t>
            </a:r>
            <a:r>
              <a:rPr lang="ru-RU" dirty="0">
                <a:solidFill>
                  <a:srgbClr val="002060"/>
                </a:solidFill>
                <a:ea typeface="Cambria" panose="02040503050406030204" pitchFamily="18" charset="0"/>
                <a:cs typeface="Open Sans Condensed" pitchFamily="34" charset="0"/>
              </a:rPr>
              <a:t>методические рекомендации</a:t>
            </a:r>
          </a:p>
          <a:p>
            <a:pPr marL="342900" lvl="0" indent="-342900">
              <a:lnSpc>
                <a:spcPct val="85000"/>
              </a:lnSpc>
              <a:buFontTx/>
              <a:buAutoNum type="arabicPeriod"/>
              <a:defRPr/>
            </a:pPr>
            <a:r>
              <a:rPr lang="ru-RU" dirty="0">
                <a:solidFill>
                  <a:srgbClr val="002060"/>
                </a:solidFill>
                <a:ea typeface="Cambria" panose="02040503050406030204" pitchFamily="18" charset="0"/>
                <a:cs typeface="Open Sans Condensed" pitchFamily="34" charset="0"/>
              </a:rPr>
              <a:t>Рабочие программы</a:t>
            </a:r>
          </a:p>
          <a:p>
            <a:pPr marL="342900" marR="0" lvl="0" indent="-34290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ea typeface="Cambria" panose="02040503050406030204" pitchFamily="18" charset="0"/>
                <a:cs typeface="Open Sans Condensed" pitchFamily="34" charset="0"/>
              </a:rPr>
              <a:t>Тетрадь-тренажёр</a:t>
            </a:r>
          </a:p>
          <a:p>
            <a:pPr marL="342900" marR="0" lvl="0" indent="-34290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ea typeface="Cambria" panose="02040503050406030204" pitchFamily="18" charset="0"/>
                <a:cs typeface="Open Sans Condensed" pitchFamily="34" charset="0"/>
              </a:rPr>
              <a:t>Тетрадь-экзаменатор</a:t>
            </a:r>
          </a:p>
          <a:p>
            <a:pPr marL="342900" marR="0" lvl="0" indent="-34290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ea typeface="Cambria" panose="02040503050406030204" pitchFamily="18" charset="0"/>
                <a:cs typeface="Open Sans Condensed" pitchFamily="34" charset="0"/>
              </a:rPr>
              <a:t>Тетрадь-практикум</a:t>
            </a: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ea typeface="Cambria" panose="02040503050406030204" pitchFamily="18" charset="0"/>
              <a:cs typeface="Open Sans Condensed" pitchFamily="34" charset="0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ea typeface="Cambria" panose="02040503050406030204" pitchFamily="18" charset="0"/>
                <a:cs typeface="Open Sans Condensed" pitchFamily="34" charset="0"/>
              </a:rPr>
              <a:t>Электронное 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ea typeface="Cambria" panose="02040503050406030204" pitchFamily="18" charset="0"/>
                <a:cs typeface="Open Sans Condensed" pitchFamily="34" charset="0"/>
              </a:rPr>
              <a:t>приложение</a:t>
            </a:r>
          </a:p>
          <a:p>
            <a:pPr marL="342900" marR="0" lvl="0" indent="-34290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ea typeface="Cambria" panose="02040503050406030204" pitchFamily="18" charset="0"/>
                <a:cs typeface="Open Sans Condensed" pitchFamily="34" charset="0"/>
              </a:rPr>
              <a:t>Конструкторы уроков</a:t>
            </a:r>
          </a:p>
        </p:txBody>
      </p:sp>
      <p:pic>
        <p:nvPicPr>
          <p:cNvPr id="59" name="Рисунок 5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02575" y="5578265"/>
            <a:ext cx="615723" cy="287832"/>
          </a:xfrm>
          <a:prstGeom prst="rect">
            <a:avLst/>
          </a:prstGeom>
        </p:spPr>
      </p:pic>
      <p:pic>
        <p:nvPicPr>
          <p:cNvPr id="60" name="Рисунок 5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41236" y="4365768"/>
            <a:ext cx="615723" cy="287832"/>
          </a:xfrm>
          <a:prstGeom prst="rect">
            <a:avLst/>
          </a:prstGeom>
        </p:spPr>
      </p:pic>
      <p:pic>
        <p:nvPicPr>
          <p:cNvPr id="61" name="Рисунок 6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14655" y="4674853"/>
            <a:ext cx="615723" cy="287832"/>
          </a:xfrm>
          <a:prstGeom prst="rect">
            <a:avLst/>
          </a:prstGeom>
        </p:spPr>
      </p:pic>
      <p:sp>
        <p:nvSpPr>
          <p:cNvPr id="63" name="TextBox 62"/>
          <p:cNvSpPr txBox="1"/>
          <p:nvPr/>
        </p:nvSpPr>
        <p:spPr>
          <a:xfrm>
            <a:off x="4458103" y="1315867"/>
            <a:ext cx="7730846" cy="21698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ea typeface="Cambria" panose="02040503050406030204" pitchFamily="18" charset="0"/>
                <a:cs typeface="Open Sans Condensed" pitchFamily="34" charset="0"/>
              </a:rPr>
              <a:t>Ёмкость без потери содержания: разворот учебника – параграф</a:t>
            </a: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ea typeface="Cambria" panose="02040503050406030204" pitchFamily="18" charset="0"/>
              <a:cs typeface="Open Sans Condensed" pitchFamily="34" charset="0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ea typeface="Cambria" panose="02040503050406030204" pitchFamily="18" charset="0"/>
                <a:cs typeface="Open Sans Condensed" pitchFamily="34" charset="0"/>
              </a:rPr>
              <a:t>Яркость 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ea typeface="Cambria" panose="02040503050406030204" pitchFamily="18" charset="0"/>
                <a:cs typeface="Open Sans Condensed" pitchFamily="34" charset="0"/>
              </a:rPr>
              <a:t>и </a:t>
            </a: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ea typeface="Cambria" panose="02040503050406030204" pitchFamily="18" charset="0"/>
                <a:cs typeface="Open Sans Condensed" pitchFamily="34" charset="0"/>
              </a:rPr>
              <a:t>красочность оформления</a:t>
            </a: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ea typeface="Cambria" panose="02040503050406030204" pitchFamily="18" charset="0"/>
              <a:cs typeface="Open Sans Condensed" pitchFamily="34" charset="0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ea typeface="Cambria" panose="02040503050406030204" pitchFamily="18" charset="0"/>
                <a:cs typeface="Open Sans Condensed" pitchFamily="34" charset="0"/>
              </a:rPr>
              <a:t>Сделан упор на практическое применение физики</a:t>
            </a: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ea typeface="Cambria" panose="02040503050406030204" pitchFamily="18" charset="0"/>
              <a:cs typeface="Open Sans Condensed" pitchFamily="34" charset="0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lang="ru-RU" dirty="0" smtClean="0">
                <a:solidFill>
                  <a:srgbClr val="002060"/>
                </a:solidFill>
                <a:ea typeface="Cambria" panose="02040503050406030204" pitchFamily="18" charset="0"/>
                <a:cs typeface="Open Sans Condensed" pitchFamily="34" charset="0"/>
              </a:rPr>
              <a:t>Задачник и практикум с лабораторными работами в самом учебнике</a:t>
            </a: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ea typeface="Cambria" panose="02040503050406030204" pitchFamily="18" charset="0"/>
              <a:cs typeface="Open Sans Condensed" pitchFamily="34" charset="0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ea typeface="Cambria" panose="02040503050406030204" pitchFamily="18" charset="0"/>
                <a:cs typeface="Open Sans Condensed" pitchFamily="34" charset="0"/>
              </a:rPr>
              <a:t>Преемственность с УМК «Сферы» 10-11 класс (базовый уровень)</a:t>
            </a: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ea typeface="Cambria" panose="02040503050406030204" pitchFamily="18" charset="0"/>
              <a:cs typeface="Open Sans Condensed" pitchFamily="34" charset="0"/>
            </a:endParaRPr>
          </a:p>
        </p:txBody>
      </p:sp>
      <p:sp>
        <p:nvSpPr>
          <p:cNvPr id="46" name="Прямоугольник 45"/>
          <p:cNvSpPr/>
          <p:nvPr/>
        </p:nvSpPr>
        <p:spPr>
          <a:xfrm>
            <a:off x="946871" y="3792189"/>
            <a:ext cx="1602396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ea typeface="Cambria" panose="02040503050406030204" pitchFamily="18" charset="0"/>
                <a:cs typeface="Calibri" panose="020F0502020204030204" pitchFamily="34" charset="0"/>
              </a:rPr>
              <a:t>В ФПУ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ea typeface="Cambria" panose="02040503050406030204" pitchFamily="18" charset="0"/>
                <a:cs typeface="Calibri" panose="020F0502020204030204" pitchFamily="34" charset="0"/>
              </a:rPr>
              <a:t>1.1.2.5.1.1.1</a:t>
            </a: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ea typeface="Cambria" panose="02040503050406030204" pitchFamily="18" charset="0"/>
              <a:cs typeface="Calibri" panose="020F050202020403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ea typeface="Cambria" panose="02040503050406030204" pitchFamily="18" charset="0"/>
                <a:cs typeface="Calibri" panose="020F0502020204030204" pitchFamily="34" charset="0"/>
              </a:rPr>
              <a:t>1.1.2.5.1.1.2</a:t>
            </a: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ea typeface="Cambria" panose="02040503050406030204" pitchFamily="18" charset="0"/>
              <a:cs typeface="Calibri" panose="020F050202020403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ea typeface="Cambria" panose="02040503050406030204" pitchFamily="18" charset="0"/>
                <a:cs typeface="Calibri" panose="020F0502020204030204" pitchFamily="34" charset="0"/>
              </a:rPr>
              <a:t>1.1.2.5.1.1.3</a:t>
            </a: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ea typeface="Cambria" panose="02040503050406030204" pitchFamily="18" charset="0"/>
              <a:cs typeface="Calibri" panose="020F0502020204030204" pitchFamily="34" charset="0"/>
            </a:endParaRPr>
          </a:p>
        </p:txBody>
      </p:sp>
      <p:pic>
        <p:nvPicPr>
          <p:cNvPr id="48" name="Рисунок 4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54053" y="5838011"/>
            <a:ext cx="615723" cy="287832"/>
          </a:xfrm>
          <a:prstGeom prst="rect">
            <a:avLst/>
          </a:prstGeom>
        </p:spPr>
      </p:pic>
      <p:pic>
        <p:nvPicPr>
          <p:cNvPr id="52" name="Picture 6" descr="https://catalog.prosv.ru/images/big/1ad47392-7045-11e7-9411-0050569c7d18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1734" y="997290"/>
            <a:ext cx="1411207" cy="19694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0" name="Picture 4" descr="https://catalog.prosv.ru/images/big/5a1e99a6-7044-11e7-9411-0050569c7d18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4033" y="1265945"/>
            <a:ext cx="1405121" cy="19650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9" name="Picture 2" descr="https://catalog.prosv.ru/images/big/075d484f-7043-11e7-9411-0050569c7d18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7726" y="1557486"/>
            <a:ext cx="1473282" cy="19650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Прямоугольник 4"/>
          <p:cNvSpPr/>
          <p:nvPr/>
        </p:nvSpPr>
        <p:spPr>
          <a:xfrm>
            <a:off x="4163225" y="952179"/>
            <a:ext cx="614982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>
                <a:solidFill>
                  <a:srgbClr val="FF0000"/>
                </a:solidFill>
              </a:rPr>
              <a:t>Современный </a:t>
            </a:r>
            <a:r>
              <a:rPr lang="ru-RU" b="1" dirty="0" smtClean="0">
                <a:solidFill>
                  <a:srgbClr val="FF0000"/>
                </a:solidFill>
              </a:rPr>
              <a:t>практико-ориентированный  </a:t>
            </a:r>
            <a:r>
              <a:rPr lang="ru-RU" b="1" dirty="0">
                <a:solidFill>
                  <a:srgbClr val="FF0000"/>
                </a:solidFill>
              </a:rPr>
              <a:t>курс по физике</a:t>
            </a:r>
          </a:p>
        </p:txBody>
      </p:sp>
      <p:pic>
        <p:nvPicPr>
          <p:cNvPr id="54" name="Рисунок 53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71008" y="1218170"/>
            <a:ext cx="1257514" cy="7070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57958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Прямоугольник 44"/>
          <p:cNvSpPr/>
          <p:nvPr/>
        </p:nvSpPr>
        <p:spPr>
          <a:xfrm>
            <a:off x="7010143" y="-70075"/>
            <a:ext cx="5177889" cy="6888480"/>
          </a:xfrm>
          <a:prstGeom prst="rect">
            <a:avLst/>
          </a:prstGeom>
          <a:solidFill>
            <a:srgbClr val="D8EBF4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id="{C57A16CD-55A2-4F01-A658-438A93B431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819" name="Слайд think-cell" r:id="rId5" imgW="359" imgH="360" progId="TCLayout.ActiveDocument.1">
                  <p:embed/>
                </p:oleObj>
              </mc:Choice>
              <mc:Fallback>
                <p:oleObj name="Слайд think-cell" r:id="rId5" imgW="359" imgH="360" progId="TCLayout.ActiveDocument.1">
                  <p:embed/>
                  <p:pic>
                    <p:nvPicPr>
                      <p:cNvPr id="4" name="Объект 3" hidden="1">
                        <a:extLst>
                          <a:ext uri="{FF2B5EF4-FFF2-40B4-BE49-F238E27FC236}">
                            <a16:creationId xmlns:a16="http://schemas.microsoft.com/office/drawing/2014/main" id="{C57A16CD-55A2-4F01-A658-438A93B431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Номер слайда 8"/>
          <p:cNvSpPr txBox="1">
            <a:spLocks/>
          </p:cNvSpPr>
          <p:nvPr/>
        </p:nvSpPr>
        <p:spPr>
          <a:xfrm>
            <a:off x="8763000" y="65087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8" name="Прямоугольник 27"/>
          <p:cNvSpPr/>
          <p:nvPr/>
        </p:nvSpPr>
        <p:spPr>
          <a:xfrm>
            <a:off x="7219412" y="1521802"/>
            <a:ext cx="3582899" cy="324191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ea typeface="Open Sans" panose="020B0606030504020204" pitchFamily="34" charset="0"/>
                <a:cs typeface="Open Sans" panose="020B0606030504020204" pitchFamily="34" charset="0"/>
              </a:rPr>
              <a:t>Содержание</a:t>
            </a:r>
          </a:p>
          <a:p>
            <a:pPr marL="285750" lvl="0" indent="-285750">
              <a:spcBef>
                <a:spcPts val="1600"/>
              </a:spcBef>
              <a:buBlip>
                <a:blip r:embed="rId7"/>
              </a:buBlip>
              <a:defRPr/>
            </a:pPr>
            <a:r>
              <a:rPr lang="ru-RU" sz="1400" dirty="0">
                <a:solidFill>
                  <a:srgbClr val="002060"/>
                </a:solidFill>
                <a:ea typeface="Open Sans" pitchFamily="34" charset="0"/>
                <a:cs typeface="Open Sans" pitchFamily="34" charset="0"/>
              </a:rPr>
              <a:t>Линия УМК Н.С. </a:t>
            </a:r>
            <a:r>
              <a:rPr lang="ru-RU" sz="1400" dirty="0" err="1">
                <a:solidFill>
                  <a:srgbClr val="002060"/>
                </a:solidFill>
                <a:ea typeface="Open Sans" pitchFamily="34" charset="0"/>
                <a:cs typeface="Open Sans" pitchFamily="34" charset="0"/>
              </a:rPr>
              <a:t>Пурышевой</a:t>
            </a:r>
            <a:r>
              <a:rPr lang="ru-RU" sz="1400" dirty="0">
                <a:solidFill>
                  <a:srgbClr val="002060"/>
                </a:solidFill>
                <a:ea typeface="Open Sans" pitchFamily="34" charset="0"/>
                <a:cs typeface="Open Sans" pitchFamily="34" charset="0"/>
              </a:rPr>
              <a:t>, Н.Е. </a:t>
            </a:r>
            <a:r>
              <a:rPr lang="ru-RU" sz="1400" dirty="0" err="1">
                <a:solidFill>
                  <a:srgbClr val="002060"/>
                </a:solidFill>
                <a:ea typeface="Open Sans" pitchFamily="34" charset="0"/>
                <a:cs typeface="Open Sans" pitchFamily="34" charset="0"/>
              </a:rPr>
              <a:t>Важеевской</a:t>
            </a:r>
            <a:endParaRPr lang="ru-RU" sz="1400" dirty="0">
              <a:solidFill>
                <a:srgbClr val="002060"/>
              </a:solidFill>
              <a:ea typeface="Open Sans" pitchFamily="34" charset="0"/>
              <a:cs typeface="Open Sans" pitchFamily="34" charset="0"/>
            </a:endParaRPr>
          </a:p>
          <a:p>
            <a:pPr marL="285750" lvl="0" indent="-285750">
              <a:spcBef>
                <a:spcPts val="1600"/>
              </a:spcBef>
              <a:buBlip>
                <a:blip r:embed="rId7"/>
              </a:buBlip>
              <a:defRPr/>
            </a:pPr>
            <a:r>
              <a:rPr lang="ru-RU" sz="1400" dirty="0">
                <a:solidFill>
                  <a:srgbClr val="002060"/>
                </a:solidFill>
                <a:ea typeface="Open Sans" pitchFamily="34" charset="0"/>
                <a:cs typeface="Open Sans" pitchFamily="34" charset="0"/>
              </a:rPr>
              <a:t>Структурированное представление материала</a:t>
            </a:r>
          </a:p>
          <a:p>
            <a:pPr marL="285750" lvl="0" indent="-285750">
              <a:spcBef>
                <a:spcPts val="1600"/>
              </a:spcBef>
              <a:buBlip>
                <a:blip r:embed="rId7"/>
              </a:buBlip>
              <a:defRPr/>
            </a:pPr>
            <a:r>
              <a:rPr lang="ru-RU" sz="1400" dirty="0">
                <a:solidFill>
                  <a:srgbClr val="002060"/>
                </a:solidFill>
                <a:ea typeface="Open Sans" pitchFamily="34" charset="0"/>
                <a:cs typeface="Open Sans" pitchFamily="34" charset="0"/>
              </a:rPr>
              <a:t>Систематизация знаний по итогам каждой темы</a:t>
            </a:r>
          </a:p>
          <a:p>
            <a:pPr marL="285750" lvl="0" indent="-285750">
              <a:spcBef>
                <a:spcPts val="1600"/>
              </a:spcBef>
              <a:buBlip>
                <a:blip r:embed="rId7"/>
              </a:buBlip>
              <a:defRPr/>
            </a:pPr>
            <a:r>
              <a:rPr lang="ru-RU" sz="1400" dirty="0">
                <a:solidFill>
                  <a:srgbClr val="002060"/>
                </a:solidFill>
                <a:ea typeface="Open Sans" pitchFamily="34" charset="0"/>
                <a:cs typeface="Open Sans" pitchFamily="34" charset="0"/>
              </a:rPr>
              <a:t>Подготовка к ОГЭ: решение </a:t>
            </a:r>
            <a:r>
              <a:rPr lang="ru-RU" sz="1400" dirty="0" smtClean="0">
                <a:solidFill>
                  <a:srgbClr val="002060"/>
                </a:solidFill>
                <a:ea typeface="Open Sans" pitchFamily="34" charset="0"/>
                <a:cs typeface="Open Sans" pitchFamily="34" charset="0"/>
              </a:rPr>
              <a:t>задач</a:t>
            </a:r>
            <a:endParaRPr lang="ru-RU" sz="1400" dirty="0">
              <a:solidFill>
                <a:srgbClr val="002060"/>
              </a:solidFill>
              <a:ea typeface="Open Sans" pitchFamily="34" charset="0"/>
              <a:cs typeface="Open Sans" pitchFamily="34" charset="0"/>
            </a:endParaRPr>
          </a:p>
          <a:p>
            <a:pPr marL="285750" lvl="0" indent="-285750">
              <a:spcBef>
                <a:spcPts val="1600"/>
              </a:spcBef>
              <a:buBlip>
                <a:blip r:embed="rId7"/>
              </a:buBlip>
              <a:defRPr/>
            </a:pPr>
            <a:r>
              <a:rPr lang="ru-RU" sz="1400" dirty="0">
                <a:solidFill>
                  <a:srgbClr val="002060"/>
                </a:solidFill>
                <a:ea typeface="Open Sans" pitchFamily="34" charset="0"/>
                <a:cs typeface="Open Sans" pitchFamily="34" charset="0"/>
              </a:rPr>
              <a:t>Компоненты линии УМК Н.С. </a:t>
            </a:r>
            <a:r>
              <a:rPr lang="ru-RU" sz="1400" dirty="0" err="1">
                <a:solidFill>
                  <a:srgbClr val="002060"/>
                </a:solidFill>
                <a:ea typeface="Open Sans" pitchFamily="34" charset="0"/>
                <a:cs typeface="Open Sans" pitchFamily="34" charset="0"/>
              </a:rPr>
              <a:t>Пурышевой</a:t>
            </a:r>
            <a:r>
              <a:rPr lang="ru-RU" sz="1400" dirty="0">
                <a:solidFill>
                  <a:srgbClr val="002060"/>
                </a:solidFill>
                <a:ea typeface="Open Sans" pitchFamily="34" charset="0"/>
                <a:cs typeface="Open Sans" pitchFamily="34" charset="0"/>
              </a:rPr>
              <a:t>, Н.Е. </a:t>
            </a:r>
            <a:r>
              <a:rPr lang="ru-RU" sz="1400" dirty="0" err="1">
                <a:solidFill>
                  <a:srgbClr val="002060"/>
                </a:solidFill>
                <a:ea typeface="Open Sans" pitchFamily="34" charset="0"/>
                <a:cs typeface="Open Sans" pitchFamily="34" charset="0"/>
              </a:rPr>
              <a:t>Важеевской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ea typeface="Open Sans" pitchFamily="34" charset="0"/>
              <a:cs typeface="Open Sans" pitchFamily="34" charset="0"/>
            </a:endParaRPr>
          </a:p>
        </p:txBody>
      </p:sp>
      <p:grpSp>
        <p:nvGrpSpPr>
          <p:cNvPr id="6" name="Группа 5"/>
          <p:cNvGrpSpPr/>
          <p:nvPr/>
        </p:nvGrpSpPr>
        <p:grpSpPr>
          <a:xfrm>
            <a:off x="11375669" y="-4589"/>
            <a:ext cx="813280" cy="6790912"/>
            <a:chOff x="8531752" y="-3442"/>
            <a:chExt cx="609960" cy="5093184"/>
          </a:xfrm>
        </p:grpSpPr>
        <p:sp>
          <p:nvSpPr>
            <p:cNvPr id="32" name="Rectangle 10"/>
            <p:cNvSpPr>
              <a:spLocks noChangeArrowheads="1"/>
            </p:cNvSpPr>
            <p:nvPr/>
          </p:nvSpPr>
          <p:spPr bwMode="auto">
            <a:xfrm>
              <a:off x="8531752" y="1693368"/>
              <a:ext cx="609272" cy="566063"/>
            </a:xfrm>
            <a:prstGeom prst="rect">
              <a:avLst/>
            </a:prstGeom>
            <a:solidFill>
              <a:srgbClr val="40D4E2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0" name="Rectangle 13"/>
            <p:cNvSpPr>
              <a:spLocks noChangeArrowheads="1"/>
            </p:cNvSpPr>
            <p:nvPr/>
          </p:nvSpPr>
          <p:spPr bwMode="auto">
            <a:xfrm>
              <a:off x="8531752" y="3957617"/>
              <a:ext cx="609272" cy="566063"/>
            </a:xfrm>
            <a:prstGeom prst="rect">
              <a:avLst/>
            </a:prstGeom>
            <a:solidFill>
              <a:srgbClr val="43D1A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1" name="Rectangle 14"/>
            <p:cNvSpPr>
              <a:spLocks noChangeArrowheads="1"/>
            </p:cNvSpPr>
            <p:nvPr/>
          </p:nvSpPr>
          <p:spPr bwMode="auto">
            <a:xfrm>
              <a:off x="8532440" y="3391554"/>
              <a:ext cx="609272" cy="566063"/>
            </a:xfrm>
            <a:prstGeom prst="rect">
              <a:avLst/>
            </a:prstGeom>
            <a:solidFill>
              <a:srgbClr val="5471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4" name="Rectangle 17"/>
            <p:cNvSpPr>
              <a:spLocks noChangeArrowheads="1"/>
            </p:cNvSpPr>
            <p:nvPr/>
          </p:nvSpPr>
          <p:spPr bwMode="auto">
            <a:xfrm>
              <a:off x="8531753" y="-3442"/>
              <a:ext cx="609272" cy="566063"/>
            </a:xfrm>
            <a:prstGeom prst="rect">
              <a:avLst/>
            </a:prstGeom>
            <a:solidFill>
              <a:srgbClr val="F5B1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6" name="Rectangle 19"/>
            <p:cNvSpPr>
              <a:spLocks noChangeArrowheads="1"/>
            </p:cNvSpPr>
            <p:nvPr/>
          </p:nvSpPr>
          <p:spPr bwMode="auto">
            <a:xfrm>
              <a:off x="8532440" y="2259429"/>
              <a:ext cx="609272" cy="566063"/>
            </a:xfrm>
            <a:prstGeom prst="rect">
              <a:avLst/>
            </a:prstGeom>
            <a:solidFill>
              <a:srgbClr val="40A7E1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8" name="Rectangle 21"/>
            <p:cNvSpPr>
              <a:spLocks noChangeArrowheads="1"/>
            </p:cNvSpPr>
            <p:nvPr/>
          </p:nvSpPr>
          <p:spPr bwMode="auto">
            <a:xfrm>
              <a:off x="8532440" y="4523679"/>
              <a:ext cx="609272" cy="566063"/>
            </a:xfrm>
            <a:prstGeom prst="rect">
              <a:avLst/>
            </a:prstGeom>
            <a:solidFill>
              <a:srgbClr val="F5B144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9" name="Rectangle 22"/>
            <p:cNvSpPr>
              <a:spLocks noChangeArrowheads="1"/>
            </p:cNvSpPr>
            <p:nvPr/>
          </p:nvSpPr>
          <p:spPr bwMode="auto">
            <a:xfrm>
              <a:off x="8531753" y="1127076"/>
              <a:ext cx="609272" cy="566063"/>
            </a:xfrm>
            <a:prstGeom prst="rect">
              <a:avLst/>
            </a:prstGeom>
            <a:solidFill>
              <a:srgbClr val="43D1A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2" name="Rectangle 25"/>
            <p:cNvSpPr>
              <a:spLocks noChangeArrowheads="1"/>
            </p:cNvSpPr>
            <p:nvPr/>
          </p:nvSpPr>
          <p:spPr bwMode="auto">
            <a:xfrm>
              <a:off x="8532440" y="2825491"/>
              <a:ext cx="609272" cy="566063"/>
            </a:xfrm>
            <a:prstGeom prst="rect">
              <a:avLst/>
            </a:prstGeom>
            <a:solidFill>
              <a:srgbClr val="4383D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6" name="Rectangle 29"/>
            <p:cNvSpPr>
              <a:spLocks noChangeArrowheads="1"/>
            </p:cNvSpPr>
            <p:nvPr/>
          </p:nvSpPr>
          <p:spPr bwMode="auto">
            <a:xfrm>
              <a:off x="8531753" y="561014"/>
              <a:ext cx="609272" cy="566063"/>
            </a:xfrm>
            <a:prstGeom prst="rect">
              <a:avLst/>
            </a:prstGeom>
            <a:solidFill>
              <a:srgbClr val="9ED4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9" name="Freeform 32"/>
            <p:cNvSpPr>
              <a:spLocks noEditPoints="1"/>
            </p:cNvSpPr>
            <p:nvPr/>
          </p:nvSpPr>
          <p:spPr bwMode="auto">
            <a:xfrm>
              <a:off x="8700607" y="1885691"/>
              <a:ext cx="271564" cy="203921"/>
            </a:xfrm>
            <a:custGeom>
              <a:avLst/>
              <a:gdLst>
                <a:gd name="T0" fmla="*/ 787 w 859"/>
                <a:gd name="T1" fmla="*/ 107 h 644"/>
                <a:gd name="T2" fmla="*/ 787 w 859"/>
                <a:gd name="T3" fmla="*/ 573 h 644"/>
                <a:gd name="T4" fmla="*/ 537 w 859"/>
                <a:gd name="T5" fmla="*/ 573 h 644"/>
                <a:gd name="T6" fmla="*/ 465 w 859"/>
                <a:gd name="T7" fmla="*/ 644 h 644"/>
                <a:gd name="T8" fmla="*/ 859 w 859"/>
                <a:gd name="T9" fmla="*/ 644 h 644"/>
                <a:gd name="T10" fmla="*/ 859 w 859"/>
                <a:gd name="T11" fmla="*/ 107 h 644"/>
                <a:gd name="T12" fmla="*/ 787 w 859"/>
                <a:gd name="T13" fmla="*/ 107 h 644"/>
                <a:gd name="T14" fmla="*/ 476 w 859"/>
                <a:gd name="T15" fmla="*/ 476 h 644"/>
                <a:gd name="T16" fmla="*/ 383 w 859"/>
                <a:gd name="T17" fmla="*/ 476 h 644"/>
                <a:gd name="T18" fmla="*/ 373 w 859"/>
                <a:gd name="T19" fmla="*/ 465 h 644"/>
                <a:gd name="T20" fmla="*/ 179 w 859"/>
                <a:gd name="T21" fmla="*/ 465 h 644"/>
                <a:gd name="T22" fmla="*/ 179 w 859"/>
                <a:gd name="T23" fmla="*/ 71 h 644"/>
                <a:gd name="T24" fmla="*/ 344 w 859"/>
                <a:gd name="T25" fmla="*/ 71 h 644"/>
                <a:gd name="T26" fmla="*/ 393 w 859"/>
                <a:gd name="T27" fmla="*/ 96 h 644"/>
                <a:gd name="T28" fmla="*/ 393 w 859"/>
                <a:gd name="T29" fmla="*/ 358 h 644"/>
                <a:gd name="T30" fmla="*/ 465 w 859"/>
                <a:gd name="T31" fmla="*/ 358 h 644"/>
                <a:gd name="T32" fmla="*/ 465 w 859"/>
                <a:gd name="T33" fmla="*/ 96 h 644"/>
                <a:gd name="T34" fmla="*/ 515 w 859"/>
                <a:gd name="T35" fmla="*/ 71 h 644"/>
                <a:gd name="T36" fmla="*/ 680 w 859"/>
                <a:gd name="T37" fmla="*/ 71 h 644"/>
                <a:gd name="T38" fmla="*/ 680 w 859"/>
                <a:gd name="T39" fmla="*/ 465 h 644"/>
                <a:gd name="T40" fmla="*/ 486 w 859"/>
                <a:gd name="T41" fmla="*/ 465 h 644"/>
                <a:gd name="T42" fmla="*/ 476 w 859"/>
                <a:gd name="T43" fmla="*/ 476 h 644"/>
                <a:gd name="T44" fmla="*/ 752 w 859"/>
                <a:gd name="T45" fmla="*/ 537 h 644"/>
                <a:gd name="T46" fmla="*/ 752 w 859"/>
                <a:gd name="T47" fmla="*/ 0 h 644"/>
                <a:gd name="T48" fmla="*/ 486 w 859"/>
                <a:gd name="T49" fmla="*/ 0 h 644"/>
                <a:gd name="T50" fmla="*/ 476 w 859"/>
                <a:gd name="T51" fmla="*/ 10 h 644"/>
                <a:gd name="T52" fmla="*/ 383 w 859"/>
                <a:gd name="T53" fmla="*/ 10 h 644"/>
                <a:gd name="T54" fmla="*/ 373 w 859"/>
                <a:gd name="T55" fmla="*/ 0 h 644"/>
                <a:gd name="T56" fmla="*/ 107 w 859"/>
                <a:gd name="T57" fmla="*/ 0 h 644"/>
                <a:gd name="T58" fmla="*/ 107 w 859"/>
                <a:gd name="T59" fmla="*/ 537 h 644"/>
                <a:gd name="T60" fmla="*/ 344 w 859"/>
                <a:gd name="T61" fmla="*/ 537 h 644"/>
                <a:gd name="T62" fmla="*/ 429 w 859"/>
                <a:gd name="T63" fmla="*/ 566 h 644"/>
                <a:gd name="T64" fmla="*/ 515 w 859"/>
                <a:gd name="T65" fmla="*/ 537 h 644"/>
                <a:gd name="T66" fmla="*/ 752 w 859"/>
                <a:gd name="T67" fmla="*/ 537 h 644"/>
                <a:gd name="T68" fmla="*/ 71 w 859"/>
                <a:gd name="T69" fmla="*/ 573 h 644"/>
                <a:gd name="T70" fmla="*/ 71 w 859"/>
                <a:gd name="T71" fmla="*/ 107 h 644"/>
                <a:gd name="T72" fmla="*/ 0 w 859"/>
                <a:gd name="T73" fmla="*/ 107 h 644"/>
                <a:gd name="T74" fmla="*/ 0 w 859"/>
                <a:gd name="T75" fmla="*/ 644 h 644"/>
                <a:gd name="T76" fmla="*/ 394 w 859"/>
                <a:gd name="T77" fmla="*/ 644 h 644"/>
                <a:gd name="T78" fmla="*/ 322 w 859"/>
                <a:gd name="T79" fmla="*/ 573 h 644"/>
                <a:gd name="T80" fmla="*/ 71 w 859"/>
                <a:gd name="T81" fmla="*/ 573 h 6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859" h="644">
                  <a:moveTo>
                    <a:pt x="787" y="107"/>
                  </a:moveTo>
                  <a:lnTo>
                    <a:pt x="787" y="573"/>
                  </a:lnTo>
                  <a:lnTo>
                    <a:pt x="537" y="573"/>
                  </a:lnTo>
                  <a:lnTo>
                    <a:pt x="465" y="644"/>
                  </a:lnTo>
                  <a:lnTo>
                    <a:pt x="859" y="644"/>
                  </a:lnTo>
                  <a:lnTo>
                    <a:pt x="859" y="107"/>
                  </a:lnTo>
                  <a:lnTo>
                    <a:pt x="787" y="107"/>
                  </a:lnTo>
                  <a:close/>
                  <a:moveTo>
                    <a:pt x="476" y="476"/>
                  </a:moveTo>
                  <a:cubicBezTo>
                    <a:pt x="450" y="501"/>
                    <a:pt x="409" y="501"/>
                    <a:pt x="383" y="476"/>
                  </a:cubicBezTo>
                  <a:lnTo>
                    <a:pt x="373" y="465"/>
                  </a:lnTo>
                  <a:lnTo>
                    <a:pt x="179" y="465"/>
                  </a:lnTo>
                  <a:lnTo>
                    <a:pt x="179" y="71"/>
                  </a:lnTo>
                  <a:lnTo>
                    <a:pt x="344" y="71"/>
                  </a:lnTo>
                  <a:cubicBezTo>
                    <a:pt x="359" y="71"/>
                    <a:pt x="393" y="91"/>
                    <a:pt x="393" y="96"/>
                  </a:cubicBezTo>
                  <a:lnTo>
                    <a:pt x="393" y="358"/>
                  </a:lnTo>
                  <a:lnTo>
                    <a:pt x="465" y="358"/>
                  </a:lnTo>
                  <a:lnTo>
                    <a:pt x="465" y="96"/>
                  </a:lnTo>
                  <a:cubicBezTo>
                    <a:pt x="465" y="91"/>
                    <a:pt x="500" y="71"/>
                    <a:pt x="515" y="71"/>
                  </a:cubicBezTo>
                  <a:lnTo>
                    <a:pt x="680" y="71"/>
                  </a:lnTo>
                  <a:lnTo>
                    <a:pt x="680" y="465"/>
                  </a:lnTo>
                  <a:lnTo>
                    <a:pt x="486" y="465"/>
                  </a:lnTo>
                  <a:lnTo>
                    <a:pt x="476" y="476"/>
                  </a:lnTo>
                  <a:close/>
                  <a:moveTo>
                    <a:pt x="752" y="537"/>
                  </a:moveTo>
                  <a:lnTo>
                    <a:pt x="752" y="0"/>
                  </a:lnTo>
                  <a:lnTo>
                    <a:pt x="486" y="0"/>
                  </a:lnTo>
                  <a:lnTo>
                    <a:pt x="476" y="10"/>
                  </a:lnTo>
                  <a:cubicBezTo>
                    <a:pt x="450" y="36"/>
                    <a:pt x="409" y="36"/>
                    <a:pt x="383" y="10"/>
                  </a:cubicBezTo>
                  <a:lnTo>
                    <a:pt x="373" y="0"/>
                  </a:lnTo>
                  <a:lnTo>
                    <a:pt x="107" y="0"/>
                  </a:lnTo>
                  <a:lnTo>
                    <a:pt x="107" y="537"/>
                  </a:lnTo>
                  <a:lnTo>
                    <a:pt x="344" y="537"/>
                  </a:lnTo>
                  <a:cubicBezTo>
                    <a:pt x="369" y="573"/>
                    <a:pt x="399" y="566"/>
                    <a:pt x="429" y="566"/>
                  </a:cubicBezTo>
                  <a:cubicBezTo>
                    <a:pt x="460" y="566"/>
                    <a:pt x="490" y="573"/>
                    <a:pt x="515" y="537"/>
                  </a:cubicBezTo>
                  <a:lnTo>
                    <a:pt x="752" y="537"/>
                  </a:lnTo>
                  <a:close/>
                  <a:moveTo>
                    <a:pt x="71" y="573"/>
                  </a:moveTo>
                  <a:lnTo>
                    <a:pt x="71" y="107"/>
                  </a:lnTo>
                  <a:lnTo>
                    <a:pt x="0" y="107"/>
                  </a:lnTo>
                  <a:lnTo>
                    <a:pt x="0" y="644"/>
                  </a:lnTo>
                  <a:lnTo>
                    <a:pt x="394" y="644"/>
                  </a:lnTo>
                  <a:lnTo>
                    <a:pt x="322" y="573"/>
                  </a:lnTo>
                  <a:lnTo>
                    <a:pt x="71" y="57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7" name="Freeform 40"/>
            <p:cNvSpPr>
              <a:spLocks noEditPoints="1"/>
            </p:cNvSpPr>
            <p:nvPr/>
          </p:nvSpPr>
          <p:spPr bwMode="auto">
            <a:xfrm>
              <a:off x="8701296" y="1308377"/>
              <a:ext cx="270186" cy="225965"/>
            </a:xfrm>
            <a:custGeom>
              <a:avLst/>
              <a:gdLst>
                <a:gd name="T0" fmla="*/ 716 w 859"/>
                <a:gd name="T1" fmla="*/ 0 h 716"/>
                <a:gd name="T2" fmla="*/ 143 w 859"/>
                <a:gd name="T3" fmla="*/ 0 h 716"/>
                <a:gd name="T4" fmla="*/ 0 w 859"/>
                <a:gd name="T5" fmla="*/ 143 h 716"/>
                <a:gd name="T6" fmla="*/ 143 w 859"/>
                <a:gd name="T7" fmla="*/ 286 h 716"/>
                <a:gd name="T8" fmla="*/ 286 w 859"/>
                <a:gd name="T9" fmla="*/ 143 h 716"/>
                <a:gd name="T10" fmla="*/ 215 w 859"/>
                <a:gd name="T11" fmla="*/ 143 h 716"/>
                <a:gd name="T12" fmla="*/ 143 w 859"/>
                <a:gd name="T13" fmla="*/ 215 h 716"/>
                <a:gd name="T14" fmla="*/ 72 w 859"/>
                <a:gd name="T15" fmla="*/ 143 h 716"/>
                <a:gd name="T16" fmla="*/ 143 w 859"/>
                <a:gd name="T17" fmla="*/ 72 h 716"/>
                <a:gd name="T18" fmla="*/ 716 w 859"/>
                <a:gd name="T19" fmla="*/ 72 h 716"/>
                <a:gd name="T20" fmla="*/ 788 w 859"/>
                <a:gd name="T21" fmla="*/ 143 h 716"/>
                <a:gd name="T22" fmla="*/ 716 w 859"/>
                <a:gd name="T23" fmla="*/ 215 h 716"/>
                <a:gd name="T24" fmla="*/ 645 w 859"/>
                <a:gd name="T25" fmla="*/ 143 h 716"/>
                <a:gd name="T26" fmla="*/ 573 w 859"/>
                <a:gd name="T27" fmla="*/ 143 h 716"/>
                <a:gd name="T28" fmla="*/ 716 w 859"/>
                <a:gd name="T29" fmla="*/ 286 h 716"/>
                <a:gd name="T30" fmla="*/ 859 w 859"/>
                <a:gd name="T31" fmla="*/ 143 h 716"/>
                <a:gd name="T32" fmla="*/ 716 w 859"/>
                <a:gd name="T33" fmla="*/ 0 h 716"/>
                <a:gd name="T34" fmla="*/ 394 w 859"/>
                <a:gd name="T35" fmla="*/ 143 h 716"/>
                <a:gd name="T36" fmla="*/ 394 w 859"/>
                <a:gd name="T37" fmla="*/ 573 h 716"/>
                <a:gd name="T38" fmla="*/ 465 w 859"/>
                <a:gd name="T39" fmla="*/ 573 h 716"/>
                <a:gd name="T40" fmla="*/ 465 w 859"/>
                <a:gd name="T41" fmla="*/ 143 h 716"/>
                <a:gd name="T42" fmla="*/ 394 w 859"/>
                <a:gd name="T43" fmla="*/ 143 h 716"/>
                <a:gd name="T44" fmla="*/ 537 w 859"/>
                <a:gd name="T45" fmla="*/ 262 h 716"/>
                <a:gd name="T46" fmla="*/ 537 w 859"/>
                <a:gd name="T47" fmla="*/ 573 h 716"/>
                <a:gd name="T48" fmla="*/ 609 w 859"/>
                <a:gd name="T49" fmla="*/ 573 h 716"/>
                <a:gd name="T50" fmla="*/ 609 w 859"/>
                <a:gd name="T51" fmla="*/ 329 h 716"/>
                <a:gd name="T52" fmla="*/ 537 w 859"/>
                <a:gd name="T53" fmla="*/ 262 h 716"/>
                <a:gd name="T54" fmla="*/ 250 w 859"/>
                <a:gd name="T55" fmla="*/ 329 h 716"/>
                <a:gd name="T56" fmla="*/ 250 w 859"/>
                <a:gd name="T57" fmla="*/ 573 h 716"/>
                <a:gd name="T58" fmla="*/ 322 w 859"/>
                <a:gd name="T59" fmla="*/ 573 h 716"/>
                <a:gd name="T60" fmla="*/ 322 w 859"/>
                <a:gd name="T61" fmla="*/ 262 h 716"/>
                <a:gd name="T62" fmla="*/ 250 w 859"/>
                <a:gd name="T63" fmla="*/ 329 h 716"/>
                <a:gd name="T64" fmla="*/ 143 w 859"/>
                <a:gd name="T65" fmla="*/ 716 h 716"/>
                <a:gd name="T66" fmla="*/ 716 w 859"/>
                <a:gd name="T67" fmla="*/ 716 h 716"/>
                <a:gd name="T68" fmla="*/ 716 w 859"/>
                <a:gd name="T69" fmla="*/ 645 h 716"/>
                <a:gd name="T70" fmla="*/ 143 w 859"/>
                <a:gd name="T71" fmla="*/ 645 h 716"/>
                <a:gd name="T72" fmla="*/ 143 w 859"/>
                <a:gd name="T73" fmla="*/ 716 h 7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859" h="716">
                  <a:moveTo>
                    <a:pt x="716" y="0"/>
                  </a:moveTo>
                  <a:lnTo>
                    <a:pt x="143" y="0"/>
                  </a:lnTo>
                  <a:cubicBezTo>
                    <a:pt x="64" y="0"/>
                    <a:pt x="0" y="64"/>
                    <a:pt x="0" y="143"/>
                  </a:cubicBezTo>
                  <a:cubicBezTo>
                    <a:pt x="0" y="222"/>
                    <a:pt x="64" y="286"/>
                    <a:pt x="143" y="286"/>
                  </a:cubicBezTo>
                  <a:cubicBezTo>
                    <a:pt x="222" y="286"/>
                    <a:pt x="286" y="215"/>
                    <a:pt x="286" y="143"/>
                  </a:cubicBezTo>
                  <a:lnTo>
                    <a:pt x="215" y="143"/>
                  </a:lnTo>
                  <a:cubicBezTo>
                    <a:pt x="215" y="179"/>
                    <a:pt x="183" y="215"/>
                    <a:pt x="143" y="215"/>
                  </a:cubicBezTo>
                  <a:cubicBezTo>
                    <a:pt x="104" y="215"/>
                    <a:pt x="72" y="183"/>
                    <a:pt x="72" y="143"/>
                  </a:cubicBezTo>
                  <a:cubicBezTo>
                    <a:pt x="72" y="104"/>
                    <a:pt x="104" y="72"/>
                    <a:pt x="143" y="72"/>
                  </a:cubicBezTo>
                  <a:lnTo>
                    <a:pt x="716" y="72"/>
                  </a:lnTo>
                  <a:cubicBezTo>
                    <a:pt x="756" y="72"/>
                    <a:pt x="788" y="104"/>
                    <a:pt x="788" y="143"/>
                  </a:cubicBezTo>
                  <a:cubicBezTo>
                    <a:pt x="788" y="183"/>
                    <a:pt x="756" y="215"/>
                    <a:pt x="716" y="215"/>
                  </a:cubicBezTo>
                  <a:cubicBezTo>
                    <a:pt x="677" y="215"/>
                    <a:pt x="645" y="179"/>
                    <a:pt x="645" y="143"/>
                  </a:cubicBezTo>
                  <a:lnTo>
                    <a:pt x="573" y="143"/>
                  </a:lnTo>
                  <a:cubicBezTo>
                    <a:pt x="573" y="215"/>
                    <a:pt x="637" y="286"/>
                    <a:pt x="716" y="286"/>
                  </a:cubicBezTo>
                  <a:cubicBezTo>
                    <a:pt x="795" y="286"/>
                    <a:pt x="859" y="222"/>
                    <a:pt x="859" y="143"/>
                  </a:cubicBezTo>
                  <a:cubicBezTo>
                    <a:pt x="859" y="64"/>
                    <a:pt x="795" y="0"/>
                    <a:pt x="716" y="0"/>
                  </a:cubicBezTo>
                  <a:close/>
                  <a:moveTo>
                    <a:pt x="394" y="143"/>
                  </a:moveTo>
                  <a:lnTo>
                    <a:pt x="394" y="573"/>
                  </a:lnTo>
                  <a:lnTo>
                    <a:pt x="465" y="573"/>
                  </a:lnTo>
                  <a:lnTo>
                    <a:pt x="465" y="143"/>
                  </a:lnTo>
                  <a:lnTo>
                    <a:pt x="394" y="143"/>
                  </a:lnTo>
                  <a:close/>
                  <a:moveTo>
                    <a:pt x="537" y="262"/>
                  </a:moveTo>
                  <a:lnTo>
                    <a:pt x="537" y="573"/>
                  </a:lnTo>
                  <a:lnTo>
                    <a:pt x="609" y="573"/>
                  </a:lnTo>
                  <a:lnTo>
                    <a:pt x="609" y="329"/>
                  </a:lnTo>
                  <a:cubicBezTo>
                    <a:pt x="573" y="312"/>
                    <a:pt x="573" y="289"/>
                    <a:pt x="537" y="262"/>
                  </a:cubicBezTo>
                  <a:close/>
                  <a:moveTo>
                    <a:pt x="250" y="329"/>
                  </a:moveTo>
                  <a:lnTo>
                    <a:pt x="250" y="573"/>
                  </a:lnTo>
                  <a:lnTo>
                    <a:pt x="322" y="573"/>
                  </a:lnTo>
                  <a:lnTo>
                    <a:pt x="322" y="262"/>
                  </a:lnTo>
                  <a:cubicBezTo>
                    <a:pt x="286" y="289"/>
                    <a:pt x="286" y="312"/>
                    <a:pt x="250" y="329"/>
                  </a:cubicBezTo>
                  <a:close/>
                  <a:moveTo>
                    <a:pt x="143" y="716"/>
                  </a:moveTo>
                  <a:lnTo>
                    <a:pt x="716" y="716"/>
                  </a:lnTo>
                  <a:lnTo>
                    <a:pt x="716" y="645"/>
                  </a:lnTo>
                  <a:lnTo>
                    <a:pt x="143" y="645"/>
                  </a:lnTo>
                  <a:lnTo>
                    <a:pt x="143" y="71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8" name="Freeform 41"/>
            <p:cNvSpPr>
              <a:spLocks/>
            </p:cNvSpPr>
            <p:nvPr/>
          </p:nvSpPr>
          <p:spPr bwMode="auto">
            <a:xfrm>
              <a:off x="8700607" y="3567344"/>
              <a:ext cx="271564" cy="236988"/>
            </a:xfrm>
            <a:custGeom>
              <a:avLst/>
              <a:gdLst>
                <a:gd name="T0" fmla="*/ 860 w 860"/>
                <a:gd name="T1" fmla="*/ 251 h 752"/>
                <a:gd name="T2" fmla="*/ 430 w 860"/>
                <a:gd name="T3" fmla="*/ 0 h 752"/>
                <a:gd name="T4" fmla="*/ 0 w 860"/>
                <a:gd name="T5" fmla="*/ 251 h 752"/>
                <a:gd name="T6" fmla="*/ 144 w 860"/>
                <a:gd name="T7" fmla="*/ 334 h 752"/>
                <a:gd name="T8" fmla="*/ 144 w 860"/>
                <a:gd name="T9" fmla="*/ 475 h 752"/>
                <a:gd name="T10" fmla="*/ 149 w 860"/>
                <a:gd name="T11" fmla="*/ 484 h 752"/>
                <a:gd name="T12" fmla="*/ 430 w 860"/>
                <a:gd name="T13" fmla="*/ 644 h 752"/>
                <a:gd name="T14" fmla="*/ 573 w 860"/>
                <a:gd name="T15" fmla="*/ 610 h 752"/>
                <a:gd name="T16" fmla="*/ 573 w 860"/>
                <a:gd name="T17" fmla="*/ 528 h 752"/>
                <a:gd name="T18" fmla="*/ 430 w 860"/>
                <a:gd name="T19" fmla="*/ 573 h 752"/>
                <a:gd name="T20" fmla="*/ 215 w 860"/>
                <a:gd name="T21" fmla="*/ 455 h 752"/>
                <a:gd name="T22" fmla="*/ 215 w 860"/>
                <a:gd name="T23" fmla="*/ 376 h 752"/>
                <a:gd name="T24" fmla="*/ 430 w 860"/>
                <a:gd name="T25" fmla="*/ 501 h 752"/>
                <a:gd name="T26" fmla="*/ 553 w 860"/>
                <a:gd name="T27" fmla="*/ 430 h 752"/>
                <a:gd name="T28" fmla="*/ 483 w 860"/>
                <a:gd name="T29" fmla="*/ 388 h 752"/>
                <a:gd name="T30" fmla="*/ 430 w 860"/>
                <a:gd name="T31" fmla="*/ 418 h 752"/>
                <a:gd name="T32" fmla="*/ 142 w 860"/>
                <a:gd name="T33" fmla="*/ 251 h 752"/>
                <a:gd name="T34" fmla="*/ 430 w 860"/>
                <a:gd name="T35" fmla="*/ 83 h 752"/>
                <a:gd name="T36" fmla="*/ 718 w 860"/>
                <a:gd name="T37" fmla="*/ 251 h 752"/>
                <a:gd name="T38" fmla="*/ 624 w 860"/>
                <a:gd name="T39" fmla="*/ 305 h 752"/>
                <a:gd name="T40" fmla="*/ 454 w 860"/>
                <a:gd name="T41" fmla="*/ 204 h 752"/>
                <a:gd name="T42" fmla="*/ 391 w 860"/>
                <a:gd name="T43" fmla="*/ 247 h 752"/>
                <a:gd name="T44" fmla="*/ 390 w 860"/>
                <a:gd name="T45" fmla="*/ 249 h 752"/>
                <a:gd name="T46" fmla="*/ 645 w 860"/>
                <a:gd name="T47" fmla="*/ 401 h 752"/>
                <a:gd name="T48" fmla="*/ 645 w 860"/>
                <a:gd name="T49" fmla="*/ 752 h 752"/>
                <a:gd name="T50" fmla="*/ 717 w 860"/>
                <a:gd name="T51" fmla="*/ 752 h 752"/>
                <a:gd name="T52" fmla="*/ 717 w 860"/>
                <a:gd name="T53" fmla="*/ 360 h 752"/>
                <a:gd name="T54" fmla="*/ 694 w 860"/>
                <a:gd name="T55" fmla="*/ 347 h 752"/>
                <a:gd name="T56" fmla="*/ 860 w 860"/>
                <a:gd name="T57" fmla="*/ 251 h 7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860" h="752">
                  <a:moveTo>
                    <a:pt x="860" y="251"/>
                  </a:moveTo>
                  <a:lnTo>
                    <a:pt x="430" y="0"/>
                  </a:lnTo>
                  <a:lnTo>
                    <a:pt x="0" y="251"/>
                  </a:lnTo>
                  <a:lnTo>
                    <a:pt x="144" y="334"/>
                  </a:lnTo>
                  <a:lnTo>
                    <a:pt x="144" y="475"/>
                  </a:lnTo>
                  <a:lnTo>
                    <a:pt x="149" y="484"/>
                  </a:lnTo>
                  <a:cubicBezTo>
                    <a:pt x="207" y="583"/>
                    <a:pt x="315" y="644"/>
                    <a:pt x="430" y="644"/>
                  </a:cubicBezTo>
                  <a:cubicBezTo>
                    <a:pt x="480" y="644"/>
                    <a:pt x="529" y="632"/>
                    <a:pt x="573" y="610"/>
                  </a:cubicBezTo>
                  <a:lnTo>
                    <a:pt x="573" y="528"/>
                  </a:lnTo>
                  <a:cubicBezTo>
                    <a:pt x="532" y="556"/>
                    <a:pt x="482" y="573"/>
                    <a:pt x="430" y="573"/>
                  </a:cubicBezTo>
                  <a:cubicBezTo>
                    <a:pt x="343" y="573"/>
                    <a:pt x="262" y="528"/>
                    <a:pt x="215" y="455"/>
                  </a:cubicBezTo>
                  <a:lnTo>
                    <a:pt x="215" y="376"/>
                  </a:lnTo>
                  <a:lnTo>
                    <a:pt x="430" y="501"/>
                  </a:lnTo>
                  <a:lnTo>
                    <a:pt x="553" y="430"/>
                  </a:lnTo>
                  <a:lnTo>
                    <a:pt x="483" y="388"/>
                  </a:lnTo>
                  <a:lnTo>
                    <a:pt x="430" y="418"/>
                  </a:lnTo>
                  <a:lnTo>
                    <a:pt x="142" y="251"/>
                  </a:lnTo>
                  <a:lnTo>
                    <a:pt x="430" y="83"/>
                  </a:lnTo>
                  <a:lnTo>
                    <a:pt x="718" y="251"/>
                  </a:lnTo>
                  <a:lnTo>
                    <a:pt x="624" y="305"/>
                  </a:lnTo>
                  <a:lnTo>
                    <a:pt x="454" y="204"/>
                  </a:lnTo>
                  <a:lnTo>
                    <a:pt x="391" y="247"/>
                  </a:lnTo>
                  <a:lnTo>
                    <a:pt x="390" y="249"/>
                  </a:lnTo>
                  <a:lnTo>
                    <a:pt x="645" y="401"/>
                  </a:lnTo>
                  <a:lnTo>
                    <a:pt x="645" y="752"/>
                  </a:lnTo>
                  <a:lnTo>
                    <a:pt x="717" y="752"/>
                  </a:lnTo>
                  <a:lnTo>
                    <a:pt x="717" y="360"/>
                  </a:lnTo>
                  <a:lnTo>
                    <a:pt x="694" y="347"/>
                  </a:lnTo>
                  <a:lnTo>
                    <a:pt x="860" y="25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grpSp>
          <p:nvGrpSpPr>
            <p:cNvPr id="69" name="Группа 68"/>
            <p:cNvGrpSpPr/>
            <p:nvPr/>
          </p:nvGrpSpPr>
          <p:grpSpPr>
            <a:xfrm>
              <a:off x="8710946" y="150720"/>
              <a:ext cx="250887" cy="271436"/>
              <a:chOff x="477468" y="2705515"/>
              <a:chExt cx="409903" cy="443477"/>
            </a:xfrm>
          </p:grpSpPr>
          <p:sp>
            <p:nvSpPr>
              <p:cNvPr id="70" name="Freeform 42"/>
              <p:cNvSpPr>
                <a:spLocks noEditPoints="1"/>
              </p:cNvSpPr>
              <p:nvPr/>
            </p:nvSpPr>
            <p:spPr bwMode="auto">
              <a:xfrm>
                <a:off x="477468" y="2705515"/>
                <a:ext cx="409903" cy="387195"/>
              </a:xfrm>
              <a:custGeom>
                <a:avLst/>
                <a:gdLst>
                  <a:gd name="T0" fmla="*/ 218 w 793"/>
                  <a:gd name="T1" fmla="*/ 575 h 751"/>
                  <a:gd name="T2" fmla="*/ 194 w 793"/>
                  <a:gd name="T3" fmla="*/ 95 h 751"/>
                  <a:gd name="T4" fmla="*/ 219 w 793"/>
                  <a:gd name="T5" fmla="*/ 121 h 751"/>
                  <a:gd name="T6" fmla="*/ 149 w 793"/>
                  <a:gd name="T7" fmla="*/ 322 h 751"/>
                  <a:gd name="T8" fmla="*/ 471 w 793"/>
                  <a:gd name="T9" fmla="*/ 644 h 751"/>
                  <a:gd name="T10" fmla="*/ 672 w 793"/>
                  <a:gd name="T11" fmla="*/ 574 h 751"/>
                  <a:gd name="T12" fmla="*/ 698 w 793"/>
                  <a:gd name="T13" fmla="*/ 599 h 751"/>
                  <a:gd name="T14" fmla="*/ 218 w 793"/>
                  <a:gd name="T15" fmla="*/ 575 h 751"/>
                  <a:gd name="T16" fmla="*/ 471 w 793"/>
                  <a:gd name="T17" fmla="*/ 71 h 751"/>
                  <a:gd name="T18" fmla="*/ 722 w 793"/>
                  <a:gd name="T19" fmla="*/ 322 h 751"/>
                  <a:gd name="T20" fmla="*/ 471 w 793"/>
                  <a:gd name="T21" fmla="*/ 573 h 751"/>
                  <a:gd name="T22" fmla="*/ 220 w 793"/>
                  <a:gd name="T23" fmla="*/ 322 h 751"/>
                  <a:gd name="T24" fmla="*/ 471 w 793"/>
                  <a:gd name="T25" fmla="*/ 71 h 751"/>
                  <a:gd name="T26" fmla="*/ 723 w 793"/>
                  <a:gd name="T27" fmla="*/ 523 h 751"/>
                  <a:gd name="T28" fmla="*/ 793 w 793"/>
                  <a:gd name="T29" fmla="*/ 322 h 751"/>
                  <a:gd name="T30" fmla="*/ 471 w 793"/>
                  <a:gd name="T31" fmla="*/ 0 h 751"/>
                  <a:gd name="T32" fmla="*/ 270 w 793"/>
                  <a:gd name="T33" fmla="*/ 71 h 751"/>
                  <a:gd name="T34" fmla="*/ 218 w 793"/>
                  <a:gd name="T35" fmla="*/ 18 h 751"/>
                  <a:gd name="T36" fmla="*/ 192 w 793"/>
                  <a:gd name="T37" fmla="*/ 8 h 751"/>
                  <a:gd name="T38" fmla="*/ 192 w 793"/>
                  <a:gd name="T39" fmla="*/ 8 h 751"/>
                  <a:gd name="T40" fmla="*/ 167 w 793"/>
                  <a:gd name="T41" fmla="*/ 18 h 751"/>
                  <a:gd name="T42" fmla="*/ 167 w 793"/>
                  <a:gd name="T43" fmla="*/ 626 h 751"/>
                  <a:gd name="T44" fmla="*/ 471 w 793"/>
                  <a:gd name="T45" fmla="*/ 751 h 751"/>
                  <a:gd name="T46" fmla="*/ 775 w 793"/>
                  <a:gd name="T47" fmla="*/ 626 h 751"/>
                  <a:gd name="T48" fmla="*/ 785 w 793"/>
                  <a:gd name="T49" fmla="*/ 601 h 751"/>
                  <a:gd name="T50" fmla="*/ 775 w 793"/>
                  <a:gd name="T51" fmla="*/ 575 h 751"/>
                  <a:gd name="T52" fmla="*/ 723 w 793"/>
                  <a:gd name="T53" fmla="*/ 523 h 7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793" h="751">
                    <a:moveTo>
                      <a:pt x="218" y="575"/>
                    </a:moveTo>
                    <a:cubicBezTo>
                      <a:pt x="87" y="444"/>
                      <a:pt x="79" y="236"/>
                      <a:pt x="194" y="95"/>
                    </a:cubicBezTo>
                    <a:lnTo>
                      <a:pt x="219" y="121"/>
                    </a:lnTo>
                    <a:cubicBezTo>
                      <a:pt x="175" y="176"/>
                      <a:pt x="149" y="246"/>
                      <a:pt x="149" y="322"/>
                    </a:cubicBezTo>
                    <a:cubicBezTo>
                      <a:pt x="149" y="500"/>
                      <a:pt x="293" y="644"/>
                      <a:pt x="471" y="644"/>
                    </a:cubicBezTo>
                    <a:cubicBezTo>
                      <a:pt x="547" y="644"/>
                      <a:pt x="617" y="618"/>
                      <a:pt x="672" y="574"/>
                    </a:cubicBezTo>
                    <a:lnTo>
                      <a:pt x="698" y="599"/>
                    </a:lnTo>
                    <a:cubicBezTo>
                      <a:pt x="557" y="714"/>
                      <a:pt x="349" y="706"/>
                      <a:pt x="218" y="575"/>
                    </a:cubicBezTo>
                    <a:close/>
                    <a:moveTo>
                      <a:pt x="471" y="71"/>
                    </a:moveTo>
                    <a:cubicBezTo>
                      <a:pt x="609" y="71"/>
                      <a:pt x="722" y="184"/>
                      <a:pt x="722" y="322"/>
                    </a:cubicBezTo>
                    <a:cubicBezTo>
                      <a:pt x="722" y="460"/>
                      <a:pt x="609" y="573"/>
                      <a:pt x="471" y="573"/>
                    </a:cubicBezTo>
                    <a:cubicBezTo>
                      <a:pt x="333" y="573"/>
                      <a:pt x="220" y="460"/>
                      <a:pt x="220" y="322"/>
                    </a:cubicBezTo>
                    <a:cubicBezTo>
                      <a:pt x="220" y="184"/>
                      <a:pt x="333" y="71"/>
                      <a:pt x="471" y="71"/>
                    </a:cubicBezTo>
                    <a:close/>
                    <a:moveTo>
                      <a:pt x="723" y="523"/>
                    </a:moveTo>
                    <a:cubicBezTo>
                      <a:pt x="767" y="468"/>
                      <a:pt x="793" y="398"/>
                      <a:pt x="793" y="322"/>
                    </a:cubicBezTo>
                    <a:cubicBezTo>
                      <a:pt x="793" y="144"/>
                      <a:pt x="649" y="0"/>
                      <a:pt x="471" y="0"/>
                    </a:cubicBezTo>
                    <a:cubicBezTo>
                      <a:pt x="395" y="0"/>
                      <a:pt x="325" y="26"/>
                      <a:pt x="270" y="71"/>
                    </a:cubicBezTo>
                    <a:lnTo>
                      <a:pt x="218" y="18"/>
                    </a:lnTo>
                    <a:cubicBezTo>
                      <a:pt x="211" y="11"/>
                      <a:pt x="202" y="8"/>
                      <a:pt x="192" y="8"/>
                    </a:cubicBezTo>
                    <a:cubicBezTo>
                      <a:pt x="192" y="8"/>
                      <a:pt x="192" y="8"/>
                      <a:pt x="192" y="8"/>
                    </a:cubicBezTo>
                    <a:cubicBezTo>
                      <a:pt x="183" y="8"/>
                      <a:pt x="174" y="11"/>
                      <a:pt x="167" y="18"/>
                    </a:cubicBezTo>
                    <a:cubicBezTo>
                      <a:pt x="0" y="186"/>
                      <a:pt x="0" y="458"/>
                      <a:pt x="167" y="626"/>
                    </a:cubicBezTo>
                    <a:cubicBezTo>
                      <a:pt x="251" y="710"/>
                      <a:pt x="361" y="751"/>
                      <a:pt x="471" y="751"/>
                    </a:cubicBezTo>
                    <a:cubicBezTo>
                      <a:pt x="581" y="751"/>
                      <a:pt x="691" y="710"/>
                      <a:pt x="775" y="626"/>
                    </a:cubicBezTo>
                    <a:cubicBezTo>
                      <a:pt x="782" y="619"/>
                      <a:pt x="785" y="610"/>
                      <a:pt x="785" y="601"/>
                    </a:cubicBezTo>
                    <a:cubicBezTo>
                      <a:pt x="785" y="591"/>
                      <a:pt x="782" y="582"/>
                      <a:pt x="775" y="575"/>
                    </a:cubicBezTo>
                    <a:lnTo>
                      <a:pt x="723" y="523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1" name="Rectangle 43"/>
              <p:cNvSpPr>
                <a:spLocks noChangeArrowheads="1"/>
              </p:cNvSpPr>
              <p:nvPr/>
            </p:nvSpPr>
            <p:spPr bwMode="auto">
              <a:xfrm>
                <a:off x="637377" y="3110722"/>
                <a:ext cx="148646" cy="38270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sp>
          <p:nvSpPr>
            <p:cNvPr id="72" name="Freeform 44"/>
            <p:cNvSpPr>
              <a:spLocks noEditPoints="1"/>
            </p:cNvSpPr>
            <p:nvPr/>
          </p:nvSpPr>
          <p:spPr bwMode="auto">
            <a:xfrm>
              <a:off x="8704742" y="4098042"/>
              <a:ext cx="263294" cy="285213"/>
            </a:xfrm>
            <a:custGeom>
              <a:avLst/>
              <a:gdLst>
                <a:gd name="T0" fmla="*/ 583 w 837"/>
                <a:gd name="T1" fmla="*/ 579 h 901"/>
                <a:gd name="T2" fmla="*/ 511 w 837"/>
                <a:gd name="T3" fmla="*/ 650 h 901"/>
                <a:gd name="T4" fmla="*/ 583 w 837"/>
                <a:gd name="T5" fmla="*/ 722 h 901"/>
                <a:gd name="T6" fmla="*/ 654 w 837"/>
                <a:gd name="T7" fmla="*/ 650 h 901"/>
                <a:gd name="T8" fmla="*/ 583 w 837"/>
                <a:gd name="T9" fmla="*/ 579 h 901"/>
                <a:gd name="T10" fmla="*/ 332 w 837"/>
                <a:gd name="T11" fmla="*/ 579 h 901"/>
                <a:gd name="T12" fmla="*/ 260 w 837"/>
                <a:gd name="T13" fmla="*/ 650 h 901"/>
                <a:gd name="T14" fmla="*/ 332 w 837"/>
                <a:gd name="T15" fmla="*/ 722 h 901"/>
                <a:gd name="T16" fmla="*/ 404 w 837"/>
                <a:gd name="T17" fmla="*/ 650 h 901"/>
                <a:gd name="T18" fmla="*/ 332 w 837"/>
                <a:gd name="T19" fmla="*/ 579 h 901"/>
                <a:gd name="T20" fmla="*/ 332 w 837"/>
                <a:gd name="T21" fmla="*/ 435 h 901"/>
                <a:gd name="T22" fmla="*/ 260 w 837"/>
                <a:gd name="T23" fmla="*/ 364 h 901"/>
                <a:gd name="T24" fmla="*/ 189 w 837"/>
                <a:gd name="T25" fmla="*/ 435 h 901"/>
                <a:gd name="T26" fmla="*/ 260 w 837"/>
                <a:gd name="T27" fmla="*/ 507 h 901"/>
                <a:gd name="T28" fmla="*/ 332 w 837"/>
                <a:gd name="T29" fmla="*/ 435 h 901"/>
                <a:gd name="T30" fmla="*/ 404 w 837"/>
                <a:gd name="T31" fmla="*/ 185 h 901"/>
                <a:gd name="T32" fmla="*/ 332 w 837"/>
                <a:gd name="T33" fmla="*/ 256 h 901"/>
                <a:gd name="T34" fmla="*/ 404 w 837"/>
                <a:gd name="T35" fmla="*/ 328 h 901"/>
                <a:gd name="T36" fmla="*/ 475 w 837"/>
                <a:gd name="T37" fmla="*/ 256 h 901"/>
                <a:gd name="T38" fmla="*/ 404 w 837"/>
                <a:gd name="T39" fmla="*/ 185 h 901"/>
                <a:gd name="T40" fmla="*/ 757 w 837"/>
                <a:gd name="T41" fmla="*/ 635 h 901"/>
                <a:gd name="T42" fmla="*/ 698 w 837"/>
                <a:gd name="T43" fmla="*/ 711 h 901"/>
                <a:gd name="T44" fmla="*/ 429 w 837"/>
                <a:gd name="T45" fmla="*/ 829 h 901"/>
                <a:gd name="T46" fmla="*/ 207 w 837"/>
                <a:gd name="T47" fmla="*/ 738 h 901"/>
                <a:gd name="T48" fmla="*/ 233 w 837"/>
                <a:gd name="T49" fmla="*/ 231 h 901"/>
                <a:gd name="T50" fmla="*/ 502 w 837"/>
                <a:gd name="T51" fmla="*/ 113 h 901"/>
                <a:gd name="T52" fmla="*/ 658 w 837"/>
                <a:gd name="T53" fmla="*/ 154 h 901"/>
                <a:gd name="T54" fmla="*/ 675 w 837"/>
                <a:gd name="T55" fmla="*/ 177 h 901"/>
                <a:gd name="T56" fmla="*/ 665 w 837"/>
                <a:gd name="T57" fmla="*/ 208 h 901"/>
                <a:gd name="T58" fmla="*/ 602 w 837"/>
                <a:gd name="T59" fmla="*/ 366 h 901"/>
                <a:gd name="T60" fmla="*/ 744 w 837"/>
                <a:gd name="T61" fmla="*/ 584 h 901"/>
                <a:gd name="T62" fmla="*/ 760 w 837"/>
                <a:gd name="T63" fmla="*/ 605 h 901"/>
                <a:gd name="T64" fmla="*/ 757 w 837"/>
                <a:gd name="T65" fmla="*/ 635 h 901"/>
                <a:gd name="T66" fmla="*/ 829 w 837"/>
                <a:gd name="T67" fmla="*/ 585 h 901"/>
                <a:gd name="T68" fmla="*/ 776 w 837"/>
                <a:gd name="T69" fmla="*/ 520 h 901"/>
                <a:gd name="T70" fmla="*/ 673 w 837"/>
                <a:gd name="T71" fmla="*/ 366 h 901"/>
                <a:gd name="T72" fmla="*/ 718 w 837"/>
                <a:gd name="T73" fmla="*/ 257 h 901"/>
                <a:gd name="T74" fmla="*/ 746 w 837"/>
                <a:gd name="T75" fmla="*/ 166 h 901"/>
                <a:gd name="T76" fmla="*/ 694 w 837"/>
                <a:gd name="T77" fmla="*/ 92 h 901"/>
                <a:gd name="T78" fmla="*/ 181 w 837"/>
                <a:gd name="T79" fmla="*/ 181 h 901"/>
                <a:gd name="T80" fmla="*/ 156 w 837"/>
                <a:gd name="T81" fmla="*/ 788 h 901"/>
                <a:gd name="T82" fmla="*/ 429 w 837"/>
                <a:gd name="T83" fmla="*/ 901 h 901"/>
                <a:gd name="T84" fmla="*/ 749 w 837"/>
                <a:gd name="T85" fmla="*/ 761 h 901"/>
                <a:gd name="T86" fmla="*/ 818 w 837"/>
                <a:gd name="T87" fmla="*/ 672 h 901"/>
                <a:gd name="T88" fmla="*/ 829 w 837"/>
                <a:gd name="T89" fmla="*/ 585 h 9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837" h="901">
                  <a:moveTo>
                    <a:pt x="583" y="579"/>
                  </a:moveTo>
                  <a:cubicBezTo>
                    <a:pt x="543" y="579"/>
                    <a:pt x="511" y="611"/>
                    <a:pt x="511" y="650"/>
                  </a:cubicBezTo>
                  <a:cubicBezTo>
                    <a:pt x="511" y="690"/>
                    <a:pt x="543" y="722"/>
                    <a:pt x="583" y="722"/>
                  </a:cubicBezTo>
                  <a:cubicBezTo>
                    <a:pt x="622" y="722"/>
                    <a:pt x="654" y="690"/>
                    <a:pt x="654" y="650"/>
                  </a:cubicBezTo>
                  <a:cubicBezTo>
                    <a:pt x="654" y="611"/>
                    <a:pt x="622" y="579"/>
                    <a:pt x="583" y="579"/>
                  </a:cubicBezTo>
                  <a:close/>
                  <a:moveTo>
                    <a:pt x="332" y="579"/>
                  </a:moveTo>
                  <a:cubicBezTo>
                    <a:pt x="292" y="579"/>
                    <a:pt x="260" y="611"/>
                    <a:pt x="260" y="650"/>
                  </a:cubicBezTo>
                  <a:cubicBezTo>
                    <a:pt x="260" y="690"/>
                    <a:pt x="292" y="722"/>
                    <a:pt x="332" y="722"/>
                  </a:cubicBezTo>
                  <a:cubicBezTo>
                    <a:pt x="372" y="722"/>
                    <a:pt x="404" y="690"/>
                    <a:pt x="404" y="650"/>
                  </a:cubicBezTo>
                  <a:cubicBezTo>
                    <a:pt x="404" y="611"/>
                    <a:pt x="372" y="579"/>
                    <a:pt x="332" y="579"/>
                  </a:cubicBezTo>
                  <a:close/>
                  <a:moveTo>
                    <a:pt x="332" y="435"/>
                  </a:moveTo>
                  <a:cubicBezTo>
                    <a:pt x="332" y="396"/>
                    <a:pt x="300" y="364"/>
                    <a:pt x="260" y="364"/>
                  </a:cubicBezTo>
                  <a:cubicBezTo>
                    <a:pt x="221" y="364"/>
                    <a:pt x="189" y="396"/>
                    <a:pt x="189" y="435"/>
                  </a:cubicBezTo>
                  <a:cubicBezTo>
                    <a:pt x="189" y="475"/>
                    <a:pt x="221" y="507"/>
                    <a:pt x="260" y="507"/>
                  </a:cubicBezTo>
                  <a:cubicBezTo>
                    <a:pt x="300" y="507"/>
                    <a:pt x="332" y="475"/>
                    <a:pt x="332" y="435"/>
                  </a:cubicBezTo>
                  <a:close/>
                  <a:moveTo>
                    <a:pt x="404" y="185"/>
                  </a:moveTo>
                  <a:cubicBezTo>
                    <a:pt x="364" y="185"/>
                    <a:pt x="332" y="217"/>
                    <a:pt x="332" y="256"/>
                  </a:cubicBezTo>
                  <a:cubicBezTo>
                    <a:pt x="332" y="296"/>
                    <a:pt x="364" y="328"/>
                    <a:pt x="404" y="328"/>
                  </a:cubicBezTo>
                  <a:cubicBezTo>
                    <a:pt x="443" y="328"/>
                    <a:pt x="475" y="296"/>
                    <a:pt x="475" y="256"/>
                  </a:cubicBezTo>
                  <a:cubicBezTo>
                    <a:pt x="475" y="217"/>
                    <a:pt x="443" y="185"/>
                    <a:pt x="404" y="185"/>
                  </a:cubicBezTo>
                  <a:close/>
                  <a:moveTo>
                    <a:pt x="757" y="635"/>
                  </a:moveTo>
                  <a:cubicBezTo>
                    <a:pt x="740" y="663"/>
                    <a:pt x="721" y="688"/>
                    <a:pt x="698" y="711"/>
                  </a:cubicBezTo>
                  <a:cubicBezTo>
                    <a:pt x="625" y="786"/>
                    <a:pt x="527" y="829"/>
                    <a:pt x="429" y="829"/>
                  </a:cubicBezTo>
                  <a:cubicBezTo>
                    <a:pt x="343" y="829"/>
                    <a:pt x="265" y="797"/>
                    <a:pt x="207" y="738"/>
                  </a:cubicBezTo>
                  <a:cubicBezTo>
                    <a:pt x="78" y="605"/>
                    <a:pt x="89" y="378"/>
                    <a:pt x="233" y="231"/>
                  </a:cubicBezTo>
                  <a:cubicBezTo>
                    <a:pt x="308" y="154"/>
                    <a:pt x="406" y="113"/>
                    <a:pt x="502" y="113"/>
                  </a:cubicBezTo>
                  <a:cubicBezTo>
                    <a:pt x="557" y="113"/>
                    <a:pt x="610" y="126"/>
                    <a:pt x="658" y="154"/>
                  </a:cubicBezTo>
                  <a:cubicBezTo>
                    <a:pt x="668" y="159"/>
                    <a:pt x="674" y="167"/>
                    <a:pt x="675" y="177"/>
                  </a:cubicBezTo>
                  <a:cubicBezTo>
                    <a:pt x="677" y="188"/>
                    <a:pt x="673" y="199"/>
                    <a:pt x="665" y="208"/>
                  </a:cubicBezTo>
                  <a:cubicBezTo>
                    <a:pt x="624" y="253"/>
                    <a:pt x="602" y="309"/>
                    <a:pt x="602" y="366"/>
                  </a:cubicBezTo>
                  <a:cubicBezTo>
                    <a:pt x="602" y="456"/>
                    <a:pt x="656" y="540"/>
                    <a:pt x="744" y="584"/>
                  </a:cubicBezTo>
                  <a:cubicBezTo>
                    <a:pt x="754" y="590"/>
                    <a:pt x="759" y="600"/>
                    <a:pt x="760" y="605"/>
                  </a:cubicBezTo>
                  <a:cubicBezTo>
                    <a:pt x="763" y="615"/>
                    <a:pt x="762" y="626"/>
                    <a:pt x="757" y="635"/>
                  </a:cubicBezTo>
                  <a:close/>
                  <a:moveTo>
                    <a:pt x="829" y="585"/>
                  </a:moveTo>
                  <a:cubicBezTo>
                    <a:pt x="821" y="557"/>
                    <a:pt x="801" y="533"/>
                    <a:pt x="776" y="520"/>
                  </a:cubicBezTo>
                  <a:cubicBezTo>
                    <a:pt x="713" y="488"/>
                    <a:pt x="673" y="429"/>
                    <a:pt x="673" y="366"/>
                  </a:cubicBezTo>
                  <a:cubicBezTo>
                    <a:pt x="673" y="326"/>
                    <a:pt x="689" y="288"/>
                    <a:pt x="718" y="257"/>
                  </a:cubicBezTo>
                  <a:cubicBezTo>
                    <a:pt x="741" y="231"/>
                    <a:pt x="751" y="198"/>
                    <a:pt x="746" y="166"/>
                  </a:cubicBezTo>
                  <a:cubicBezTo>
                    <a:pt x="741" y="135"/>
                    <a:pt x="722" y="108"/>
                    <a:pt x="694" y="92"/>
                  </a:cubicBezTo>
                  <a:cubicBezTo>
                    <a:pt x="533" y="0"/>
                    <a:pt x="323" y="37"/>
                    <a:pt x="181" y="181"/>
                  </a:cubicBezTo>
                  <a:cubicBezTo>
                    <a:pt x="11" y="356"/>
                    <a:pt x="0" y="628"/>
                    <a:pt x="156" y="788"/>
                  </a:cubicBezTo>
                  <a:cubicBezTo>
                    <a:pt x="227" y="861"/>
                    <a:pt x="324" y="901"/>
                    <a:pt x="429" y="901"/>
                  </a:cubicBezTo>
                  <a:cubicBezTo>
                    <a:pt x="546" y="901"/>
                    <a:pt x="663" y="850"/>
                    <a:pt x="749" y="761"/>
                  </a:cubicBezTo>
                  <a:cubicBezTo>
                    <a:pt x="776" y="734"/>
                    <a:pt x="799" y="704"/>
                    <a:pt x="818" y="672"/>
                  </a:cubicBezTo>
                  <a:cubicBezTo>
                    <a:pt x="833" y="646"/>
                    <a:pt x="837" y="615"/>
                    <a:pt x="829" y="58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3" name="Freeform 45"/>
            <p:cNvSpPr>
              <a:spLocks noEditPoints="1"/>
            </p:cNvSpPr>
            <p:nvPr/>
          </p:nvSpPr>
          <p:spPr bwMode="auto">
            <a:xfrm>
              <a:off x="8701296" y="725091"/>
              <a:ext cx="270186" cy="260412"/>
            </a:xfrm>
            <a:custGeom>
              <a:avLst/>
              <a:gdLst>
                <a:gd name="T0" fmla="*/ 573 w 859"/>
                <a:gd name="T1" fmla="*/ 573 h 824"/>
                <a:gd name="T2" fmla="*/ 573 w 859"/>
                <a:gd name="T3" fmla="*/ 645 h 824"/>
                <a:gd name="T4" fmla="*/ 859 w 859"/>
                <a:gd name="T5" fmla="*/ 645 h 824"/>
                <a:gd name="T6" fmla="*/ 859 w 859"/>
                <a:gd name="T7" fmla="*/ 573 h 824"/>
                <a:gd name="T8" fmla="*/ 573 w 859"/>
                <a:gd name="T9" fmla="*/ 573 h 824"/>
                <a:gd name="T10" fmla="*/ 787 w 859"/>
                <a:gd name="T11" fmla="*/ 537 h 824"/>
                <a:gd name="T12" fmla="*/ 787 w 859"/>
                <a:gd name="T13" fmla="*/ 466 h 824"/>
                <a:gd name="T14" fmla="*/ 573 w 859"/>
                <a:gd name="T15" fmla="*/ 466 h 824"/>
                <a:gd name="T16" fmla="*/ 573 w 859"/>
                <a:gd name="T17" fmla="*/ 537 h 824"/>
                <a:gd name="T18" fmla="*/ 787 w 859"/>
                <a:gd name="T19" fmla="*/ 537 h 824"/>
                <a:gd name="T20" fmla="*/ 250 w 859"/>
                <a:gd name="T21" fmla="*/ 430 h 824"/>
                <a:gd name="T22" fmla="*/ 250 w 859"/>
                <a:gd name="T23" fmla="*/ 698 h 824"/>
                <a:gd name="T24" fmla="*/ 394 w 859"/>
                <a:gd name="T25" fmla="*/ 627 h 824"/>
                <a:gd name="T26" fmla="*/ 537 w 859"/>
                <a:gd name="T27" fmla="*/ 698 h 824"/>
                <a:gd name="T28" fmla="*/ 537 w 859"/>
                <a:gd name="T29" fmla="*/ 430 h 824"/>
                <a:gd name="T30" fmla="*/ 465 w 859"/>
                <a:gd name="T31" fmla="*/ 430 h 824"/>
                <a:gd name="T32" fmla="*/ 465 w 859"/>
                <a:gd name="T33" fmla="*/ 582 h 824"/>
                <a:gd name="T34" fmla="*/ 394 w 859"/>
                <a:gd name="T35" fmla="*/ 547 h 824"/>
                <a:gd name="T36" fmla="*/ 322 w 859"/>
                <a:gd name="T37" fmla="*/ 582 h 824"/>
                <a:gd name="T38" fmla="*/ 322 w 859"/>
                <a:gd name="T39" fmla="*/ 430 h 824"/>
                <a:gd name="T40" fmla="*/ 250 w 859"/>
                <a:gd name="T41" fmla="*/ 430 h 824"/>
                <a:gd name="T42" fmla="*/ 788 w 859"/>
                <a:gd name="T43" fmla="*/ 125 h 824"/>
                <a:gd name="T44" fmla="*/ 662 w 859"/>
                <a:gd name="T45" fmla="*/ 0 h 824"/>
                <a:gd name="T46" fmla="*/ 143 w 859"/>
                <a:gd name="T47" fmla="*/ 0 h 824"/>
                <a:gd name="T48" fmla="*/ 143 w 859"/>
                <a:gd name="T49" fmla="*/ 72 h 824"/>
                <a:gd name="T50" fmla="*/ 662 w 859"/>
                <a:gd name="T51" fmla="*/ 72 h 824"/>
                <a:gd name="T52" fmla="*/ 716 w 859"/>
                <a:gd name="T53" fmla="*/ 125 h 824"/>
                <a:gd name="T54" fmla="*/ 662 w 859"/>
                <a:gd name="T55" fmla="*/ 179 h 824"/>
                <a:gd name="T56" fmla="*/ 143 w 859"/>
                <a:gd name="T57" fmla="*/ 179 h 824"/>
                <a:gd name="T58" fmla="*/ 143 w 859"/>
                <a:gd name="T59" fmla="*/ 251 h 824"/>
                <a:gd name="T60" fmla="*/ 662 w 859"/>
                <a:gd name="T61" fmla="*/ 251 h 824"/>
                <a:gd name="T62" fmla="*/ 788 w 859"/>
                <a:gd name="T63" fmla="*/ 125 h 824"/>
                <a:gd name="T64" fmla="*/ 197 w 859"/>
                <a:gd name="T65" fmla="*/ 537 h 824"/>
                <a:gd name="T66" fmla="*/ 214 w 859"/>
                <a:gd name="T67" fmla="*/ 537 h 824"/>
                <a:gd name="T68" fmla="*/ 214 w 859"/>
                <a:gd name="T69" fmla="*/ 466 h 824"/>
                <a:gd name="T70" fmla="*/ 197 w 859"/>
                <a:gd name="T71" fmla="*/ 466 h 824"/>
                <a:gd name="T72" fmla="*/ 143 w 859"/>
                <a:gd name="T73" fmla="*/ 412 h 824"/>
                <a:gd name="T74" fmla="*/ 197 w 859"/>
                <a:gd name="T75" fmla="*/ 358 h 824"/>
                <a:gd name="T76" fmla="*/ 787 w 859"/>
                <a:gd name="T77" fmla="*/ 358 h 824"/>
                <a:gd name="T78" fmla="*/ 787 w 859"/>
                <a:gd name="T79" fmla="*/ 286 h 824"/>
                <a:gd name="T80" fmla="*/ 197 w 859"/>
                <a:gd name="T81" fmla="*/ 286 h 824"/>
                <a:gd name="T82" fmla="*/ 71 w 859"/>
                <a:gd name="T83" fmla="*/ 412 h 824"/>
                <a:gd name="T84" fmla="*/ 197 w 859"/>
                <a:gd name="T85" fmla="*/ 537 h 824"/>
                <a:gd name="T86" fmla="*/ 71 w 859"/>
                <a:gd name="T87" fmla="*/ 698 h 824"/>
                <a:gd name="T88" fmla="*/ 125 w 859"/>
                <a:gd name="T89" fmla="*/ 645 h 824"/>
                <a:gd name="T90" fmla="*/ 214 w 859"/>
                <a:gd name="T91" fmla="*/ 645 h 824"/>
                <a:gd name="T92" fmla="*/ 214 w 859"/>
                <a:gd name="T93" fmla="*/ 573 h 824"/>
                <a:gd name="T94" fmla="*/ 125 w 859"/>
                <a:gd name="T95" fmla="*/ 573 h 824"/>
                <a:gd name="T96" fmla="*/ 0 w 859"/>
                <a:gd name="T97" fmla="*/ 698 h 824"/>
                <a:gd name="T98" fmla="*/ 125 w 859"/>
                <a:gd name="T99" fmla="*/ 824 h 824"/>
                <a:gd name="T100" fmla="*/ 859 w 859"/>
                <a:gd name="T101" fmla="*/ 824 h 824"/>
                <a:gd name="T102" fmla="*/ 859 w 859"/>
                <a:gd name="T103" fmla="*/ 752 h 824"/>
                <a:gd name="T104" fmla="*/ 125 w 859"/>
                <a:gd name="T105" fmla="*/ 752 h 824"/>
                <a:gd name="T106" fmla="*/ 71 w 859"/>
                <a:gd name="T107" fmla="*/ 698 h 8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859" h="824">
                  <a:moveTo>
                    <a:pt x="573" y="573"/>
                  </a:moveTo>
                  <a:lnTo>
                    <a:pt x="573" y="645"/>
                  </a:lnTo>
                  <a:lnTo>
                    <a:pt x="859" y="645"/>
                  </a:lnTo>
                  <a:lnTo>
                    <a:pt x="859" y="573"/>
                  </a:lnTo>
                  <a:lnTo>
                    <a:pt x="573" y="573"/>
                  </a:lnTo>
                  <a:close/>
                  <a:moveTo>
                    <a:pt x="787" y="537"/>
                  </a:moveTo>
                  <a:lnTo>
                    <a:pt x="787" y="466"/>
                  </a:lnTo>
                  <a:lnTo>
                    <a:pt x="573" y="466"/>
                  </a:lnTo>
                  <a:lnTo>
                    <a:pt x="573" y="537"/>
                  </a:lnTo>
                  <a:lnTo>
                    <a:pt x="787" y="537"/>
                  </a:lnTo>
                  <a:close/>
                  <a:moveTo>
                    <a:pt x="250" y="430"/>
                  </a:moveTo>
                  <a:lnTo>
                    <a:pt x="250" y="698"/>
                  </a:lnTo>
                  <a:lnTo>
                    <a:pt x="394" y="627"/>
                  </a:lnTo>
                  <a:lnTo>
                    <a:pt x="537" y="698"/>
                  </a:lnTo>
                  <a:lnTo>
                    <a:pt x="537" y="430"/>
                  </a:lnTo>
                  <a:lnTo>
                    <a:pt x="465" y="430"/>
                  </a:lnTo>
                  <a:lnTo>
                    <a:pt x="465" y="582"/>
                  </a:lnTo>
                  <a:lnTo>
                    <a:pt x="394" y="547"/>
                  </a:lnTo>
                  <a:lnTo>
                    <a:pt x="322" y="582"/>
                  </a:lnTo>
                  <a:lnTo>
                    <a:pt x="322" y="430"/>
                  </a:lnTo>
                  <a:lnTo>
                    <a:pt x="250" y="430"/>
                  </a:lnTo>
                  <a:close/>
                  <a:moveTo>
                    <a:pt x="788" y="125"/>
                  </a:moveTo>
                  <a:cubicBezTo>
                    <a:pt x="788" y="56"/>
                    <a:pt x="731" y="0"/>
                    <a:pt x="662" y="0"/>
                  </a:cubicBezTo>
                  <a:lnTo>
                    <a:pt x="143" y="0"/>
                  </a:lnTo>
                  <a:lnTo>
                    <a:pt x="143" y="72"/>
                  </a:lnTo>
                  <a:lnTo>
                    <a:pt x="662" y="72"/>
                  </a:lnTo>
                  <a:cubicBezTo>
                    <a:pt x="692" y="72"/>
                    <a:pt x="716" y="96"/>
                    <a:pt x="716" y="125"/>
                  </a:cubicBezTo>
                  <a:cubicBezTo>
                    <a:pt x="716" y="155"/>
                    <a:pt x="692" y="179"/>
                    <a:pt x="662" y="179"/>
                  </a:cubicBezTo>
                  <a:lnTo>
                    <a:pt x="143" y="179"/>
                  </a:lnTo>
                  <a:lnTo>
                    <a:pt x="143" y="251"/>
                  </a:lnTo>
                  <a:lnTo>
                    <a:pt x="662" y="251"/>
                  </a:lnTo>
                  <a:cubicBezTo>
                    <a:pt x="731" y="251"/>
                    <a:pt x="788" y="194"/>
                    <a:pt x="788" y="125"/>
                  </a:cubicBezTo>
                  <a:close/>
                  <a:moveTo>
                    <a:pt x="197" y="537"/>
                  </a:moveTo>
                  <a:lnTo>
                    <a:pt x="214" y="537"/>
                  </a:lnTo>
                  <a:lnTo>
                    <a:pt x="214" y="466"/>
                  </a:lnTo>
                  <a:lnTo>
                    <a:pt x="197" y="466"/>
                  </a:lnTo>
                  <a:cubicBezTo>
                    <a:pt x="167" y="466"/>
                    <a:pt x="143" y="441"/>
                    <a:pt x="143" y="412"/>
                  </a:cubicBezTo>
                  <a:cubicBezTo>
                    <a:pt x="143" y="382"/>
                    <a:pt x="167" y="358"/>
                    <a:pt x="197" y="358"/>
                  </a:cubicBezTo>
                  <a:lnTo>
                    <a:pt x="787" y="358"/>
                  </a:lnTo>
                  <a:lnTo>
                    <a:pt x="787" y="286"/>
                  </a:lnTo>
                  <a:lnTo>
                    <a:pt x="197" y="286"/>
                  </a:lnTo>
                  <a:cubicBezTo>
                    <a:pt x="128" y="286"/>
                    <a:pt x="71" y="343"/>
                    <a:pt x="71" y="412"/>
                  </a:cubicBezTo>
                  <a:cubicBezTo>
                    <a:pt x="71" y="481"/>
                    <a:pt x="128" y="537"/>
                    <a:pt x="197" y="537"/>
                  </a:cubicBezTo>
                  <a:close/>
                  <a:moveTo>
                    <a:pt x="71" y="698"/>
                  </a:moveTo>
                  <a:cubicBezTo>
                    <a:pt x="71" y="669"/>
                    <a:pt x="95" y="645"/>
                    <a:pt x="125" y="645"/>
                  </a:cubicBezTo>
                  <a:lnTo>
                    <a:pt x="214" y="645"/>
                  </a:lnTo>
                  <a:lnTo>
                    <a:pt x="214" y="573"/>
                  </a:lnTo>
                  <a:lnTo>
                    <a:pt x="125" y="573"/>
                  </a:lnTo>
                  <a:cubicBezTo>
                    <a:pt x="56" y="573"/>
                    <a:pt x="0" y="629"/>
                    <a:pt x="0" y="698"/>
                  </a:cubicBezTo>
                  <a:cubicBezTo>
                    <a:pt x="0" y="767"/>
                    <a:pt x="56" y="824"/>
                    <a:pt x="125" y="824"/>
                  </a:cubicBezTo>
                  <a:lnTo>
                    <a:pt x="859" y="824"/>
                  </a:lnTo>
                  <a:lnTo>
                    <a:pt x="859" y="752"/>
                  </a:lnTo>
                  <a:lnTo>
                    <a:pt x="125" y="752"/>
                  </a:lnTo>
                  <a:cubicBezTo>
                    <a:pt x="95" y="752"/>
                    <a:pt x="71" y="728"/>
                    <a:pt x="71" y="69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9" name="Freeform 46"/>
            <p:cNvSpPr>
              <a:spLocks noEditPoints="1"/>
            </p:cNvSpPr>
            <p:nvPr/>
          </p:nvSpPr>
          <p:spPr bwMode="auto">
            <a:xfrm>
              <a:off x="8741962" y="2983368"/>
              <a:ext cx="188855" cy="272813"/>
            </a:xfrm>
            <a:custGeom>
              <a:avLst/>
              <a:gdLst>
                <a:gd name="T0" fmla="*/ 275 w 598"/>
                <a:gd name="T1" fmla="*/ 251 h 860"/>
                <a:gd name="T2" fmla="*/ 347 w 598"/>
                <a:gd name="T3" fmla="*/ 179 h 860"/>
                <a:gd name="T4" fmla="*/ 419 w 598"/>
                <a:gd name="T5" fmla="*/ 251 h 860"/>
                <a:gd name="T6" fmla="*/ 347 w 598"/>
                <a:gd name="T7" fmla="*/ 322 h 860"/>
                <a:gd name="T8" fmla="*/ 275 w 598"/>
                <a:gd name="T9" fmla="*/ 251 h 860"/>
                <a:gd name="T10" fmla="*/ 598 w 598"/>
                <a:gd name="T11" fmla="*/ 752 h 860"/>
                <a:gd name="T12" fmla="*/ 449 w 598"/>
                <a:gd name="T13" fmla="*/ 352 h 860"/>
                <a:gd name="T14" fmla="*/ 490 w 598"/>
                <a:gd name="T15" fmla="*/ 251 h 860"/>
                <a:gd name="T16" fmla="*/ 383 w 598"/>
                <a:gd name="T17" fmla="*/ 113 h 860"/>
                <a:gd name="T18" fmla="*/ 383 w 598"/>
                <a:gd name="T19" fmla="*/ 36 h 860"/>
                <a:gd name="T20" fmla="*/ 347 w 598"/>
                <a:gd name="T21" fmla="*/ 0 h 860"/>
                <a:gd name="T22" fmla="*/ 311 w 598"/>
                <a:gd name="T23" fmla="*/ 36 h 860"/>
                <a:gd name="T24" fmla="*/ 311 w 598"/>
                <a:gd name="T25" fmla="*/ 113 h 860"/>
                <a:gd name="T26" fmla="*/ 204 w 598"/>
                <a:gd name="T27" fmla="*/ 251 h 860"/>
                <a:gd name="T28" fmla="*/ 245 w 598"/>
                <a:gd name="T29" fmla="*/ 352 h 860"/>
                <a:gd name="T30" fmla="*/ 196 w 598"/>
                <a:gd name="T31" fmla="*/ 485 h 860"/>
                <a:gd name="T32" fmla="*/ 260 w 598"/>
                <a:gd name="T33" fmla="*/ 519 h 860"/>
                <a:gd name="T34" fmla="*/ 308 w 598"/>
                <a:gd name="T35" fmla="*/ 388 h 860"/>
                <a:gd name="T36" fmla="*/ 347 w 598"/>
                <a:gd name="T37" fmla="*/ 394 h 860"/>
                <a:gd name="T38" fmla="*/ 386 w 598"/>
                <a:gd name="T39" fmla="*/ 388 h 860"/>
                <a:gd name="T40" fmla="*/ 459 w 598"/>
                <a:gd name="T41" fmla="*/ 586 h 860"/>
                <a:gd name="T42" fmla="*/ 347 w 598"/>
                <a:gd name="T43" fmla="*/ 607 h 860"/>
                <a:gd name="T44" fmla="*/ 72 w 598"/>
                <a:gd name="T45" fmla="*/ 453 h 860"/>
                <a:gd name="T46" fmla="*/ 26 w 598"/>
                <a:gd name="T47" fmla="*/ 440 h 860"/>
                <a:gd name="T48" fmla="*/ 11 w 598"/>
                <a:gd name="T49" fmla="*/ 491 h 860"/>
                <a:gd name="T50" fmla="*/ 145 w 598"/>
                <a:gd name="T51" fmla="*/ 623 h 860"/>
                <a:gd name="T52" fmla="*/ 96 w 598"/>
                <a:gd name="T53" fmla="*/ 752 h 860"/>
                <a:gd name="T54" fmla="*/ 134 w 598"/>
                <a:gd name="T55" fmla="*/ 860 h 860"/>
                <a:gd name="T56" fmla="*/ 210 w 598"/>
                <a:gd name="T57" fmla="*/ 654 h 860"/>
                <a:gd name="T58" fmla="*/ 347 w 598"/>
                <a:gd name="T59" fmla="*/ 679 h 860"/>
                <a:gd name="T60" fmla="*/ 483 w 598"/>
                <a:gd name="T61" fmla="*/ 653 h 860"/>
                <a:gd name="T62" fmla="*/ 560 w 598"/>
                <a:gd name="T63" fmla="*/ 860 h 860"/>
                <a:gd name="T64" fmla="*/ 598 w 598"/>
                <a:gd name="T65" fmla="*/ 752 h 8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98" h="860">
                  <a:moveTo>
                    <a:pt x="275" y="251"/>
                  </a:moveTo>
                  <a:cubicBezTo>
                    <a:pt x="275" y="211"/>
                    <a:pt x="307" y="179"/>
                    <a:pt x="347" y="179"/>
                  </a:cubicBezTo>
                  <a:cubicBezTo>
                    <a:pt x="386" y="179"/>
                    <a:pt x="419" y="211"/>
                    <a:pt x="419" y="251"/>
                  </a:cubicBezTo>
                  <a:cubicBezTo>
                    <a:pt x="419" y="290"/>
                    <a:pt x="386" y="322"/>
                    <a:pt x="347" y="322"/>
                  </a:cubicBezTo>
                  <a:cubicBezTo>
                    <a:pt x="307" y="322"/>
                    <a:pt x="275" y="290"/>
                    <a:pt x="275" y="251"/>
                  </a:cubicBezTo>
                  <a:close/>
                  <a:moveTo>
                    <a:pt x="598" y="752"/>
                  </a:moveTo>
                  <a:lnTo>
                    <a:pt x="449" y="352"/>
                  </a:lnTo>
                  <a:cubicBezTo>
                    <a:pt x="474" y="326"/>
                    <a:pt x="490" y="290"/>
                    <a:pt x="490" y="251"/>
                  </a:cubicBezTo>
                  <a:cubicBezTo>
                    <a:pt x="490" y="184"/>
                    <a:pt x="444" y="129"/>
                    <a:pt x="383" y="113"/>
                  </a:cubicBezTo>
                  <a:lnTo>
                    <a:pt x="383" y="36"/>
                  </a:lnTo>
                  <a:cubicBezTo>
                    <a:pt x="383" y="16"/>
                    <a:pt x="367" y="0"/>
                    <a:pt x="347" y="0"/>
                  </a:cubicBezTo>
                  <a:cubicBezTo>
                    <a:pt x="327" y="0"/>
                    <a:pt x="311" y="16"/>
                    <a:pt x="311" y="36"/>
                  </a:cubicBezTo>
                  <a:lnTo>
                    <a:pt x="311" y="113"/>
                  </a:lnTo>
                  <a:cubicBezTo>
                    <a:pt x="250" y="129"/>
                    <a:pt x="204" y="184"/>
                    <a:pt x="204" y="251"/>
                  </a:cubicBezTo>
                  <a:cubicBezTo>
                    <a:pt x="204" y="290"/>
                    <a:pt x="220" y="326"/>
                    <a:pt x="245" y="352"/>
                  </a:cubicBezTo>
                  <a:lnTo>
                    <a:pt x="196" y="485"/>
                  </a:lnTo>
                  <a:cubicBezTo>
                    <a:pt x="216" y="499"/>
                    <a:pt x="237" y="511"/>
                    <a:pt x="260" y="519"/>
                  </a:cubicBezTo>
                  <a:lnTo>
                    <a:pt x="308" y="388"/>
                  </a:lnTo>
                  <a:cubicBezTo>
                    <a:pt x="321" y="392"/>
                    <a:pt x="333" y="394"/>
                    <a:pt x="347" y="394"/>
                  </a:cubicBezTo>
                  <a:cubicBezTo>
                    <a:pt x="361" y="394"/>
                    <a:pt x="373" y="392"/>
                    <a:pt x="386" y="388"/>
                  </a:cubicBezTo>
                  <a:lnTo>
                    <a:pt x="459" y="586"/>
                  </a:lnTo>
                  <a:cubicBezTo>
                    <a:pt x="423" y="599"/>
                    <a:pt x="386" y="607"/>
                    <a:pt x="347" y="607"/>
                  </a:cubicBezTo>
                  <a:cubicBezTo>
                    <a:pt x="233" y="607"/>
                    <a:pt x="130" y="549"/>
                    <a:pt x="72" y="453"/>
                  </a:cubicBezTo>
                  <a:cubicBezTo>
                    <a:pt x="63" y="438"/>
                    <a:pt x="43" y="432"/>
                    <a:pt x="26" y="440"/>
                  </a:cubicBezTo>
                  <a:cubicBezTo>
                    <a:pt x="7" y="449"/>
                    <a:pt x="0" y="473"/>
                    <a:pt x="11" y="491"/>
                  </a:cubicBezTo>
                  <a:cubicBezTo>
                    <a:pt x="45" y="547"/>
                    <a:pt x="92" y="591"/>
                    <a:pt x="145" y="623"/>
                  </a:cubicBezTo>
                  <a:lnTo>
                    <a:pt x="96" y="752"/>
                  </a:lnTo>
                  <a:lnTo>
                    <a:pt x="134" y="860"/>
                  </a:lnTo>
                  <a:lnTo>
                    <a:pt x="210" y="654"/>
                  </a:lnTo>
                  <a:cubicBezTo>
                    <a:pt x="253" y="670"/>
                    <a:pt x="299" y="679"/>
                    <a:pt x="347" y="679"/>
                  </a:cubicBezTo>
                  <a:cubicBezTo>
                    <a:pt x="394" y="679"/>
                    <a:pt x="440" y="669"/>
                    <a:pt x="483" y="653"/>
                  </a:cubicBezTo>
                  <a:lnTo>
                    <a:pt x="560" y="860"/>
                  </a:lnTo>
                  <a:lnTo>
                    <a:pt x="598" y="75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5" name="Freeform 52"/>
            <p:cNvSpPr>
              <a:spLocks noEditPoints="1"/>
            </p:cNvSpPr>
            <p:nvPr/>
          </p:nvSpPr>
          <p:spPr bwMode="auto">
            <a:xfrm>
              <a:off x="8704053" y="2417306"/>
              <a:ext cx="264672" cy="272813"/>
            </a:xfrm>
            <a:custGeom>
              <a:avLst/>
              <a:gdLst>
                <a:gd name="T0" fmla="*/ 179 w 839"/>
                <a:gd name="T1" fmla="*/ 143 h 860"/>
                <a:gd name="T2" fmla="*/ 609 w 839"/>
                <a:gd name="T3" fmla="*/ 143 h 860"/>
                <a:gd name="T4" fmla="*/ 609 w 839"/>
                <a:gd name="T5" fmla="*/ 269 h 860"/>
                <a:gd name="T6" fmla="*/ 474 w 839"/>
                <a:gd name="T7" fmla="*/ 383 h 860"/>
                <a:gd name="T8" fmla="*/ 526 w 839"/>
                <a:gd name="T9" fmla="*/ 440 h 860"/>
                <a:gd name="T10" fmla="*/ 839 w 839"/>
                <a:gd name="T11" fmla="*/ 208 h 860"/>
                <a:gd name="T12" fmla="*/ 781 w 839"/>
                <a:gd name="T13" fmla="*/ 151 h 860"/>
                <a:gd name="T14" fmla="*/ 680 w 839"/>
                <a:gd name="T15" fmla="*/ 215 h 860"/>
                <a:gd name="T16" fmla="*/ 680 w 839"/>
                <a:gd name="T17" fmla="*/ 72 h 860"/>
                <a:gd name="T18" fmla="*/ 430 w 839"/>
                <a:gd name="T19" fmla="*/ 72 h 860"/>
                <a:gd name="T20" fmla="*/ 430 w 839"/>
                <a:gd name="T21" fmla="*/ 0 h 860"/>
                <a:gd name="T22" fmla="*/ 358 w 839"/>
                <a:gd name="T23" fmla="*/ 0 h 860"/>
                <a:gd name="T24" fmla="*/ 358 w 839"/>
                <a:gd name="T25" fmla="*/ 72 h 860"/>
                <a:gd name="T26" fmla="*/ 107 w 839"/>
                <a:gd name="T27" fmla="*/ 72 h 860"/>
                <a:gd name="T28" fmla="*/ 107 w 839"/>
                <a:gd name="T29" fmla="*/ 537 h 860"/>
                <a:gd name="T30" fmla="*/ 179 w 839"/>
                <a:gd name="T31" fmla="*/ 537 h 860"/>
                <a:gd name="T32" fmla="*/ 179 w 839"/>
                <a:gd name="T33" fmla="*/ 143 h 860"/>
                <a:gd name="T34" fmla="*/ 680 w 839"/>
                <a:gd name="T35" fmla="*/ 537 h 860"/>
                <a:gd name="T36" fmla="*/ 680 w 839"/>
                <a:gd name="T37" fmla="*/ 393 h 860"/>
                <a:gd name="T38" fmla="*/ 609 w 839"/>
                <a:gd name="T39" fmla="*/ 447 h 860"/>
                <a:gd name="T40" fmla="*/ 609 w 839"/>
                <a:gd name="T41" fmla="*/ 537 h 860"/>
                <a:gd name="T42" fmla="*/ 680 w 839"/>
                <a:gd name="T43" fmla="*/ 537 h 860"/>
                <a:gd name="T44" fmla="*/ 371 w 839"/>
                <a:gd name="T45" fmla="*/ 473 h 860"/>
                <a:gd name="T46" fmla="*/ 414 w 839"/>
                <a:gd name="T47" fmla="*/ 530 h 860"/>
                <a:gd name="T48" fmla="*/ 506 w 839"/>
                <a:gd name="T49" fmla="*/ 461 h 860"/>
                <a:gd name="T50" fmla="*/ 463 w 839"/>
                <a:gd name="T51" fmla="*/ 404 h 860"/>
                <a:gd name="T52" fmla="*/ 371 w 839"/>
                <a:gd name="T53" fmla="*/ 473 h 860"/>
                <a:gd name="T54" fmla="*/ 0 w 839"/>
                <a:gd name="T55" fmla="*/ 681 h 860"/>
                <a:gd name="T56" fmla="*/ 233 w 839"/>
                <a:gd name="T57" fmla="*/ 681 h 860"/>
                <a:gd name="T58" fmla="*/ 166 w 839"/>
                <a:gd name="T59" fmla="*/ 860 h 860"/>
                <a:gd name="T60" fmla="*/ 243 w 839"/>
                <a:gd name="T61" fmla="*/ 860 h 860"/>
                <a:gd name="T62" fmla="*/ 310 w 839"/>
                <a:gd name="T63" fmla="*/ 681 h 860"/>
                <a:gd name="T64" fmla="*/ 358 w 839"/>
                <a:gd name="T65" fmla="*/ 681 h 860"/>
                <a:gd name="T66" fmla="*/ 358 w 839"/>
                <a:gd name="T67" fmla="*/ 860 h 860"/>
                <a:gd name="T68" fmla="*/ 430 w 839"/>
                <a:gd name="T69" fmla="*/ 860 h 860"/>
                <a:gd name="T70" fmla="*/ 430 w 839"/>
                <a:gd name="T71" fmla="*/ 681 h 860"/>
                <a:gd name="T72" fmla="*/ 547 w 839"/>
                <a:gd name="T73" fmla="*/ 681 h 860"/>
                <a:gd name="T74" fmla="*/ 614 w 839"/>
                <a:gd name="T75" fmla="*/ 860 h 860"/>
                <a:gd name="T76" fmla="*/ 690 w 839"/>
                <a:gd name="T77" fmla="*/ 860 h 860"/>
                <a:gd name="T78" fmla="*/ 623 w 839"/>
                <a:gd name="T79" fmla="*/ 681 h 860"/>
                <a:gd name="T80" fmla="*/ 788 w 839"/>
                <a:gd name="T81" fmla="*/ 681 h 860"/>
                <a:gd name="T82" fmla="*/ 788 w 839"/>
                <a:gd name="T83" fmla="*/ 609 h 860"/>
                <a:gd name="T84" fmla="*/ 0 w 839"/>
                <a:gd name="T85" fmla="*/ 609 h 860"/>
                <a:gd name="T86" fmla="*/ 0 w 839"/>
                <a:gd name="T87" fmla="*/ 681 h 8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839" h="860">
                  <a:moveTo>
                    <a:pt x="179" y="143"/>
                  </a:moveTo>
                  <a:lnTo>
                    <a:pt x="609" y="143"/>
                  </a:lnTo>
                  <a:lnTo>
                    <a:pt x="609" y="269"/>
                  </a:lnTo>
                  <a:lnTo>
                    <a:pt x="474" y="383"/>
                  </a:lnTo>
                  <a:lnTo>
                    <a:pt x="526" y="440"/>
                  </a:lnTo>
                  <a:lnTo>
                    <a:pt x="839" y="208"/>
                  </a:lnTo>
                  <a:lnTo>
                    <a:pt x="781" y="151"/>
                  </a:lnTo>
                  <a:lnTo>
                    <a:pt x="680" y="215"/>
                  </a:lnTo>
                  <a:lnTo>
                    <a:pt x="680" y="72"/>
                  </a:lnTo>
                  <a:lnTo>
                    <a:pt x="430" y="72"/>
                  </a:lnTo>
                  <a:lnTo>
                    <a:pt x="430" y="0"/>
                  </a:lnTo>
                  <a:lnTo>
                    <a:pt x="358" y="0"/>
                  </a:lnTo>
                  <a:lnTo>
                    <a:pt x="358" y="72"/>
                  </a:lnTo>
                  <a:lnTo>
                    <a:pt x="107" y="72"/>
                  </a:lnTo>
                  <a:lnTo>
                    <a:pt x="107" y="537"/>
                  </a:lnTo>
                  <a:lnTo>
                    <a:pt x="179" y="537"/>
                  </a:lnTo>
                  <a:lnTo>
                    <a:pt x="179" y="143"/>
                  </a:lnTo>
                  <a:close/>
                  <a:moveTo>
                    <a:pt x="680" y="537"/>
                  </a:moveTo>
                  <a:lnTo>
                    <a:pt x="680" y="393"/>
                  </a:lnTo>
                  <a:lnTo>
                    <a:pt x="609" y="447"/>
                  </a:lnTo>
                  <a:lnTo>
                    <a:pt x="609" y="537"/>
                  </a:lnTo>
                  <a:lnTo>
                    <a:pt x="680" y="537"/>
                  </a:lnTo>
                  <a:close/>
                  <a:moveTo>
                    <a:pt x="371" y="473"/>
                  </a:moveTo>
                  <a:lnTo>
                    <a:pt x="414" y="530"/>
                  </a:lnTo>
                  <a:lnTo>
                    <a:pt x="506" y="461"/>
                  </a:lnTo>
                  <a:lnTo>
                    <a:pt x="463" y="404"/>
                  </a:lnTo>
                  <a:lnTo>
                    <a:pt x="371" y="473"/>
                  </a:lnTo>
                  <a:close/>
                  <a:moveTo>
                    <a:pt x="0" y="681"/>
                  </a:moveTo>
                  <a:lnTo>
                    <a:pt x="233" y="681"/>
                  </a:lnTo>
                  <a:lnTo>
                    <a:pt x="166" y="860"/>
                  </a:lnTo>
                  <a:lnTo>
                    <a:pt x="243" y="860"/>
                  </a:lnTo>
                  <a:lnTo>
                    <a:pt x="310" y="681"/>
                  </a:lnTo>
                  <a:lnTo>
                    <a:pt x="358" y="681"/>
                  </a:lnTo>
                  <a:lnTo>
                    <a:pt x="358" y="860"/>
                  </a:lnTo>
                  <a:lnTo>
                    <a:pt x="430" y="860"/>
                  </a:lnTo>
                  <a:lnTo>
                    <a:pt x="430" y="681"/>
                  </a:lnTo>
                  <a:lnTo>
                    <a:pt x="547" y="681"/>
                  </a:lnTo>
                  <a:lnTo>
                    <a:pt x="614" y="860"/>
                  </a:lnTo>
                  <a:lnTo>
                    <a:pt x="690" y="860"/>
                  </a:lnTo>
                  <a:lnTo>
                    <a:pt x="623" y="681"/>
                  </a:lnTo>
                  <a:lnTo>
                    <a:pt x="788" y="681"/>
                  </a:lnTo>
                  <a:lnTo>
                    <a:pt x="788" y="609"/>
                  </a:lnTo>
                  <a:lnTo>
                    <a:pt x="0" y="609"/>
                  </a:lnTo>
                  <a:lnTo>
                    <a:pt x="0" y="68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6" name="Freeform 53"/>
            <p:cNvSpPr>
              <a:spLocks noEditPoints="1"/>
            </p:cNvSpPr>
            <p:nvPr/>
          </p:nvSpPr>
          <p:spPr bwMode="auto">
            <a:xfrm>
              <a:off x="8695782" y="4695336"/>
              <a:ext cx="281214" cy="245254"/>
            </a:xfrm>
            <a:custGeom>
              <a:avLst/>
              <a:gdLst>
                <a:gd name="T0" fmla="*/ 408 w 888"/>
                <a:gd name="T1" fmla="*/ 61 h 777"/>
                <a:gd name="T2" fmla="*/ 337 w 888"/>
                <a:gd name="T3" fmla="*/ 61 h 777"/>
                <a:gd name="T4" fmla="*/ 337 w 888"/>
                <a:gd name="T5" fmla="*/ 539 h 777"/>
                <a:gd name="T6" fmla="*/ 408 w 888"/>
                <a:gd name="T7" fmla="*/ 556 h 777"/>
                <a:gd name="T8" fmla="*/ 408 w 888"/>
                <a:gd name="T9" fmla="*/ 61 h 777"/>
                <a:gd name="T10" fmla="*/ 552 w 888"/>
                <a:gd name="T11" fmla="*/ 61 h 777"/>
                <a:gd name="T12" fmla="*/ 480 w 888"/>
                <a:gd name="T13" fmla="*/ 61 h 777"/>
                <a:gd name="T14" fmla="*/ 480 w 888"/>
                <a:gd name="T15" fmla="*/ 556 h 777"/>
                <a:gd name="T16" fmla="*/ 552 w 888"/>
                <a:gd name="T17" fmla="*/ 539 h 777"/>
                <a:gd name="T18" fmla="*/ 552 w 888"/>
                <a:gd name="T19" fmla="*/ 61 h 777"/>
                <a:gd name="T20" fmla="*/ 829 w 888"/>
                <a:gd name="T21" fmla="*/ 27 h 777"/>
                <a:gd name="T22" fmla="*/ 734 w 888"/>
                <a:gd name="T23" fmla="*/ 5 h 777"/>
                <a:gd name="T24" fmla="*/ 652 w 888"/>
                <a:gd name="T25" fmla="*/ 56 h 777"/>
                <a:gd name="T26" fmla="*/ 696 w 888"/>
                <a:gd name="T27" fmla="*/ 357 h 777"/>
                <a:gd name="T28" fmla="*/ 634 w 888"/>
                <a:gd name="T29" fmla="*/ 526 h 777"/>
                <a:gd name="T30" fmla="*/ 444 w 888"/>
                <a:gd name="T31" fmla="*/ 595 h 777"/>
                <a:gd name="T32" fmla="*/ 254 w 888"/>
                <a:gd name="T33" fmla="*/ 526 h 777"/>
                <a:gd name="T34" fmla="*/ 193 w 888"/>
                <a:gd name="T35" fmla="*/ 357 h 777"/>
                <a:gd name="T36" fmla="*/ 237 w 888"/>
                <a:gd name="T37" fmla="*/ 57 h 777"/>
                <a:gd name="T38" fmla="*/ 155 w 888"/>
                <a:gd name="T39" fmla="*/ 5 h 777"/>
                <a:gd name="T40" fmla="*/ 60 w 888"/>
                <a:gd name="T41" fmla="*/ 27 h 777"/>
                <a:gd name="T42" fmla="*/ 35 w 888"/>
                <a:gd name="T43" fmla="*/ 179 h 777"/>
                <a:gd name="T44" fmla="*/ 92 w 888"/>
                <a:gd name="T45" fmla="*/ 216 h 777"/>
                <a:gd name="T46" fmla="*/ 134 w 888"/>
                <a:gd name="T47" fmla="*/ 189 h 777"/>
                <a:gd name="T48" fmla="*/ 107 w 888"/>
                <a:gd name="T49" fmla="*/ 146 h 777"/>
                <a:gd name="T50" fmla="*/ 93 w 888"/>
                <a:gd name="T51" fmla="*/ 137 h 777"/>
                <a:gd name="T52" fmla="*/ 102 w 888"/>
                <a:gd name="T53" fmla="*/ 85 h 777"/>
                <a:gd name="T54" fmla="*/ 143 w 888"/>
                <a:gd name="T55" fmla="*/ 76 h 777"/>
                <a:gd name="T56" fmla="*/ 179 w 888"/>
                <a:gd name="T57" fmla="*/ 99 h 777"/>
                <a:gd name="T58" fmla="*/ 130 w 888"/>
                <a:gd name="T59" fmla="*/ 321 h 777"/>
                <a:gd name="T60" fmla="*/ 122 w 888"/>
                <a:gd name="T61" fmla="*/ 330 h 777"/>
                <a:gd name="T62" fmla="*/ 122 w 888"/>
                <a:gd name="T63" fmla="*/ 341 h 777"/>
                <a:gd name="T64" fmla="*/ 202 w 888"/>
                <a:gd name="T65" fmla="*/ 575 h 777"/>
                <a:gd name="T66" fmla="*/ 445 w 888"/>
                <a:gd name="T67" fmla="*/ 666 h 777"/>
                <a:gd name="T68" fmla="*/ 687 w 888"/>
                <a:gd name="T69" fmla="*/ 575 h 777"/>
                <a:gd name="T70" fmla="*/ 767 w 888"/>
                <a:gd name="T71" fmla="*/ 341 h 777"/>
                <a:gd name="T72" fmla="*/ 766 w 888"/>
                <a:gd name="T73" fmla="*/ 330 h 777"/>
                <a:gd name="T74" fmla="*/ 759 w 888"/>
                <a:gd name="T75" fmla="*/ 321 h 777"/>
                <a:gd name="T76" fmla="*/ 710 w 888"/>
                <a:gd name="T77" fmla="*/ 98 h 777"/>
                <a:gd name="T78" fmla="*/ 746 w 888"/>
                <a:gd name="T79" fmla="*/ 76 h 777"/>
                <a:gd name="T80" fmla="*/ 787 w 888"/>
                <a:gd name="T81" fmla="*/ 85 h 777"/>
                <a:gd name="T82" fmla="*/ 795 w 888"/>
                <a:gd name="T83" fmla="*/ 137 h 777"/>
                <a:gd name="T84" fmla="*/ 782 w 888"/>
                <a:gd name="T85" fmla="*/ 146 h 777"/>
                <a:gd name="T86" fmla="*/ 754 w 888"/>
                <a:gd name="T87" fmla="*/ 189 h 777"/>
                <a:gd name="T88" fmla="*/ 797 w 888"/>
                <a:gd name="T89" fmla="*/ 216 h 777"/>
                <a:gd name="T90" fmla="*/ 854 w 888"/>
                <a:gd name="T91" fmla="*/ 179 h 777"/>
                <a:gd name="T92" fmla="*/ 829 w 888"/>
                <a:gd name="T93" fmla="*/ 27 h 777"/>
                <a:gd name="T94" fmla="*/ 301 w 888"/>
                <a:gd name="T95" fmla="*/ 777 h 777"/>
                <a:gd name="T96" fmla="*/ 587 w 888"/>
                <a:gd name="T97" fmla="*/ 777 h 777"/>
                <a:gd name="T98" fmla="*/ 587 w 888"/>
                <a:gd name="T99" fmla="*/ 705 h 777"/>
                <a:gd name="T100" fmla="*/ 301 w 888"/>
                <a:gd name="T101" fmla="*/ 705 h 777"/>
                <a:gd name="T102" fmla="*/ 301 w 888"/>
                <a:gd name="T103" fmla="*/ 777 h 7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888" h="777">
                  <a:moveTo>
                    <a:pt x="408" y="61"/>
                  </a:moveTo>
                  <a:lnTo>
                    <a:pt x="337" y="61"/>
                  </a:lnTo>
                  <a:lnTo>
                    <a:pt x="337" y="539"/>
                  </a:lnTo>
                  <a:cubicBezTo>
                    <a:pt x="372" y="548"/>
                    <a:pt x="372" y="554"/>
                    <a:pt x="408" y="556"/>
                  </a:cubicBezTo>
                  <a:lnTo>
                    <a:pt x="408" y="61"/>
                  </a:lnTo>
                  <a:close/>
                  <a:moveTo>
                    <a:pt x="552" y="61"/>
                  </a:moveTo>
                  <a:lnTo>
                    <a:pt x="480" y="61"/>
                  </a:lnTo>
                  <a:lnTo>
                    <a:pt x="480" y="556"/>
                  </a:lnTo>
                  <a:cubicBezTo>
                    <a:pt x="516" y="554"/>
                    <a:pt x="516" y="548"/>
                    <a:pt x="552" y="539"/>
                  </a:cubicBezTo>
                  <a:lnTo>
                    <a:pt x="552" y="61"/>
                  </a:lnTo>
                  <a:close/>
                  <a:moveTo>
                    <a:pt x="829" y="27"/>
                  </a:moveTo>
                  <a:cubicBezTo>
                    <a:pt x="801" y="8"/>
                    <a:pt x="768" y="0"/>
                    <a:pt x="734" y="5"/>
                  </a:cubicBezTo>
                  <a:cubicBezTo>
                    <a:pt x="700" y="11"/>
                    <a:pt x="671" y="29"/>
                    <a:pt x="652" y="56"/>
                  </a:cubicBezTo>
                  <a:cubicBezTo>
                    <a:pt x="591" y="139"/>
                    <a:pt x="637" y="279"/>
                    <a:pt x="696" y="357"/>
                  </a:cubicBezTo>
                  <a:cubicBezTo>
                    <a:pt x="695" y="386"/>
                    <a:pt x="689" y="468"/>
                    <a:pt x="634" y="526"/>
                  </a:cubicBezTo>
                  <a:cubicBezTo>
                    <a:pt x="592" y="572"/>
                    <a:pt x="528" y="595"/>
                    <a:pt x="444" y="595"/>
                  </a:cubicBezTo>
                  <a:cubicBezTo>
                    <a:pt x="361" y="595"/>
                    <a:pt x="297" y="572"/>
                    <a:pt x="254" y="526"/>
                  </a:cubicBezTo>
                  <a:cubicBezTo>
                    <a:pt x="199" y="468"/>
                    <a:pt x="193" y="385"/>
                    <a:pt x="193" y="357"/>
                  </a:cubicBezTo>
                  <a:cubicBezTo>
                    <a:pt x="252" y="279"/>
                    <a:pt x="298" y="139"/>
                    <a:pt x="237" y="57"/>
                  </a:cubicBezTo>
                  <a:cubicBezTo>
                    <a:pt x="217" y="29"/>
                    <a:pt x="188" y="11"/>
                    <a:pt x="155" y="5"/>
                  </a:cubicBezTo>
                  <a:cubicBezTo>
                    <a:pt x="121" y="0"/>
                    <a:pt x="87" y="8"/>
                    <a:pt x="60" y="27"/>
                  </a:cubicBezTo>
                  <a:cubicBezTo>
                    <a:pt x="11" y="63"/>
                    <a:pt x="0" y="130"/>
                    <a:pt x="35" y="179"/>
                  </a:cubicBezTo>
                  <a:cubicBezTo>
                    <a:pt x="49" y="198"/>
                    <a:pt x="69" y="212"/>
                    <a:pt x="92" y="216"/>
                  </a:cubicBezTo>
                  <a:cubicBezTo>
                    <a:pt x="111" y="220"/>
                    <a:pt x="130" y="208"/>
                    <a:pt x="134" y="189"/>
                  </a:cubicBezTo>
                  <a:cubicBezTo>
                    <a:pt x="138" y="169"/>
                    <a:pt x="126" y="150"/>
                    <a:pt x="107" y="146"/>
                  </a:cubicBezTo>
                  <a:cubicBezTo>
                    <a:pt x="101" y="145"/>
                    <a:pt x="96" y="142"/>
                    <a:pt x="93" y="137"/>
                  </a:cubicBezTo>
                  <a:cubicBezTo>
                    <a:pt x="81" y="121"/>
                    <a:pt x="85" y="97"/>
                    <a:pt x="102" y="85"/>
                  </a:cubicBezTo>
                  <a:cubicBezTo>
                    <a:pt x="114" y="77"/>
                    <a:pt x="128" y="73"/>
                    <a:pt x="143" y="76"/>
                  </a:cubicBezTo>
                  <a:cubicBezTo>
                    <a:pt x="157" y="78"/>
                    <a:pt x="170" y="86"/>
                    <a:pt x="179" y="99"/>
                  </a:cubicBezTo>
                  <a:cubicBezTo>
                    <a:pt x="215" y="148"/>
                    <a:pt x="182" y="259"/>
                    <a:pt x="130" y="321"/>
                  </a:cubicBezTo>
                  <a:lnTo>
                    <a:pt x="122" y="330"/>
                  </a:lnTo>
                  <a:lnTo>
                    <a:pt x="122" y="341"/>
                  </a:lnTo>
                  <a:cubicBezTo>
                    <a:pt x="121" y="347"/>
                    <a:pt x="113" y="480"/>
                    <a:pt x="202" y="575"/>
                  </a:cubicBezTo>
                  <a:cubicBezTo>
                    <a:pt x="258" y="636"/>
                    <a:pt x="340" y="666"/>
                    <a:pt x="445" y="666"/>
                  </a:cubicBezTo>
                  <a:cubicBezTo>
                    <a:pt x="549" y="666"/>
                    <a:pt x="630" y="636"/>
                    <a:pt x="687" y="575"/>
                  </a:cubicBezTo>
                  <a:cubicBezTo>
                    <a:pt x="775" y="480"/>
                    <a:pt x="767" y="347"/>
                    <a:pt x="767" y="341"/>
                  </a:cubicBezTo>
                  <a:lnTo>
                    <a:pt x="766" y="330"/>
                  </a:lnTo>
                  <a:lnTo>
                    <a:pt x="759" y="321"/>
                  </a:lnTo>
                  <a:cubicBezTo>
                    <a:pt x="706" y="259"/>
                    <a:pt x="673" y="148"/>
                    <a:pt x="710" y="98"/>
                  </a:cubicBezTo>
                  <a:cubicBezTo>
                    <a:pt x="718" y="86"/>
                    <a:pt x="731" y="78"/>
                    <a:pt x="746" y="76"/>
                  </a:cubicBezTo>
                  <a:cubicBezTo>
                    <a:pt x="760" y="73"/>
                    <a:pt x="775" y="77"/>
                    <a:pt x="787" y="85"/>
                  </a:cubicBezTo>
                  <a:cubicBezTo>
                    <a:pt x="803" y="97"/>
                    <a:pt x="807" y="121"/>
                    <a:pt x="795" y="137"/>
                  </a:cubicBezTo>
                  <a:cubicBezTo>
                    <a:pt x="792" y="142"/>
                    <a:pt x="787" y="145"/>
                    <a:pt x="782" y="146"/>
                  </a:cubicBezTo>
                  <a:cubicBezTo>
                    <a:pt x="762" y="150"/>
                    <a:pt x="750" y="169"/>
                    <a:pt x="754" y="189"/>
                  </a:cubicBezTo>
                  <a:cubicBezTo>
                    <a:pt x="758" y="208"/>
                    <a:pt x="777" y="220"/>
                    <a:pt x="797" y="216"/>
                  </a:cubicBezTo>
                  <a:cubicBezTo>
                    <a:pt x="820" y="212"/>
                    <a:pt x="840" y="198"/>
                    <a:pt x="854" y="179"/>
                  </a:cubicBezTo>
                  <a:cubicBezTo>
                    <a:pt x="888" y="130"/>
                    <a:pt x="877" y="63"/>
                    <a:pt x="829" y="27"/>
                  </a:cubicBezTo>
                  <a:close/>
                  <a:moveTo>
                    <a:pt x="301" y="777"/>
                  </a:moveTo>
                  <a:lnTo>
                    <a:pt x="587" y="777"/>
                  </a:lnTo>
                  <a:lnTo>
                    <a:pt x="587" y="705"/>
                  </a:lnTo>
                  <a:lnTo>
                    <a:pt x="301" y="705"/>
                  </a:lnTo>
                  <a:lnTo>
                    <a:pt x="301" y="77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115" name="AutoShape 4"/>
          <p:cNvSpPr>
            <a:spLocks noChangeAspect="1" noChangeArrowheads="1" noTextEdit="1"/>
          </p:cNvSpPr>
          <p:nvPr/>
        </p:nvSpPr>
        <p:spPr bwMode="auto">
          <a:xfrm>
            <a:off x="5844301" y="1808388"/>
            <a:ext cx="918665" cy="3170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16" name="Рисунок 115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185" name="TextBox 184"/>
          <p:cNvSpPr txBox="1"/>
          <p:nvPr/>
        </p:nvSpPr>
        <p:spPr>
          <a:xfrm>
            <a:off x="394574" y="1545718"/>
            <a:ext cx="6301256" cy="461665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lvl="0" algn="ctr"/>
            <a:r>
              <a:rPr lang="ru-RU" sz="2400" b="1" dirty="0">
                <a:solidFill>
                  <a:srgbClr val="002060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УМК Н.С. </a:t>
            </a:r>
            <a:r>
              <a:rPr lang="ru-RU" sz="2400" b="1" dirty="0" err="1">
                <a:solidFill>
                  <a:srgbClr val="002060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Пурышевой</a:t>
            </a:r>
            <a:r>
              <a:rPr lang="ru-RU" sz="2400" b="1" dirty="0">
                <a:solidFill>
                  <a:srgbClr val="002060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, Н.Е. </a:t>
            </a:r>
            <a:r>
              <a:rPr lang="ru-RU" sz="2400" b="1" dirty="0" err="1">
                <a:solidFill>
                  <a:srgbClr val="002060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Важеевской</a:t>
            </a:r>
            <a:endParaRPr lang="ru-RU" sz="2400" b="1" dirty="0">
              <a:solidFill>
                <a:srgbClr val="002060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grpSp>
        <p:nvGrpSpPr>
          <p:cNvPr id="186" name="Группа 185"/>
          <p:cNvGrpSpPr/>
          <p:nvPr/>
        </p:nvGrpSpPr>
        <p:grpSpPr>
          <a:xfrm>
            <a:off x="339553" y="260649"/>
            <a:ext cx="1268960" cy="438775"/>
            <a:chOff x="254665" y="195486"/>
            <a:chExt cx="951720" cy="329081"/>
          </a:xfrm>
        </p:grpSpPr>
        <p:sp>
          <p:nvSpPr>
            <p:cNvPr id="187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8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9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0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1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2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3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4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5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6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7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8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9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0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pic>
        <p:nvPicPr>
          <p:cNvPr id="50" name="Picture 5" descr="D:\Опаловский\9.jpg"/>
          <p:cNvPicPr>
            <a:picLocks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4665137" y="2631085"/>
            <a:ext cx="1980000" cy="25200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51" name="Picture 4" descr="D:\Опаловский\8.png"/>
          <p:cNvPicPr>
            <a:picLocks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2489292" y="2631085"/>
            <a:ext cx="2008243" cy="25200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53" name="Picture 3" descr="D:\Опаловский\7.jpg"/>
          <p:cNvPicPr>
            <a:picLocks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300023" y="2631085"/>
            <a:ext cx="1980000" cy="25200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54" name="Прямоугольник 53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335360" y="6516869"/>
            <a:ext cx="3411921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914377">
              <a:defRPr/>
            </a:pPr>
            <a:r>
              <a:rPr lang="ru-RU" sz="1200" dirty="0">
                <a:solidFill>
                  <a:prstClr val="white">
                    <a:lumMod val="65000"/>
                  </a:prstClr>
                </a:solidFill>
                <a:latin typeface="Calibri"/>
              </a:rPr>
              <a:t>© АО «Издательство «Просвещение», 20</a:t>
            </a:r>
            <a:r>
              <a:rPr lang="en-US" sz="1200" dirty="0" smtClean="0">
                <a:solidFill>
                  <a:prstClr val="white">
                    <a:lumMod val="65000"/>
                  </a:prstClr>
                </a:solidFill>
                <a:latin typeface="Calibri"/>
              </a:rPr>
              <a:t>21</a:t>
            </a:r>
            <a:endParaRPr lang="ru-RU" sz="1200" dirty="0">
              <a:solidFill>
                <a:prstClr val="white">
                  <a:lumMod val="6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5969181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48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cxnSp>
        <p:nvCxnSpPr>
          <p:cNvPr id="68" name="Прямая соединительная линия 67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Freeform 8"/>
          <p:cNvSpPr>
            <a:spLocks/>
          </p:cNvSpPr>
          <p:nvPr/>
        </p:nvSpPr>
        <p:spPr bwMode="auto">
          <a:xfrm>
            <a:off x="7596965" y="3958541"/>
            <a:ext cx="391642" cy="348126"/>
          </a:xfrm>
          <a:custGeom>
            <a:avLst/>
            <a:gdLst>
              <a:gd name="T0" fmla="*/ 860 w 860"/>
              <a:gd name="T1" fmla="*/ 251 h 752"/>
              <a:gd name="T2" fmla="*/ 430 w 860"/>
              <a:gd name="T3" fmla="*/ 0 h 752"/>
              <a:gd name="T4" fmla="*/ 0 w 860"/>
              <a:gd name="T5" fmla="*/ 251 h 752"/>
              <a:gd name="T6" fmla="*/ 144 w 860"/>
              <a:gd name="T7" fmla="*/ 335 h 752"/>
              <a:gd name="T8" fmla="*/ 144 w 860"/>
              <a:gd name="T9" fmla="*/ 476 h 752"/>
              <a:gd name="T10" fmla="*/ 149 w 860"/>
              <a:gd name="T11" fmla="*/ 484 h 752"/>
              <a:gd name="T12" fmla="*/ 430 w 860"/>
              <a:gd name="T13" fmla="*/ 645 h 752"/>
              <a:gd name="T14" fmla="*/ 573 w 860"/>
              <a:gd name="T15" fmla="*/ 611 h 752"/>
              <a:gd name="T16" fmla="*/ 573 w 860"/>
              <a:gd name="T17" fmla="*/ 528 h 752"/>
              <a:gd name="T18" fmla="*/ 430 w 860"/>
              <a:gd name="T19" fmla="*/ 573 h 752"/>
              <a:gd name="T20" fmla="*/ 215 w 860"/>
              <a:gd name="T21" fmla="*/ 456 h 752"/>
              <a:gd name="T22" fmla="*/ 215 w 860"/>
              <a:gd name="T23" fmla="*/ 376 h 752"/>
              <a:gd name="T24" fmla="*/ 430 w 860"/>
              <a:gd name="T25" fmla="*/ 502 h 752"/>
              <a:gd name="T26" fmla="*/ 553 w 860"/>
              <a:gd name="T27" fmla="*/ 430 h 752"/>
              <a:gd name="T28" fmla="*/ 483 w 860"/>
              <a:gd name="T29" fmla="*/ 388 h 752"/>
              <a:gd name="T30" fmla="*/ 430 w 860"/>
              <a:gd name="T31" fmla="*/ 419 h 752"/>
              <a:gd name="T32" fmla="*/ 143 w 860"/>
              <a:gd name="T33" fmla="*/ 251 h 752"/>
              <a:gd name="T34" fmla="*/ 430 w 860"/>
              <a:gd name="T35" fmla="*/ 83 h 752"/>
              <a:gd name="T36" fmla="*/ 718 w 860"/>
              <a:gd name="T37" fmla="*/ 251 h 752"/>
              <a:gd name="T38" fmla="*/ 624 w 860"/>
              <a:gd name="T39" fmla="*/ 306 h 752"/>
              <a:gd name="T40" fmla="*/ 454 w 860"/>
              <a:gd name="T41" fmla="*/ 205 h 752"/>
              <a:gd name="T42" fmla="*/ 391 w 860"/>
              <a:gd name="T43" fmla="*/ 247 h 752"/>
              <a:gd name="T44" fmla="*/ 390 w 860"/>
              <a:gd name="T45" fmla="*/ 250 h 752"/>
              <a:gd name="T46" fmla="*/ 645 w 860"/>
              <a:gd name="T47" fmla="*/ 401 h 752"/>
              <a:gd name="T48" fmla="*/ 645 w 860"/>
              <a:gd name="T49" fmla="*/ 752 h 752"/>
              <a:gd name="T50" fmla="*/ 717 w 860"/>
              <a:gd name="T51" fmla="*/ 752 h 752"/>
              <a:gd name="T52" fmla="*/ 717 w 860"/>
              <a:gd name="T53" fmla="*/ 361 h 752"/>
              <a:gd name="T54" fmla="*/ 694 w 860"/>
              <a:gd name="T55" fmla="*/ 347 h 752"/>
              <a:gd name="T56" fmla="*/ 860 w 860"/>
              <a:gd name="T57" fmla="*/ 25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860" h="752">
                <a:moveTo>
                  <a:pt x="860" y="251"/>
                </a:moveTo>
                <a:lnTo>
                  <a:pt x="430" y="0"/>
                </a:lnTo>
                <a:lnTo>
                  <a:pt x="0" y="251"/>
                </a:lnTo>
                <a:lnTo>
                  <a:pt x="144" y="335"/>
                </a:lnTo>
                <a:lnTo>
                  <a:pt x="144" y="476"/>
                </a:lnTo>
                <a:lnTo>
                  <a:pt x="149" y="484"/>
                </a:lnTo>
                <a:cubicBezTo>
                  <a:pt x="207" y="583"/>
                  <a:pt x="315" y="645"/>
                  <a:pt x="430" y="645"/>
                </a:cubicBezTo>
                <a:cubicBezTo>
                  <a:pt x="481" y="645"/>
                  <a:pt x="529" y="632"/>
                  <a:pt x="573" y="611"/>
                </a:cubicBezTo>
                <a:lnTo>
                  <a:pt x="573" y="528"/>
                </a:lnTo>
                <a:cubicBezTo>
                  <a:pt x="532" y="557"/>
                  <a:pt x="482" y="573"/>
                  <a:pt x="430" y="573"/>
                </a:cubicBezTo>
                <a:cubicBezTo>
                  <a:pt x="343" y="573"/>
                  <a:pt x="262" y="528"/>
                  <a:pt x="215" y="456"/>
                </a:cubicBezTo>
                <a:lnTo>
                  <a:pt x="215" y="376"/>
                </a:lnTo>
                <a:lnTo>
                  <a:pt x="430" y="502"/>
                </a:lnTo>
                <a:lnTo>
                  <a:pt x="553" y="430"/>
                </a:lnTo>
                <a:lnTo>
                  <a:pt x="483" y="388"/>
                </a:lnTo>
                <a:lnTo>
                  <a:pt x="430" y="419"/>
                </a:lnTo>
                <a:lnTo>
                  <a:pt x="143" y="251"/>
                </a:lnTo>
                <a:lnTo>
                  <a:pt x="430" y="83"/>
                </a:lnTo>
                <a:lnTo>
                  <a:pt x="718" y="251"/>
                </a:lnTo>
                <a:lnTo>
                  <a:pt x="624" y="306"/>
                </a:lnTo>
                <a:lnTo>
                  <a:pt x="454" y="205"/>
                </a:lnTo>
                <a:lnTo>
                  <a:pt x="391" y="247"/>
                </a:lnTo>
                <a:lnTo>
                  <a:pt x="390" y="250"/>
                </a:lnTo>
                <a:lnTo>
                  <a:pt x="645" y="401"/>
                </a:lnTo>
                <a:lnTo>
                  <a:pt x="645" y="752"/>
                </a:lnTo>
                <a:lnTo>
                  <a:pt x="717" y="752"/>
                </a:lnTo>
                <a:lnTo>
                  <a:pt x="717" y="361"/>
                </a:lnTo>
                <a:lnTo>
                  <a:pt x="694" y="347"/>
                </a:lnTo>
                <a:lnTo>
                  <a:pt x="860" y="25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7" name="Freeform 10"/>
          <p:cNvSpPr>
            <a:spLocks noEditPoints="1"/>
          </p:cNvSpPr>
          <p:nvPr/>
        </p:nvSpPr>
        <p:spPr bwMode="auto">
          <a:xfrm>
            <a:off x="7614768" y="2782742"/>
            <a:ext cx="391642" cy="346149"/>
          </a:xfrm>
          <a:custGeom>
            <a:avLst/>
            <a:gdLst>
              <a:gd name="T0" fmla="*/ 608 w 859"/>
              <a:gd name="T1" fmla="*/ 0 h 752"/>
              <a:gd name="T2" fmla="*/ 250 w 859"/>
              <a:gd name="T3" fmla="*/ 0 h 752"/>
              <a:gd name="T4" fmla="*/ 250 w 859"/>
              <a:gd name="T5" fmla="*/ 72 h 752"/>
              <a:gd name="T6" fmla="*/ 608 w 859"/>
              <a:gd name="T7" fmla="*/ 72 h 752"/>
              <a:gd name="T8" fmla="*/ 608 w 859"/>
              <a:gd name="T9" fmla="*/ 0 h 752"/>
              <a:gd name="T10" fmla="*/ 608 w 859"/>
              <a:gd name="T11" fmla="*/ 394 h 752"/>
              <a:gd name="T12" fmla="*/ 608 w 859"/>
              <a:gd name="T13" fmla="*/ 322 h 752"/>
              <a:gd name="T14" fmla="*/ 537 w 859"/>
              <a:gd name="T15" fmla="*/ 322 h 752"/>
              <a:gd name="T16" fmla="*/ 537 w 859"/>
              <a:gd name="T17" fmla="*/ 394 h 752"/>
              <a:gd name="T18" fmla="*/ 322 w 859"/>
              <a:gd name="T19" fmla="*/ 394 h 752"/>
              <a:gd name="T20" fmla="*/ 322 w 859"/>
              <a:gd name="T21" fmla="*/ 322 h 752"/>
              <a:gd name="T22" fmla="*/ 250 w 859"/>
              <a:gd name="T23" fmla="*/ 322 h 752"/>
              <a:gd name="T24" fmla="*/ 250 w 859"/>
              <a:gd name="T25" fmla="*/ 394 h 752"/>
              <a:gd name="T26" fmla="*/ 71 w 859"/>
              <a:gd name="T27" fmla="*/ 394 h 752"/>
              <a:gd name="T28" fmla="*/ 71 w 859"/>
              <a:gd name="T29" fmla="*/ 215 h 752"/>
              <a:gd name="T30" fmla="*/ 787 w 859"/>
              <a:gd name="T31" fmla="*/ 215 h 752"/>
              <a:gd name="T32" fmla="*/ 787 w 859"/>
              <a:gd name="T33" fmla="*/ 394 h 752"/>
              <a:gd name="T34" fmla="*/ 608 w 859"/>
              <a:gd name="T35" fmla="*/ 394 h 752"/>
              <a:gd name="T36" fmla="*/ 0 w 859"/>
              <a:gd name="T37" fmla="*/ 143 h 752"/>
              <a:gd name="T38" fmla="*/ 0 w 859"/>
              <a:gd name="T39" fmla="*/ 376 h 752"/>
              <a:gd name="T40" fmla="*/ 71 w 859"/>
              <a:gd name="T41" fmla="*/ 466 h 752"/>
              <a:gd name="T42" fmla="*/ 250 w 859"/>
              <a:gd name="T43" fmla="*/ 466 h 752"/>
              <a:gd name="T44" fmla="*/ 250 w 859"/>
              <a:gd name="T45" fmla="*/ 537 h 752"/>
              <a:gd name="T46" fmla="*/ 322 w 859"/>
              <a:gd name="T47" fmla="*/ 537 h 752"/>
              <a:gd name="T48" fmla="*/ 322 w 859"/>
              <a:gd name="T49" fmla="*/ 466 h 752"/>
              <a:gd name="T50" fmla="*/ 537 w 859"/>
              <a:gd name="T51" fmla="*/ 466 h 752"/>
              <a:gd name="T52" fmla="*/ 537 w 859"/>
              <a:gd name="T53" fmla="*/ 537 h 752"/>
              <a:gd name="T54" fmla="*/ 608 w 859"/>
              <a:gd name="T55" fmla="*/ 537 h 752"/>
              <a:gd name="T56" fmla="*/ 608 w 859"/>
              <a:gd name="T57" fmla="*/ 466 h 752"/>
              <a:gd name="T58" fmla="*/ 788 w 859"/>
              <a:gd name="T59" fmla="*/ 466 h 752"/>
              <a:gd name="T60" fmla="*/ 859 w 859"/>
              <a:gd name="T61" fmla="*/ 376 h 752"/>
              <a:gd name="T62" fmla="*/ 859 w 859"/>
              <a:gd name="T63" fmla="*/ 143 h 752"/>
              <a:gd name="T64" fmla="*/ 0 w 859"/>
              <a:gd name="T65" fmla="*/ 143 h 752"/>
              <a:gd name="T66" fmla="*/ 716 w 859"/>
              <a:gd name="T67" fmla="*/ 681 h 752"/>
              <a:gd name="T68" fmla="*/ 143 w 859"/>
              <a:gd name="T69" fmla="*/ 681 h 752"/>
              <a:gd name="T70" fmla="*/ 143 w 859"/>
              <a:gd name="T71" fmla="*/ 502 h 752"/>
              <a:gd name="T72" fmla="*/ 71 w 859"/>
              <a:gd name="T73" fmla="*/ 502 h 752"/>
              <a:gd name="T74" fmla="*/ 71 w 859"/>
              <a:gd name="T75" fmla="*/ 668 h 752"/>
              <a:gd name="T76" fmla="*/ 143 w 859"/>
              <a:gd name="T77" fmla="*/ 752 h 752"/>
              <a:gd name="T78" fmla="*/ 716 w 859"/>
              <a:gd name="T79" fmla="*/ 752 h 752"/>
              <a:gd name="T80" fmla="*/ 787 w 859"/>
              <a:gd name="T81" fmla="*/ 668 h 752"/>
              <a:gd name="T82" fmla="*/ 787 w 859"/>
              <a:gd name="T83" fmla="*/ 502 h 752"/>
              <a:gd name="T84" fmla="*/ 716 w 859"/>
              <a:gd name="T85" fmla="*/ 502 h 752"/>
              <a:gd name="T86" fmla="*/ 716 w 859"/>
              <a:gd name="T87" fmla="*/ 68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859" h="752">
                <a:moveTo>
                  <a:pt x="608" y="0"/>
                </a:moveTo>
                <a:lnTo>
                  <a:pt x="250" y="0"/>
                </a:lnTo>
                <a:lnTo>
                  <a:pt x="250" y="72"/>
                </a:lnTo>
                <a:lnTo>
                  <a:pt x="608" y="72"/>
                </a:lnTo>
                <a:lnTo>
                  <a:pt x="608" y="0"/>
                </a:lnTo>
                <a:close/>
                <a:moveTo>
                  <a:pt x="608" y="394"/>
                </a:moveTo>
                <a:lnTo>
                  <a:pt x="608" y="322"/>
                </a:lnTo>
                <a:lnTo>
                  <a:pt x="537" y="322"/>
                </a:lnTo>
                <a:lnTo>
                  <a:pt x="537" y="394"/>
                </a:lnTo>
                <a:lnTo>
                  <a:pt x="322" y="394"/>
                </a:lnTo>
                <a:lnTo>
                  <a:pt x="322" y="322"/>
                </a:lnTo>
                <a:lnTo>
                  <a:pt x="250" y="322"/>
                </a:lnTo>
                <a:lnTo>
                  <a:pt x="250" y="394"/>
                </a:lnTo>
                <a:lnTo>
                  <a:pt x="71" y="394"/>
                </a:lnTo>
                <a:lnTo>
                  <a:pt x="71" y="215"/>
                </a:lnTo>
                <a:lnTo>
                  <a:pt x="787" y="215"/>
                </a:lnTo>
                <a:lnTo>
                  <a:pt x="787" y="394"/>
                </a:lnTo>
                <a:lnTo>
                  <a:pt x="608" y="394"/>
                </a:lnTo>
                <a:close/>
                <a:moveTo>
                  <a:pt x="0" y="143"/>
                </a:moveTo>
                <a:lnTo>
                  <a:pt x="0" y="376"/>
                </a:lnTo>
                <a:cubicBezTo>
                  <a:pt x="0" y="416"/>
                  <a:pt x="32" y="466"/>
                  <a:pt x="71" y="466"/>
                </a:cubicBezTo>
                <a:lnTo>
                  <a:pt x="250" y="466"/>
                </a:lnTo>
                <a:lnTo>
                  <a:pt x="250" y="537"/>
                </a:lnTo>
                <a:lnTo>
                  <a:pt x="322" y="537"/>
                </a:lnTo>
                <a:lnTo>
                  <a:pt x="322" y="466"/>
                </a:lnTo>
                <a:lnTo>
                  <a:pt x="537" y="466"/>
                </a:lnTo>
                <a:lnTo>
                  <a:pt x="537" y="537"/>
                </a:lnTo>
                <a:lnTo>
                  <a:pt x="608" y="537"/>
                </a:lnTo>
                <a:lnTo>
                  <a:pt x="608" y="466"/>
                </a:lnTo>
                <a:lnTo>
                  <a:pt x="788" y="466"/>
                </a:lnTo>
                <a:cubicBezTo>
                  <a:pt x="827" y="466"/>
                  <a:pt x="859" y="416"/>
                  <a:pt x="859" y="376"/>
                </a:cubicBezTo>
                <a:lnTo>
                  <a:pt x="859" y="143"/>
                </a:lnTo>
                <a:lnTo>
                  <a:pt x="0" y="143"/>
                </a:lnTo>
                <a:close/>
                <a:moveTo>
                  <a:pt x="716" y="681"/>
                </a:moveTo>
                <a:lnTo>
                  <a:pt x="143" y="681"/>
                </a:lnTo>
                <a:lnTo>
                  <a:pt x="143" y="502"/>
                </a:lnTo>
                <a:lnTo>
                  <a:pt x="71" y="502"/>
                </a:lnTo>
                <a:lnTo>
                  <a:pt x="71" y="668"/>
                </a:lnTo>
                <a:cubicBezTo>
                  <a:pt x="71" y="704"/>
                  <a:pt x="104" y="752"/>
                  <a:pt x="143" y="752"/>
                </a:cubicBezTo>
                <a:lnTo>
                  <a:pt x="716" y="752"/>
                </a:lnTo>
                <a:cubicBezTo>
                  <a:pt x="755" y="752"/>
                  <a:pt x="787" y="704"/>
                  <a:pt x="787" y="668"/>
                </a:cubicBezTo>
                <a:lnTo>
                  <a:pt x="787" y="502"/>
                </a:lnTo>
                <a:lnTo>
                  <a:pt x="716" y="502"/>
                </a:lnTo>
                <a:lnTo>
                  <a:pt x="716" y="68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4" name="Прямоугольник 23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0" y="6516869"/>
            <a:ext cx="12192000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ГК «Просвещение», 2021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948970" y="108504"/>
            <a:ext cx="243457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ОГЭ 2021 физика</a:t>
            </a:r>
            <a:endParaRPr kumimoji="0" lang="ru-RU" sz="24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6" name="Рисунок 1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18009" y="770017"/>
            <a:ext cx="3952067" cy="2778186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7" name="Рисунок 1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092949" y="1144697"/>
            <a:ext cx="4962525" cy="2028825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8" name="Стрелка вправо 17"/>
          <p:cNvSpPr/>
          <p:nvPr/>
        </p:nvSpPr>
        <p:spPr>
          <a:xfrm>
            <a:off x="4590603" y="1896003"/>
            <a:ext cx="1181819" cy="526212"/>
          </a:xfrm>
          <a:prstGeom prst="rightArrow">
            <a:avLst/>
          </a:prstGeom>
          <a:solidFill>
            <a:schemeClr val="accent2">
              <a:lumMod val="60000"/>
              <a:lumOff val="40000"/>
              <a:alpha val="81000"/>
            </a:schemeClr>
          </a:solidFill>
          <a:ln w="34925"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Прямоугольник 18"/>
          <p:cNvSpPr/>
          <p:nvPr/>
        </p:nvSpPr>
        <p:spPr>
          <a:xfrm>
            <a:off x="617326" y="5930139"/>
            <a:ext cx="10951246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  <a:hlinkClick r:id="rId6"/>
              </a:rPr>
              <a:t>https://</a:t>
            </a: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  <a:hlinkClick r:id="rId6"/>
              </a:rPr>
              <a:t>www.youtube.com/watch?v=BHmTDidNPG8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Начальник Управления организации и проведения государственной итоговой аттестации </a:t>
            </a:r>
            <a:r>
              <a:rPr kumimoji="0" lang="ru-RU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Рособрнадзора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Игорь </a:t>
            </a:r>
            <a:r>
              <a:rPr kumimoji="0" lang="ru-RU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Круглинский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" name="Прямоугольник 19"/>
          <p:cNvSpPr/>
          <p:nvPr/>
        </p:nvSpPr>
        <p:spPr>
          <a:xfrm>
            <a:off x="5614219" y="4002359"/>
            <a:ext cx="6417967" cy="1815882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«Учащийся по своему выбору 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определяет один предмет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, по которому будет писать 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контрольную работу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. Не школа определяет, какой предмет будет сдавать выпускник, а непосредственно сам ученик 9 класса. Сделать это можно будет 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в течение двух месяцев (до мая 2021 года)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после того, как будут изданы 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нормативно-правовые акты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. Ребята могут спокойно выбрать тот предмет, по которому они будут писать контрольную работу</a:t>
            </a: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.»</a:t>
            </a: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1" name="Стрелка вниз 20"/>
          <p:cNvSpPr/>
          <p:nvPr/>
        </p:nvSpPr>
        <p:spPr>
          <a:xfrm>
            <a:off x="8185837" y="3341979"/>
            <a:ext cx="776748" cy="605741"/>
          </a:xfrm>
          <a:prstGeom prst="downArrow">
            <a:avLst>
              <a:gd name="adj1" fmla="val 29747"/>
              <a:gd name="adj2" fmla="val 43507"/>
            </a:avLst>
          </a:prstGeom>
          <a:solidFill>
            <a:schemeClr val="accent2">
              <a:lumMod val="60000"/>
              <a:lumOff val="40000"/>
              <a:alpha val="61000"/>
            </a:schemeClr>
          </a:solidFill>
          <a:ln w="25400"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7" name="Стрелка вправо 26"/>
          <p:cNvSpPr/>
          <p:nvPr/>
        </p:nvSpPr>
        <p:spPr>
          <a:xfrm rot="10800000">
            <a:off x="4906296" y="4647194"/>
            <a:ext cx="659069" cy="526212"/>
          </a:xfrm>
          <a:prstGeom prst="rightArrow">
            <a:avLst/>
          </a:prstGeom>
          <a:solidFill>
            <a:schemeClr val="accent2">
              <a:lumMod val="60000"/>
              <a:lumOff val="40000"/>
              <a:alpha val="81000"/>
            </a:schemeClr>
          </a:solidFill>
          <a:ln w="34925"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2" name="Прямоугольник 21"/>
          <p:cNvSpPr/>
          <p:nvPr/>
        </p:nvSpPr>
        <p:spPr>
          <a:xfrm>
            <a:off x="268952" y="3934998"/>
            <a:ext cx="4566809" cy="2031325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«Контрольные работы для 9 классов будут составлены на основе экзаменационных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моделей ОГЭ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. С этими моделями уже можно ознакомиться на сайте ФИПИ, они широко растиражированы в сети Интернет. То есть в основу контрольных работ будет положена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модель проведения ОГЭ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217487315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2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2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32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37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42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 animBg="1"/>
      <p:bldP spid="19" grpId="0"/>
      <p:bldP spid="20" grpId="0" animBg="1"/>
      <p:bldP spid="21" grpId="0" animBg="1"/>
      <p:bldP spid="27" grpId="0" animBg="1"/>
      <p:bldP spid="22" grpId="0" animBg="1"/>
    </p:bld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Прямоугольник 48"/>
          <p:cNvSpPr/>
          <p:nvPr/>
        </p:nvSpPr>
        <p:spPr>
          <a:xfrm>
            <a:off x="-3051" y="862266"/>
            <a:ext cx="12192000" cy="3102506"/>
          </a:xfrm>
          <a:prstGeom prst="rect">
            <a:avLst/>
          </a:prstGeom>
          <a:solidFill>
            <a:srgbClr val="F0F8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4" name="TextBox 53"/>
          <p:cNvSpPr txBox="1"/>
          <p:nvPr/>
        </p:nvSpPr>
        <p:spPr>
          <a:xfrm>
            <a:off x="4462027" y="4502487"/>
            <a:ext cx="7358205" cy="10361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Cambria" panose="02040503050406030204" pitchFamily="18" charset="0"/>
                <a:cs typeface="Open Sans Condensed" pitchFamily="34" charset="0"/>
              </a:rPr>
              <a:t>Учебник</a:t>
            </a:r>
          </a:p>
          <a:p>
            <a:pPr marL="342900" marR="0" lvl="0" indent="-34290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Cambria" panose="02040503050406030204" pitchFamily="18" charset="0"/>
                <a:cs typeface="Open Sans Condensed" pitchFamily="34" charset="0"/>
              </a:rPr>
              <a:t>Рабочая программа</a:t>
            </a: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ea typeface="Cambria" panose="02040503050406030204" pitchFamily="18" charset="0"/>
              <a:cs typeface="Open Sans Condensed" pitchFamily="34" charset="0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Cambria" panose="02040503050406030204" pitchFamily="18" charset="0"/>
                <a:cs typeface="Open Sans Condensed" pitchFamily="34" charset="0"/>
              </a:rPr>
              <a:t>Методические пособия</a:t>
            </a:r>
          </a:p>
          <a:p>
            <a:pPr marL="342900" marR="0" lvl="0" indent="-34290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Cambria" panose="02040503050406030204" pitchFamily="18" charset="0"/>
                <a:cs typeface="Open Sans Condensed" pitchFamily="34" charset="0"/>
              </a:rPr>
              <a:t>Рабочие тетради </a:t>
            </a: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grpSp>
        <p:nvGrpSpPr>
          <p:cNvPr id="4" name="Группа 3"/>
          <p:cNvGrpSpPr/>
          <p:nvPr/>
        </p:nvGrpSpPr>
        <p:grpSpPr>
          <a:xfrm>
            <a:off x="339553" y="260649"/>
            <a:ext cx="1268960" cy="438775"/>
            <a:chOff x="254665" y="195486"/>
            <a:chExt cx="951720" cy="329081"/>
          </a:xfrm>
        </p:grpSpPr>
        <p:sp>
          <p:nvSpPr>
            <p:cNvPr id="32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3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4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5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6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7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8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9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0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1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2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3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4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5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47" name="Прямая соединительная линия 46"/>
          <p:cNvCxnSpPr/>
          <p:nvPr/>
        </p:nvCxnSpPr>
        <p:spPr>
          <a:xfrm>
            <a:off x="1967541" y="0"/>
            <a:ext cx="0" cy="670171"/>
          </a:xfrm>
          <a:prstGeom prst="line">
            <a:avLst/>
          </a:prstGeom>
          <a:ln w="6350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29259" y="6432715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0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sp>
        <p:nvSpPr>
          <p:cNvPr id="21" name="Прямоугольник 20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335360" y="6516869"/>
            <a:ext cx="3411921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1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22" name="Picture 5" descr="D:\Опаловский\9.jpg"/>
          <p:cNvPicPr>
            <a:picLocks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728714" y="937762"/>
            <a:ext cx="1980000" cy="2520000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</p:pic>
      <p:pic>
        <p:nvPicPr>
          <p:cNvPr id="23" name="Picture 4" descr="D:\Опаловский\8.png"/>
          <p:cNvPicPr>
            <a:picLocks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072325" y="1465146"/>
            <a:ext cx="1980000" cy="2520000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</p:pic>
      <p:pic>
        <p:nvPicPr>
          <p:cNvPr id="24" name="Picture 3" descr="D:\Опаловский\7.jpg"/>
          <p:cNvPicPr>
            <a:picLocks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395644" y="2068026"/>
            <a:ext cx="1980000" cy="2520000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</p:pic>
      <p:sp>
        <p:nvSpPr>
          <p:cNvPr id="25" name="Прямоугольник 24"/>
          <p:cNvSpPr/>
          <p:nvPr/>
        </p:nvSpPr>
        <p:spPr>
          <a:xfrm>
            <a:off x="1569511" y="4530937"/>
            <a:ext cx="1718649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b="1" i="0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mbria" panose="02040503050406030204" pitchFamily="18" charset="0"/>
                <a:ea typeface="Cambria" panose="02040503050406030204" pitchFamily="18" charset="0"/>
                <a:cs typeface="Calibri" panose="020F0502020204030204" pitchFamily="34" charset="0"/>
              </a:rPr>
              <a:t>В ФПУ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mbria" panose="02040503050406030204" pitchFamily="18" charset="0"/>
                <a:ea typeface="Cambria" panose="02040503050406030204" pitchFamily="18" charset="0"/>
                <a:cs typeface="Calibri" panose="020F0502020204030204" pitchFamily="34" charset="0"/>
              </a:rPr>
              <a:t>1.1.2.5.1.8.1</a:t>
            </a:r>
            <a:endParaRPr kumimoji="0" lang="ru-RU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mbria" panose="02040503050406030204" pitchFamily="18" charset="0"/>
              <a:ea typeface="Cambria" panose="02040503050406030204" pitchFamily="18" charset="0"/>
              <a:cs typeface="Calibri" panose="020F050202020403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mbria" panose="02040503050406030204" pitchFamily="18" charset="0"/>
                <a:ea typeface="Cambria" panose="02040503050406030204" pitchFamily="18" charset="0"/>
                <a:cs typeface="Calibri" panose="020F0502020204030204" pitchFamily="34" charset="0"/>
              </a:rPr>
              <a:t>1.1.2.5.1.8.2</a:t>
            </a:r>
            <a:endParaRPr kumimoji="0" lang="ru-RU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mbria" panose="02040503050406030204" pitchFamily="18" charset="0"/>
              <a:ea typeface="Cambria" panose="02040503050406030204" pitchFamily="18" charset="0"/>
              <a:cs typeface="Calibri" panose="020F050202020403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mbria" panose="02040503050406030204" pitchFamily="18" charset="0"/>
                <a:ea typeface="Cambria" panose="02040503050406030204" pitchFamily="18" charset="0"/>
                <a:cs typeface="Calibri" panose="020F0502020204030204" pitchFamily="34" charset="0"/>
              </a:rPr>
              <a:t>1.1.2.5.1.8.3</a:t>
            </a:r>
            <a:endParaRPr kumimoji="0" lang="ru-RU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mbria" panose="02040503050406030204" pitchFamily="18" charset="0"/>
              <a:ea typeface="Cambria" panose="02040503050406030204" pitchFamily="18" charset="0"/>
              <a:cs typeface="Calibri" panose="020F0502020204030204" pitchFamily="34" charset="0"/>
            </a:endParaRPr>
          </a:p>
        </p:txBody>
      </p:sp>
      <p:pic>
        <p:nvPicPr>
          <p:cNvPr id="30" name="Рисунок 29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73101" y="5064144"/>
            <a:ext cx="462062" cy="216000"/>
          </a:xfrm>
          <a:prstGeom prst="rect">
            <a:avLst/>
          </a:prstGeom>
        </p:spPr>
      </p:pic>
      <p:pic>
        <p:nvPicPr>
          <p:cNvPr id="31" name="Рисунок 30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73672" y="4820096"/>
            <a:ext cx="462062" cy="216000"/>
          </a:xfrm>
          <a:prstGeom prst="rect">
            <a:avLst/>
          </a:prstGeom>
        </p:spPr>
      </p:pic>
      <p:sp>
        <p:nvSpPr>
          <p:cNvPr id="48" name="TextBox 47"/>
          <p:cNvSpPr txBox="1"/>
          <p:nvPr/>
        </p:nvSpPr>
        <p:spPr>
          <a:xfrm>
            <a:off x="4214546" y="1342594"/>
            <a:ext cx="8003248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Cambria" panose="02040503050406030204" pitchFamily="18" charset="0"/>
                <a:cs typeface="Open Sans Condensed" pitchFamily="34" charset="0"/>
              </a:rPr>
              <a:t>Структурированное представление материала</a:t>
            </a:r>
          </a:p>
          <a:p>
            <a:pPr marL="342900" marR="0" lvl="0" indent="-3429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Cambria" panose="02040503050406030204" pitchFamily="18" charset="0"/>
                <a:cs typeface="Open Sans Condensed" pitchFamily="34" charset="0"/>
              </a:rPr>
              <a:t>Систематизация знаний по итогам каждой темы</a:t>
            </a:r>
          </a:p>
          <a:p>
            <a:pPr marL="342900" marR="0" lvl="0" indent="-3429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Cambria" panose="02040503050406030204" pitchFamily="18" charset="0"/>
                <a:cs typeface="Open Sans Condensed" pitchFamily="34" charset="0"/>
              </a:rPr>
              <a:t>Развитие методологических знаний и умений</a:t>
            </a:r>
            <a:endParaRPr kumimoji="0" lang="en-US" sz="1600" b="0" i="0" u="none" strike="noStrike" kern="1200" cap="none" spc="0" normalizeH="0" baseline="0" noProof="0" dirty="0" smtClean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ea typeface="Cambria" panose="02040503050406030204" pitchFamily="18" charset="0"/>
              <a:cs typeface="Open Sans Condensed" pitchFamily="34" charset="0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Cambria" panose="02040503050406030204" pitchFamily="18" charset="0"/>
                <a:cs typeface="Open Sans Condensed" pitchFamily="34" charset="0"/>
              </a:rPr>
              <a:t>Отработка всех видов деятельности, необходимых на ОГЭ</a:t>
            </a: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ea typeface="Cambria" panose="02040503050406030204" pitchFamily="18" charset="0"/>
              <a:cs typeface="Open Sans Condensed" pitchFamily="34" charset="0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Cambria" panose="02040503050406030204" pitchFamily="18" charset="0"/>
                <a:cs typeface="Open Sans Condensed" pitchFamily="34" charset="0"/>
              </a:rPr>
              <a:t>Система обучения решению задач</a:t>
            </a:r>
          </a:p>
          <a:p>
            <a:pPr marL="342900" lvl="0" indent="-342900">
              <a:lnSpc>
                <a:spcPct val="150000"/>
              </a:lnSpc>
              <a:buFont typeface="Wingdings" panose="05000000000000000000" pitchFamily="2" charset="2"/>
              <a:buChar char="ü"/>
              <a:defRPr/>
            </a:pPr>
            <a:r>
              <a:rPr lang="ru-RU" sz="1600" dirty="0">
                <a:solidFill>
                  <a:srgbClr val="002060"/>
                </a:solidFill>
                <a:latin typeface="Calibri"/>
                <a:ea typeface="Cambria" panose="02040503050406030204" pitchFamily="18" charset="0"/>
                <a:cs typeface="Open Sans Condensed" pitchFamily="34" charset="0"/>
              </a:rPr>
              <a:t> </a:t>
            </a:r>
            <a:r>
              <a:rPr lang="ru-RU" sz="1600" dirty="0">
                <a:solidFill>
                  <a:srgbClr val="002060"/>
                </a:solidFill>
                <a:ea typeface="Cambria" panose="02040503050406030204" pitchFamily="18" charset="0"/>
                <a:cs typeface="Open Sans Condensed" pitchFamily="34" charset="0"/>
              </a:rPr>
              <a:t>Преемственность с УМК </a:t>
            </a:r>
            <a:r>
              <a:rPr lang="ru-RU" sz="1600" dirty="0" smtClean="0">
                <a:solidFill>
                  <a:srgbClr val="002060"/>
                </a:solidFill>
                <a:ea typeface="Cambria" panose="02040503050406030204" pitchFamily="18" charset="0"/>
                <a:cs typeface="Open Sans Condensed" pitchFamily="34" charset="0"/>
              </a:rPr>
              <a:t>«Физика»10-11 </a:t>
            </a:r>
            <a:r>
              <a:rPr lang="ru-RU" sz="1600" dirty="0">
                <a:solidFill>
                  <a:srgbClr val="002060"/>
                </a:solidFill>
                <a:ea typeface="Cambria" panose="02040503050406030204" pitchFamily="18" charset="0"/>
                <a:cs typeface="Open Sans Condensed" pitchFamily="34" charset="0"/>
              </a:rPr>
              <a:t>класс </a:t>
            </a:r>
            <a:r>
              <a:rPr lang="ru-RU" sz="1600" dirty="0" smtClean="0">
                <a:solidFill>
                  <a:srgbClr val="002060"/>
                </a:solidFill>
                <a:ea typeface="Cambria" panose="02040503050406030204" pitchFamily="18" charset="0"/>
                <a:cs typeface="Open Sans Condensed" pitchFamily="34" charset="0"/>
              </a:rPr>
              <a:t>тех же авторов</a:t>
            </a: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ea typeface="Cambria" panose="02040503050406030204" pitchFamily="18" charset="0"/>
              <a:cs typeface="Open Sans Condensed" pitchFamily="34" charset="0"/>
            </a:endParaRPr>
          </a:p>
        </p:txBody>
      </p:sp>
      <p:sp>
        <p:nvSpPr>
          <p:cNvPr id="53" name="TextBox 52"/>
          <p:cNvSpPr txBox="1"/>
          <p:nvPr/>
        </p:nvSpPr>
        <p:spPr>
          <a:xfrm>
            <a:off x="5423627" y="4021023"/>
            <a:ext cx="4331537" cy="3277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Cambria" panose="02040503050406030204" pitchFamily="18" charset="0"/>
                <a:cs typeface="Open Sans Condensed" pitchFamily="34" charset="0"/>
              </a:rPr>
              <a:t>Состав УМК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Cambria" panose="02040503050406030204" pitchFamily="18" charset="0"/>
                <a:cs typeface="Open Sans Condensed" pitchFamily="34" charset="0"/>
              </a:rPr>
              <a:t>:</a:t>
            </a:r>
          </a:p>
        </p:txBody>
      </p:sp>
      <p:sp>
        <p:nvSpPr>
          <p:cNvPr id="46" name="TextBox 45"/>
          <p:cNvSpPr txBox="1"/>
          <p:nvPr/>
        </p:nvSpPr>
        <p:spPr>
          <a:xfrm>
            <a:off x="2124175" y="182238"/>
            <a:ext cx="5312993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Линия УМК </a:t>
            </a: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Н.С. </a:t>
            </a:r>
            <a:r>
              <a:rPr kumimoji="0" lang="ru-RU" sz="2000" b="1" i="0" u="none" strike="noStrike" kern="1200" cap="none" spc="0" normalizeH="0" baseline="0" noProof="0" dirty="0" err="1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Пурышевой</a:t>
            </a: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, Н.Е. </a:t>
            </a:r>
            <a:r>
              <a:rPr kumimoji="0" lang="ru-RU" sz="2000" b="1" i="0" u="none" strike="noStrike" kern="1200" cap="none" spc="0" normalizeH="0" baseline="0" noProof="0" dirty="0" err="1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Важеевской</a:t>
            </a:r>
            <a:endParaRPr kumimoji="0" lang="ru-RU" sz="20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4178729" y="952888"/>
            <a:ext cx="79248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 smtClean="0">
                <a:solidFill>
                  <a:srgbClr val="FF0000"/>
                </a:solidFill>
              </a:rPr>
              <a:t>Сочетание традиций и инноваций при изучении курса физики</a:t>
            </a:r>
            <a:endParaRPr lang="ru-RU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932236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Прямоугольник 44"/>
          <p:cNvSpPr/>
          <p:nvPr/>
        </p:nvSpPr>
        <p:spPr>
          <a:xfrm>
            <a:off x="7010143" y="-70075"/>
            <a:ext cx="5177889" cy="6888480"/>
          </a:xfrm>
          <a:prstGeom prst="rect">
            <a:avLst/>
          </a:prstGeom>
          <a:solidFill>
            <a:srgbClr val="D8EBF4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id="{C57A16CD-55A2-4F01-A658-438A93B431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843" name="Слайд think-cell" r:id="rId5" imgW="359" imgH="360" progId="TCLayout.ActiveDocument.1">
                  <p:embed/>
                </p:oleObj>
              </mc:Choice>
              <mc:Fallback>
                <p:oleObj name="Слайд think-cell" r:id="rId5" imgW="359" imgH="360" progId="TCLayout.ActiveDocument.1">
                  <p:embed/>
                  <p:pic>
                    <p:nvPicPr>
                      <p:cNvPr id="4" name="Объект 3" hidden="1">
                        <a:extLst>
                          <a:ext uri="{FF2B5EF4-FFF2-40B4-BE49-F238E27FC236}">
                            <a16:creationId xmlns:a16="http://schemas.microsoft.com/office/drawing/2014/main" id="{C57A16CD-55A2-4F01-A658-438A93B431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Номер слайда 8"/>
          <p:cNvSpPr txBox="1">
            <a:spLocks/>
          </p:cNvSpPr>
          <p:nvPr/>
        </p:nvSpPr>
        <p:spPr>
          <a:xfrm>
            <a:off x="8763000" y="65087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8" name="Прямоугольник 27"/>
          <p:cNvSpPr/>
          <p:nvPr/>
        </p:nvSpPr>
        <p:spPr>
          <a:xfrm>
            <a:off x="7219412" y="1737245"/>
            <a:ext cx="3582899" cy="281102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ea typeface="Open Sans" panose="020B0606030504020204" pitchFamily="34" charset="0"/>
                <a:cs typeface="Open Sans" panose="020B0606030504020204" pitchFamily="34" charset="0"/>
              </a:rPr>
              <a:t>Содержание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Tx/>
              <a:buBlip>
                <a:blip r:embed="rId7"/>
              </a:buBlip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ea typeface="Open Sans" pitchFamily="34" charset="0"/>
                <a:cs typeface="Open Sans" pitchFamily="34" charset="0"/>
              </a:rPr>
              <a:t>Линия УМК 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ea typeface="Open Sans" pitchFamily="34" charset="0"/>
                <a:cs typeface="Open Sans" pitchFamily="34" charset="0"/>
              </a:rPr>
              <a:t>«Архимед»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ea typeface="Open Sans" pitchFamily="34" charset="0"/>
              <a:cs typeface="Open Sans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Tx/>
              <a:buBlip>
                <a:blip r:embed="rId7"/>
              </a:buBlip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ea typeface="Open Sans" pitchFamily="34" charset="0"/>
                <a:cs typeface="Open Sans" pitchFamily="34" charset="0"/>
              </a:rPr>
              <a:t>Проблемный подход при изложении материала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ea typeface="Open Sans" pitchFamily="34" charset="0"/>
              <a:cs typeface="Open Sans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Tx/>
              <a:buBlip>
                <a:blip r:embed="rId7"/>
              </a:buBlip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ea typeface="Open Sans" pitchFamily="34" charset="0"/>
                <a:cs typeface="Open Sans" pitchFamily="34" charset="0"/>
              </a:rPr>
              <a:t>Ориентация на экспериментальную деятельность учащихся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ea typeface="Open Sans" pitchFamily="34" charset="0"/>
              <a:cs typeface="Open Sans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Tx/>
              <a:buBlip>
                <a:blip r:embed="rId7"/>
              </a:buBlip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ea typeface="Open Sans" pitchFamily="34" charset="0"/>
                <a:cs typeface="Open Sans" pitchFamily="34" charset="0"/>
              </a:rPr>
              <a:t>Система подготовки к ОГЭ внутри учебника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ea typeface="Open Sans" pitchFamily="34" charset="0"/>
              <a:cs typeface="Open Sans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Tx/>
              <a:buSzTx/>
              <a:buFontTx/>
              <a:buBlip>
                <a:blip r:embed="rId7"/>
              </a:buBlip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ea typeface="Open Sans" pitchFamily="34" charset="0"/>
                <a:cs typeface="Open Sans" pitchFamily="34" charset="0"/>
              </a:rPr>
              <a:t>Компоненты линии УМК 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ea typeface="Open Sans" pitchFamily="34" charset="0"/>
                <a:cs typeface="Open Sans" pitchFamily="34" charset="0"/>
              </a:rPr>
              <a:t>«Архимед»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ea typeface="Open Sans" pitchFamily="34" charset="0"/>
              <a:cs typeface="Open Sans" pitchFamily="34" charset="0"/>
            </a:endParaRPr>
          </a:p>
        </p:txBody>
      </p:sp>
      <p:grpSp>
        <p:nvGrpSpPr>
          <p:cNvPr id="6" name="Группа 5"/>
          <p:cNvGrpSpPr/>
          <p:nvPr/>
        </p:nvGrpSpPr>
        <p:grpSpPr>
          <a:xfrm>
            <a:off x="11375669" y="-4589"/>
            <a:ext cx="813280" cy="6790912"/>
            <a:chOff x="8531752" y="-3442"/>
            <a:chExt cx="609960" cy="5093184"/>
          </a:xfrm>
        </p:grpSpPr>
        <p:sp>
          <p:nvSpPr>
            <p:cNvPr id="32" name="Rectangle 10"/>
            <p:cNvSpPr>
              <a:spLocks noChangeArrowheads="1"/>
            </p:cNvSpPr>
            <p:nvPr/>
          </p:nvSpPr>
          <p:spPr bwMode="auto">
            <a:xfrm>
              <a:off x="8531752" y="1693368"/>
              <a:ext cx="609272" cy="566063"/>
            </a:xfrm>
            <a:prstGeom prst="rect">
              <a:avLst/>
            </a:prstGeom>
            <a:solidFill>
              <a:srgbClr val="40D4E2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0" name="Rectangle 13"/>
            <p:cNvSpPr>
              <a:spLocks noChangeArrowheads="1"/>
            </p:cNvSpPr>
            <p:nvPr/>
          </p:nvSpPr>
          <p:spPr bwMode="auto">
            <a:xfrm>
              <a:off x="8531752" y="3957617"/>
              <a:ext cx="609272" cy="566063"/>
            </a:xfrm>
            <a:prstGeom prst="rect">
              <a:avLst/>
            </a:prstGeom>
            <a:solidFill>
              <a:srgbClr val="43D1A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1" name="Rectangle 14"/>
            <p:cNvSpPr>
              <a:spLocks noChangeArrowheads="1"/>
            </p:cNvSpPr>
            <p:nvPr/>
          </p:nvSpPr>
          <p:spPr bwMode="auto">
            <a:xfrm>
              <a:off x="8532440" y="3391554"/>
              <a:ext cx="609272" cy="566063"/>
            </a:xfrm>
            <a:prstGeom prst="rect">
              <a:avLst/>
            </a:prstGeom>
            <a:solidFill>
              <a:srgbClr val="5471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4" name="Rectangle 17"/>
            <p:cNvSpPr>
              <a:spLocks noChangeArrowheads="1"/>
            </p:cNvSpPr>
            <p:nvPr/>
          </p:nvSpPr>
          <p:spPr bwMode="auto">
            <a:xfrm>
              <a:off x="8531753" y="-3442"/>
              <a:ext cx="609272" cy="566063"/>
            </a:xfrm>
            <a:prstGeom prst="rect">
              <a:avLst/>
            </a:prstGeom>
            <a:solidFill>
              <a:srgbClr val="F5B1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6" name="Rectangle 19"/>
            <p:cNvSpPr>
              <a:spLocks noChangeArrowheads="1"/>
            </p:cNvSpPr>
            <p:nvPr/>
          </p:nvSpPr>
          <p:spPr bwMode="auto">
            <a:xfrm>
              <a:off x="8532440" y="2259429"/>
              <a:ext cx="609272" cy="566063"/>
            </a:xfrm>
            <a:prstGeom prst="rect">
              <a:avLst/>
            </a:prstGeom>
            <a:solidFill>
              <a:srgbClr val="40A7E1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8" name="Rectangle 21"/>
            <p:cNvSpPr>
              <a:spLocks noChangeArrowheads="1"/>
            </p:cNvSpPr>
            <p:nvPr/>
          </p:nvSpPr>
          <p:spPr bwMode="auto">
            <a:xfrm>
              <a:off x="8532440" y="4523679"/>
              <a:ext cx="609272" cy="566063"/>
            </a:xfrm>
            <a:prstGeom prst="rect">
              <a:avLst/>
            </a:prstGeom>
            <a:solidFill>
              <a:srgbClr val="F5B144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9" name="Rectangle 22"/>
            <p:cNvSpPr>
              <a:spLocks noChangeArrowheads="1"/>
            </p:cNvSpPr>
            <p:nvPr/>
          </p:nvSpPr>
          <p:spPr bwMode="auto">
            <a:xfrm>
              <a:off x="8531753" y="1127076"/>
              <a:ext cx="609272" cy="566063"/>
            </a:xfrm>
            <a:prstGeom prst="rect">
              <a:avLst/>
            </a:prstGeom>
            <a:solidFill>
              <a:srgbClr val="43D1A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2" name="Rectangle 25"/>
            <p:cNvSpPr>
              <a:spLocks noChangeArrowheads="1"/>
            </p:cNvSpPr>
            <p:nvPr/>
          </p:nvSpPr>
          <p:spPr bwMode="auto">
            <a:xfrm>
              <a:off x="8532440" y="2825491"/>
              <a:ext cx="609272" cy="566063"/>
            </a:xfrm>
            <a:prstGeom prst="rect">
              <a:avLst/>
            </a:prstGeom>
            <a:solidFill>
              <a:srgbClr val="4383D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6" name="Rectangle 29"/>
            <p:cNvSpPr>
              <a:spLocks noChangeArrowheads="1"/>
            </p:cNvSpPr>
            <p:nvPr/>
          </p:nvSpPr>
          <p:spPr bwMode="auto">
            <a:xfrm>
              <a:off x="8531753" y="561014"/>
              <a:ext cx="609272" cy="566063"/>
            </a:xfrm>
            <a:prstGeom prst="rect">
              <a:avLst/>
            </a:prstGeom>
            <a:solidFill>
              <a:srgbClr val="9ED4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9" name="Freeform 32"/>
            <p:cNvSpPr>
              <a:spLocks noEditPoints="1"/>
            </p:cNvSpPr>
            <p:nvPr/>
          </p:nvSpPr>
          <p:spPr bwMode="auto">
            <a:xfrm>
              <a:off x="8700607" y="1885691"/>
              <a:ext cx="271564" cy="203921"/>
            </a:xfrm>
            <a:custGeom>
              <a:avLst/>
              <a:gdLst>
                <a:gd name="T0" fmla="*/ 787 w 859"/>
                <a:gd name="T1" fmla="*/ 107 h 644"/>
                <a:gd name="T2" fmla="*/ 787 w 859"/>
                <a:gd name="T3" fmla="*/ 573 h 644"/>
                <a:gd name="T4" fmla="*/ 537 w 859"/>
                <a:gd name="T5" fmla="*/ 573 h 644"/>
                <a:gd name="T6" fmla="*/ 465 w 859"/>
                <a:gd name="T7" fmla="*/ 644 h 644"/>
                <a:gd name="T8" fmla="*/ 859 w 859"/>
                <a:gd name="T9" fmla="*/ 644 h 644"/>
                <a:gd name="T10" fmla="*/ 859 w 859"/>
                <a:gd name="T11" fmla="*/ 107 h 644"/>
                <a:gd name="T12" fmla="*/ 787 w 859"/>
                <a:gd name="T13" fmla="*/ 107 h 644"/>
                <a:gd name="T14" fmla="*/ 476 w 859"/>
                <a:gd name="T15" fmla="*/ 476 h 644"/>
                <a:gd name="T16" fmla="*/ 383 w 859"/>
                <a:gd name="T17" fmla="*/ 476 h 644"/>
                <a:gd name="T18" fmla="*/ 373 w 859"/>
                <a:gd name="T19" fmla="*/ 465 h 644"/>
                <a:gd name="T20" fmla="*/ 179 w 859"/>
                <a:gd name="T21" fmla="*/ 465 h 644"/>
                <a:gd name="T22" fmla="*/ 179 w 859"/>
                <a:gd name="T23" fmla="*/ 71 h 644"/>
                <a:gd name="T24" fmla="*/ 344 w 859"/>
                <a:gd name="T25" fmla="*/ 71 h 644"/>
                <a:gd name="T26" fmla="*/ 393 w 859"/>
                <a:gd name="T27" fmla="*/ 96 h 644"/>
                <a:gd name="T28" fmla="*/ 393 w 859"/>
                <a:gd name="T29" fmla="*/ 358 h 644"/>
                <a:gd name="T30" fmla="*/ 465 w 859"/>
                <a:gd name="T31" fmla="*/ 358 h 644"/>
                <a:gd name="T32" fmla="*/ 465 w 859"/>
                <a:gd name="T33" fmla="*/ 96 h 644"/>
                <a:gd name="T34" fmla="*/ 515 w 859"/>
                <a:gd name="T35" fmla="*/ 71 h 644"/>
                <a:gd name="T36" fmla="*/ 680 w 859"/>
                <a:gd name="T37" fmla="*/ 71 h 644"/>
                <a:gd name="T38" fmla="*/ 680 w 859"/>
                <a:gd name="T39" fmla="*/ 465 h 644"/>
                <a:gd name="T40" fmla="*/ 486 w 859"/>
                <a:gd name="T41" fmla="*/ 465 h 644"/>
                <a:gd name="T42" fmla="*/ 476 w 859"/>
                <a:gd name="T43" fmla="*/ 476 h 644"/>
                <a:gd name="T44" fmla="*/ 752 w 859"/>
                <a:gd name="T45" fmla="*/ 537 h 644"/>
                <a:gd name="T46" fmla="*/ 752 w 859"/>
                <a:gd name="T47" fmla="*/ 0 h 644"/>
                <a:gd name="T48" fmla="*/ 486 w 859"/>
                <a:gd name="T49" fmla="*/ 0 h 644"/>
                <a:gd name="T50" fmla="*/ 476 w 859"/>
                <a:gd name="T51" fmla="*/ 10 h 644"/>
                <a:gd name="T52" fmla="*/ 383 w 859"/>
                <a:gd name="T53" fmla="*/ 10 h 644"/>
                <a:gd name="T54" fmla="*/ 373 w 859"/>
                <a:gd name="T55" fmla="*/ 0 h 644"/>
                <a:gd name="T56" fmla="*/ 107 w 859"/>
                <a:gd name="T57" fmla="*/ 0 h 644"/>
                <a:gd name="T58" fmla="*/ 107 w 859"/>
                <a:gd name="T59" fmla="*/ 537 h 644"/>
                <a:gd name="T60" fmla="*/ 344 w 859"/>
                <a:gd name="T61" fmla="*/ 537 h 644"/>
                <a:gd name="T62" fmla="*/ 429 w 859"/>
                <a:gd name="T63" fmla="*/ 566 h 644"/>
                <a:gd name="T64" fmla="*/ 515 w 859"/>
                <a:gd name="T65" fmla="*/ 537 h 644"/>
                <a:gd name="T66" fmla="*/ 752 w 859"/>
                <a:gd name="T67" fmla="*/ 537 h 644"/>
                <a:gd name="T68" fmla="*/ 71 w 859"/>
                <a:gd name="T69" fmla="*/ 573 h 644"/>
                <a:gd name="T70" fmla="*/ 71 w 859"/>
                <a:gd name="T71" fmla="*/ 107 h 644"/>
                <a:gd name="T72" fmla="*/ 0 w 859"/>
                <a:gd name="T73" fmla="*/ 107 h 644"/>
                <a:gd name="T74" fmla="*/ 0 w 859"/>
                <a:gd name="T75" fmla="*/ 644 h 644"/>
                <a:gd name="T76" fmla="*/ 394 w 859"/>
                <a:gd name="T77" fmla="*/ 644 h 644"/>
                <a:gd name="T78" fmla="*/ 322 w 859"/>
                <a:gd name="T79" fmla="*/ 573 h 644"/>
                <a:gd name="T80" fmla="*/ 71 w 859"/>
                <a:gd name="T81" fmla="*/ 573 h 6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859" h="644">
                  <a:moveTo>
                    <a:pt x="787" y="107"/>
                  </a:moveTo>
                  <a:lnTo>
                    <a:pt x="787" y="573"/>
                  </a:lnTo>
                  <a:lnTo>
                    <a:pt x="537" y="573"/>
                  </a:lnTo>
                  <a:lnTo>
                    <a:pt x="465" y="644"/>
                  </a:lnTo>
                  <a:lnTo>
                    <a:pt x="859" y="644"/>
                  </a:lnTo>
                  <a:lnTo>
                    <a:pt x="859" y="107"/>
                  </a:lnTo>
                  <a:lnTo>
                    <a:pt x="787" y="107"/>
                  </a:lnTo>
                  <a:close/>
                  <a:moveTo>
                    <a:pt x="476" y="476"/>
                  </a:moveTo>
                  <a:cubicBezTo>
                    <a:pt x="450" y="501"/>
                    <a:pt x="409" y="501"/>
                    <a:pt x="383" y="476"/>
                  </a:cubicBezTo>
                  <a:lnTo>
                    <a:pt x="373" y="465"/>
                  </a:lnTo>
                  <a:lnTo>
                    <a:pt x="179" y="465"/>
                  </a:lnTo>
                  <a:lnTo>
                    <a:pt x="179" y="71"/>
                  </a:lnTo>
                  <a:lnTo>
                    <a:pt x="344" y="71"/>
                  </a:lnTo>
                  <a:cubicBezTo>
                    <a:pt x="359" y="71"/>
                    <a:pt x="393" y="91"/>
                    <a:pt x="393" y="96"/>
                  </a:cubicBezTo>
                  <a:lnTo>
                    <a:pt x="393" y="358"/>
                  </a:lnTo>
                  <a:lnTo>
                    <a:pt x="465" y="358"/>
                  </a:lnTo>
                  <a:lnTo>
                    <a:pt x="465" y="96"/>
                  </a:lnTo>
                  <a:cubicBezTo>
                    <a:pt x="465" y="91"/>
                    <a:pt x="500" y="71"/>
                    <a:pt x="515" y="71"/>
                  </a:cubicBezTo>
                  <a:lnTo>
                    <a:pt x="680" y="71"/>
                  </a:lnTo>
                  <a:lnTo>
                    <a:pt x="680" y="465"/>
                  </a:lnTo>
                  <a:lnTo>
                    <a:pt x="486" y="465"/>
                  </a:lnTo>
                  <a:lnTo>
                    <a:pt x="476" y="476"/>
                  </a:lnTo>
                  <a:close/>
                  <a:moveTo>
                    <a:pt x="752" y="537"/>
                  </a:moveTo>
                  <a:lnTo>
                    <a:pt x="752" y="0"/>
                  </a:lnTo>
                  <a:lnTo>
                    <a:pt x="486" y="0"/>
                  </a:lnTo>
                  <a:lnTo>
                    <a:pt x="476" y="10"/>
                  </a:lnTo>
                  <a:cubicBezTo>
                    <a:pt x="450" y="36"/>
                    <a:pt x="409" y="36"/>
                    <a:pt x="383" y="10"/>
                  </a:cubicBezTo>
                  <a:lnTo>
                    <a:pt x="373" y="0"/>
                  </a:lnTo>
                  <a:lnTo>
                    <a:pt x="107" y="0"/>
                  </a:lnTo>
                  <a:lnTo>
                    <a:pt x="107" y="537"/>
                  </a:lnTo>
                  <a:lnTo>
                    <a:pt x="344" y="537"/>
                  </a:lnTo>
                  <a:cubicBezTo>
                    <a:pt x="369" y="573"/>
                    <a:pt x="399" y="566"/>
                    <a:pt x="429" y="566"/>
                  </a:cubicBezTo>
                  <a:cubicBezTo>
                    <a:pt x="460" y="566"/>
                    <a:pt x="490" y="573"/>
                    <a:pt x="515" y="537"/>
                  </a:cubicBezTo>
                  <a:lnTo>
                    <a:pt x="752" y="537"/>
                  </a:lnTo>
                  <a:close/>
                  <a:moveTo>
                    <a:pt x="71" y="573"/>
                  </a:moveTo>
                  <a:lnTo>
                    <a:pt x="71" y="107"/>
                  </a:lnTo>
                  <a:lnTo>
                    <a:pt x="0" y="107"/>
                  </a:lnTo>
                  <a:lnTo>
                    <a:pt x="0" y="644"/>
                  </a:lnTo>
                  <a:lnTo>
                    <a:pt x="394" y="644"/>
                  </a:lnTo>
                  <a:lnTo>
                    <a:pt x="322" y="573"/>
                  </a:lnTo>
                  <a:lnTo>
                    <a:pt x="71" y="57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7" name="Freeform 40"/>
            <p:cNvSpPr>
              <a:spLocks noEditPoints="1"/>
            </p:cNvSpPr>
            <p:nvPr/>
          </p:nvSpPr>
          <p:spPr bwMode="auto">
            <a:xfrm>
              <a:off x="8701296" y="1308377"/>
              <a:ext cx="270186" cy="225965"/>
            </a:xfrm>
            <a:custGeom>
              <a:avLst/>
              <a:gdLst>
                <a:gd name="T0" fmla="*/ 716 w 859"/>
                <a:gd name="T1" fmla="*/ 0 h 716"/>
                <a:gd name="T2" fmla="*/ 143 w 859"/>
                <a:gd name="T3" fmla="*/ 0 h 716"/>
                <a:gd name="T4" fmla="*/ 0 w 859"/>
                <a:gd name="T5" fmla="*/ 143 h 716"/>
                <a:gd name="T6" fmla="*/ 143 w 859"/>
                <a:gd name="T7" fmla="*/ 286 h 716"/>
                <a:gd name="T8" fmla="*/ 286 w 859"/>
                <a:gd name="T9" fmla="*/ 143 h 716"/>
                <a:gd name="T10" fmla="*/ 215 w 859"/>
                <a:gd name="T11" fmla="*/ 143 h 716"/>
                <a:gd name="T12" fmla="*/ 143 w 859"/>
                <a:gd name="T13" fmla="*/ 215 h 716"/>
                <a:gd name="T14" fmla="*/ 72 w 859"/>
                <a:gd name="T15" fmla="*/ 143 h 716"/>
                <a:gd name="T16" fmla="*/ 143 w 859"/>
                <a:gd name="T17" fmla="*/ 72 h 716"/>
                <a:gd name="T18" fmla="*/ 716 w 859"/>
                <a:gd name="T19" fmla="*/ 72 h 716"/>
                <a:gd name="T20" fmla="*/ 788 w 859"/>
                <a:gd name="T21" fmla="*/ 143 h 716"/>
                <a:gd name="T22" fmla="*/ 716 w 859"/>
                <a:gd name="T23" fmla="*/ 215 h 716"/>
                <a:gd name="T24" fmla="*/ 645 w 859"/>
                <a:gd name="T25" fmla="*/ 143 h 716"/>
                <a:gd name="T26" fmla="*/ 573 w 859"/>
                <a:gd name="T27" fmla="*/ 143 h 716"/>
                <a:gd name="T28" fmla="*/ 716 w 859"/>
                <a:gd name="T29" fmla="*/ 286 h 716"/>
                <a:gd name="T30" fmla="*/ 859 w 859"/>
                <a:gd name="T31" fmla="*/ 143 h 716"/>
                <a:gd name="T32" fmla="*/ 716 w 859"/>
                <a:gd name="T33" fmla="*/ 0 h 716"/>
                <a:gd name="T34" fmla="*/ 394 w 859"/>
                <a:gd name="T35" fmla="*/ 143 h 716"/>
                <a:gd name="T36" fmla="*/ 394 w 859"/>
                <a:gd name="T37" fmla="*/ 573 h 716"/>
                <a:gd name="T38" fmla="*/ 465 w 859"/>
                <a:gd name="T39" fmla="*/ 573 h 716"/>
                <a:gd name="T40" fmla="*/ 465 w 859"/>
                <a:gd name="T41" fmla="*/ 143 h 716"/>
                <a:gd name="T42" fmla="*/ 394 w 859"/>
                <a:gd name="T43" fmla="*/ 143 h 716"/>
                <a:gd name="T44" fmla="*/ 537 w 859"/>
                <a:gd name="T45" fmla="*/ 262 h 716"/>
                <a:gd name="T46" fmla="*/ 537 w 859"/>
                <a:gd name="T47" fmla="*/ 573 h 716"/>
                <a:gd name="T48" fmla="*/ 609 w 859"/>
                <a:gd name="T49" fmla="*/ 573 h 716"/>
                <a:gd name="T50" fmla="*/ 609 w 859"/>
                <a:gd name="T51" fmla="*/ 329 h 716"/>
                <a:gd name="T52" fmla="*/ 537 w 859"/>
                <a:gd name="T53" fmla="*/ 262 h 716"/>
                <a:gd name="T54" fmla="*/ 250 w 859"/>
                <a:gd name="T55" fmla="*/ 329 h 716"/>
                <a:gd name="T56" fmla="*/ 250 w 859"/>
                <a:gd name="T57" fmla="*/ 573 h 716"/>
                <a:gd name="T58" fmla="*/ 322 w 859"/>
                <a:gd name="T59" fmla="*/ 573 h 716"/>
                <a:gd name="T60" fmla="*/ 322 w 859"/>
                <a:gd name="T61" fmla="*/ 262 h 716"/>
                <a:gd name="T62" fmla="*/ 250 w 859"/>
                <a:gd name="T63" fmla="*/ 329 h 716"/>
                <a:gd name="T64" fmla="*/ 143 w 859"/>
                <a:gd name="T65" fmla="*/ 716 h 716"/>
                <a:gd name="T66" fmla="*/ 716 w 859"/>
                <a:gd name="T67" fmla="*/ 716 h 716"/>
                <a:gd name="T68" fmla="*/ 716 w 859"/>
                <a:gd name="T69" fmla="*/ 645 h 716"/>
                <a:gd name="T70" fmla="*/ 143 w 859"/>
                <a:gd name="T71" fmla="*/ 645 h 716"/>
                <a:gd name="T72" fmla="*/ 143 w 859"/>
                <a:gd name="T73" fmla="*/ 716 h 7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859" h="716">
                  <a:moveTo>
                    <a:pt x="716" y="0"/>
                  </a:moveTo>
                  <a:lnTo>
                    <a:pt x="143" y="0"/>
                  </a:lnTo>
                  <a:cubicBezTo>
                    <a:pt x="64" y="0"/>
                    <a:pt x="0" y="64"/>
                    <a:pt x="0" y="143"/>
                  </a:cubicBezTo>
                  <a:cubicBezTo>
                    <a:pt x="0" y="222"/>
                    <a:pt x="64" y="286"/>
                    <a:pt x="143" y="286"/>
                  </a:cubicBezTo>
                  <a:cubicBezTo>
                    <a:pt x="222" y="286"/>
                    <a:pt x="286" y="215"/>
                    <a:pt x="286" y="143"/>
                  </a:cubicBezTo>
                  <a:lnTo>
                    <a:pt x="215" y="143"/>
                  </a:lnTo>
                  <a:cubicBezTo>
                    <a:pt x="215" y="179"/>
                    <a:pt x="183" y="215"/>
                    <a:pt x="143" y="215"/>
                  </a:cubicBezTo>
                  <a:cubicBezTo>
                    <a:pt x="104" y="215"/>
                    <a:pt x="72" y="183"/>
                    <a:pt x="72" y="143"/>
                  </a:cubicBezTo>
                  <a:cubicBezTo>
                    <a:pt x="72" y="104"/>
                    <a:pt x="104" y="72"/>
                    <a:pt x="143" y="72"/>
                  </a:cubicBezTo>
                  <a:lnTo>
                    <a:pt x="716" y="72"/>
                  </a:lnTo>
                  <a:cubicBezTo>
                    <a:pt x="756" y="72"/>
                    <a:pt x="788" y="104"/>
                    <a:pt x="788" y="143"/>
                  </a:cubicBezTo>
                  <a:cubicBezTo>
                    <a:pt x="788" y="183"/>
                    <a:pt x="756" y="215"/>
                    <a:pt x="716" y="215"/>
                  </a:cubicBezTo>
                  <a:cubicBezTo>
                    <a:pt x="677" y="215"/>
                    <a:pt x="645" y="179"/>
                    <a:pt x="645" y="143"/>
                  </a:cubicBezTo>
                  <a:lnTo>
                    <a:pt x="573" y="143"/>
                  </a:lnTo>
                  <a:cubicBezTo>
                    <a:pt x="573" y="215"/>
                    <a:pt x="637" y="286"/>
                    <a:pt x="716" y="286"/>
                  </a:cubicBezTo>
                  <a:cubicBezTo>
                    <a:pt x="795" y="286"/>
                    <a:pt x="859" y="222"/>
                    <a:pt x="859" y="143"/>
                  </a:cubicBezTo>
                  <a:cubicBezTo>
                    <a:pt x="859" y="64"/>
                    <a:pt x="795" y="0"/>
                    <a:pt x="716" y="0"/>
                  </a:cubicBezTo>
                  <a:close/>
                  <a:moveTo>
                    <a:pt x="394" y="143"/>
                  </a:moveTo>
                  <a:lnTo>
                    <a:pt x="394" y="573"/>
                  </a:lnTo>
                  <a:lnTo>
                    <a:pt x="465" y="573"/>
                  </a:lnTo>
                  <a:lnTo>
                    <a:pt x="465" y="143"/>
                  </a:lnTo>
                  <a:lnTo>
                    <a:pt x="394" y="143"/>
                  </a:lnTo>
                  <a:close/>
                  <a:moveTo>
                    <a:pt x="537" y="262"/>
                  </a:moveTo>
                  <a:lnTo>
                    <a:pt x="537" y="573"/>
                  </a:lnTo>
                  <a:lnTo>
                    <a:pt x="609" y="573"/>
                  </a:lnTo>
                  <a:lnTo>
                    <a:pt x="609" y="329"/>
                  </a:lnTo>
                  <a:cubicBezTo>
                    <a:pt x="573" y="312"/>
                    <a:pt x="573" y="289"/>
                    <a:pt x="537" y="262"/>
                  </a:cubicBezTo>
                  <a:close/>
                  <a:moveTo>
                    <a:pt x="250" y="329"/>
                  </a:moveTo>
                  <a:lnTo>
                    <a:pt x="250" y="573"/>
                  </a:lnTo>
                  <a:lnTo>
                    <a:pt x="322" y="573"/>
                  </a:lnTo>
                  <a:lnTo>
                    <a:pt x="322" y="262"/>
                  </a:lnTo>
                  <a:cubicBezTo>
                    <a:pt x="286" y="289"/>
                    <a:pt x="286" y="312"/>
                    <a:pt x="250" y="329"/>
                  </a:cubicBezTo>
                  <a:close/>
                  <a:moveTo>
                    <a:pt x="143" y="716"/>
                  </a:moveTo>
                  <a:lnTo>
                    <a:pt x="716" y="716"/>
                  </a:lnTo>
                  <a:lnTo>
                    <a:pt x="716" y="645"/>
                  </a:lnTo>
                  <a:lnTo>
                    <a:pt x="143" y="645"/>
                  </a:lnTo>
                  <a:lnTo>
                    <a:pt x="143" y="71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8" name="Freeform 41"/>
            <p:cNvSpPr>
              <a:spLocks/>
            </p:cNvSpPr>
            <p:nvPr/>
          </p:nvSpPr>
          <p:spPr bwMode="auto">
            <a:xfrm>
              <a:off x="8700607" y="3567344"/>
              <a:ext cx="271564" cy="236988"/>
            </a:xfrm>
            <a:custGeom>
              <a:avLst/>
              <a:gdLst>
                <a:gd name="T0" fmla="*/ 860 w 860"/>
                <a:gd name="T1" fmla="*/ 251 h 752"/>
                <a:gd name="T2" fmla="*/ 430 w 860"/>
                <a:gd name="T3" fmla="*/ 0 h 752"/>
                <a:gd name="T4" fmla="*/ 0 w 860"/>
                <a:gd name="T5" fmla="*/ 251 h 752"/>
                <a:gd name="T6" fmla="*/ 144 w 860"/>
                <a:gd name="T7" fmla="*/ 334 h 752"/>
                <a:gd name="T8" fmla="*/ 144 w 860"/>
                <a:gd name="T9" fmla="*/ 475 h 752"/>
                <a:gd name="T10" fmla="*/ 149 w 860"/>
                <a:gd name="T11" fmla="*/ 484 h 752"/>
                <a:gd name="T12" fmla="*/ 430 w 860"/>
                <a:gd name="T13" fmla="*/ 644 h 752"/>
                <a:gd name="T14" fmla="*/ 573 w 860"/>
                <a:gd name="T15" fmla="*/ 610 h 752"/>
                <a:gd name="T16" fmla="*/ 573 w 860"/>
                <a:gd name="T17" fmla="*/ 528 h 752"/>
                <a:gd name="T18" fmla="*/ 430 w 860"/>
                <a:gd name="T19" fmla="*/ 573 h 752"/>
                <a:gd name="T20" fmla="*/ 215 w 860"/>
                <a:gd name="T21" fmla="*/ 455 h 752"/>
                <a:gd name="T22" fmla="*/ 215 w 860"/>
                <a:gd name="T23" fmla="*/ 376 h 752"/>
                <a:gd name="T24" fmla="*/ 430 w 860"/>
                <a:gd name="T25" fmla="*/ 501 h 752"/>
                <a:gd name="T26" fmla="*/ 553 w 860"/>
                <a:gd name="T27" fmla="*/ 430 h 752"/>
                <a:gd name="T28" fmla="*/ 483 w 860"/>
                <a:gd name="T29" fmla="*/ 388 h 752"/>
                <a:gd name="T30" fmla="*/ 430 w 860"/>
                <a:gd name="T31" fmla="*/ 418 h 752"/>
                <a:gd name="T32" fmla="*/ 142 w 860"/>
                <a:gd name="T33" fmla="*/ 251 h 752"/>
                <a:gd name="T34" fmla="*/ 430 w 860"/>
                <a:gd name="T35" fmla="*/ 83 h 752"/>
                <a:gd name="T36" fmla="*/ 718 w 860"/>
                <a:gd name="T37" fmla="*/ 251 h 752"/>
                <a:gd name="T38" fmla="*/ 624 w 860"/>
                <a:gd name="T39" fmla="*/ 305 h 752"/>
                <a:gd name="T40" fmla="*/ 454 w 860"/>
                <a:gd name="T41" fmla="*/ 204 h 752"/>
                <a:gd name="T42" fmla="*/ 391 w 860"/>
                <a:gd name="T43" fmla="*/ 247 h 752"/>
                <a:gd name="T44" fmla="*/ 390 w 860"/>
                <a:gd name="T45" fmla="*/ 249 h 752"/>
                <a:gd name="T46" fmla="*/ 645 w 860"/>
                <a:gd name="T47" fmla="*/ 401 h 752"/>
                <a:gd name="T48" fmla="*/ 645 w 860"/>
                <a:gd name="T49" fmla="*/ 752 h 752"/>
                <a:gd name="T50" fmla="*/ 717 w 860"/>
                <a:gd name="T51" fmla="*/ 752 h 752"/>
                <a:gd name="T52" fmla="*/ 717 w 860"/>
                <a:gd name="T53" fmla="*/ 360 h 752"/>
                <a:gd name="T54" fmla="*/ 694 w 860"/>
                <a:gd name="T55" fmla="*/ 347 h 752"/>
                <a:gd name="T56" fmla="*/ 860 w 860"/>
                <a:gd name="T57" fmla="*/ 251 h 7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860" h="752">
                  <a:moveTo>
                    <a:pt x="860" y="251"/>
                  </a:moveTo>
                  <a:lnTo>
                    <a:pt x="430" y="0"/>
                  </a:lnTo>
                  <a:lnTo>
                    <a:pt x="0" y="251"/>
                  </a:lnTo>
                  <a:lnTo>
                    <a:pt x="144" y="334"/>
                  </a:lnTo>
                  <a:lnTo>
                    <a:pt x="144" y="475"/>
                  </a:lnTo>
                  <a:lnTo>
                    <a:pt x="149" y="484"/>
                  </a:lnTo>
                  <a:cubicBezTo>
                    <a:pt x="207" y="583"/>
                    <a:pt x="315" y="644"/>
                    <a:pt x="430" y="644"/>
                  </a:cubicBezTo>
                  <a:cubicBezTo>
                    <a:pt x="480" y="644"/>
                    <a:pt x="529" y="632"/>
                    <a:pt x="573" y="610"/>
                  </a:cubicBezTo>
                  <a:lnTo>
                    <a:pt x="573" y="528"/>
                  </a:lnTo>
                  <a:cubicBezTo>
                    <a:pt x="532" y="556"/>
                    <a:pt x="482" y="573"/>
                    <a:pt x="430" y="573"/>
                  </a:cubicBezTo>
                  <a:cubicBezTo>
                    <a:pt x="343" y="573"/>
                    <a:pt x="262" y="528"/>
                    <a:pt x="215" y="455"/>
                  </a:cubicBezTo>
                  <a:lnTo>
                    <a:pt x="215" y="376"/>
                  </a:lnTo>
                  <a:lnTo>
                    <a:pt x="430" y="501"/>
                  </a:lnTo>
                  <a:lnTo>
                    <a:pt x="553" y="430"/>
                  </a:lnTo>
                  <a:lnTo>
                    <a:pt x="483" y="388"/>
                  </a:lnTo>
                  <a:lnTo>
                    <a:pt x="430" y="418"/>
                  </a:lnTo>
                  <a:lnTo>
                    <a:pt x="142" y="251"/>
                  </a:lnTo>
                  <a:lnTo>
                    <a:pt x="430" y="83"/>
                  </a:lnTo>
                  <a:lnTo>
                    <a:pt x="718" y="251"/>
                  </a:lnTo>
                  <a:lnTo>
                    <a:pt x="624" y="305"/>
                  </a:lnTo>
                  <a:lnTo>
                    <a:pt x="454" y="204"/>
                  </a:lnTo>
                  <a:lnTo>
                    <a:pt x="391" y="247"/>
                  </a:lnTo>
                  <a:lnTo>
                    <a:pt x="390" y="249"/>
                  </a:lnTo>
                  <a:lnTo>
                    <a:pt x="645" y="401"/>
                  </a:lnTo>
                  <a:lnTo>
                    <a:pt x="645" y="752"/>
                  </a:lnTo>
                  <a:lnTo>
                    <a:pt x="717" y="752"/>
                  </a:lnTo>
                  <a:lnTo>
                    <a:pt x="717" y="360"/>
                  </a:lnTo>
                  <a:lnTo>
                    <a:pt x="694" y="347"/>
                  </a:lnTo>
                  <a:lnTo>
                    <a:pt x="860" y="25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grpSp>
          <p:nvGrpSpPr>
            <p:cNvPr id="69" name="Группа 68"/>
            <p:cNvGrpSpPr/>
            <p:nvPr/>
          </p:nvGrpSpPr>
          <p:grpSpPr>
            <a:xfrm>
              <a:off x="8710946" y="150720"/>
              <a:ext cx="250887" cy="271436"/>
              <a:chOff x="477468" y="2705515"/>
              <a:chExt cx="409903" cy="443477"/>
            </a:xfrm>
          </p:grpSpPr>
          <p:sp>
            <p:nvSpPr>
              <p:cNvPr id="70" name="Freeform 42"/>
              <p:cNvSpPr>
                <a:spLocks noEditPoints="1"/>
              </p:cNvSpPr>
              <p:nvPr/>
            </p:nvSpPr>
            <p:spPr bwMode="auto">
              <a:xfrm>
                <a:off x="477468" y="2705515"/>
                <a:ext cx="409903" cy="387195"/>
              </a:xfrm>
              <a:custGeom>
                <a:avLst/>
                <a:gdLst>
                  <a:gd name="T0" fmla="*/ 218 w 793"/>
                  <a:gd name="T1" fmla="*/ 575 h 751"/>
                  <a:gd name="T2" fmla="*/ 194 w 793"/>
                  <a:gd name="T3" fmla="*/ 95 h 751"/>
                  <a:gd name="T4" fmla="*/ 219 w 793"/>
                  <a:gd name="T5" fmla="*/ 121 h 751"/>
                  <a:gd name="T6" fmla="*/ 149 w 793"/>
                  <a:gd name="T7" fmla="*/ 322 h 751"/>
                  <a:gd name="T8" fmla="*/ 471 w 793"/>
                  <a:gd name="T9" fmla="*/ 644 h 751"/>
                  <a:gd name="T10" fmla="*/ 672 w 793"/>
                  <a:gd name="T11" fmla="*/ 574 h 751"/>
                  <a:gd name="T12" fmla="*/ 698 w 793"/>
                  <a:gd name="T13" fmla="*/ 599 h 751"/>
                  <a:gd name="T14" fmla="*/ 218 w 793"/>
                  <a:gd name="T15" fmla="*/ 575 h 751"/>
                  <a:gd name="T16" fmla="*/ 471 w 793"/>
                  <a:gd name="T17" fmla="*/ 71 h 751"/>
                  <a:gd name="T18" fmla="*/ 722 w 793"/>
                  <a:gd name="T19" fmla="*/ 322 h 751"/>
                  <a:gd name="T20" fmla="*/ 471 w 793"/>
                  <a:gd name="T21" fmla="*/ 573 h 751"/>
                  <a:gd name="T22" fmla="*/ 220 w 793"/>
                  <a:gd name="T23" fmla="*/ 322 h 751"/>
                  <a:gd name="T24" fmla="*/ 471 w 793"/>
                  <a:gd name="T25" fmla="*/ 71 h 751"/>
                  <a:gd name="T26" fmla="*/ 723 w 793"/>
                  <a:gd name="T27" fmla="*/ 523 h 751"/>
                  <a:gd name="T28" fmla="*/ 793 w 793"/>
                  <a:gd name="T29" fmla="*/ 322 h 751"/>
                  <a:gd name="T30" fmla="*/ 471 w 793"/>
                  <a:gd name="T31" fmla="*/ 0 h 751"/>
                  <a:gd name="T32" fmla="*/ 270 w 793"/>
                  <a:gd name="T33" fmla="*/ 71 h 751"/>
                  <a:gd name="T34" fmla="*/ 218 w 793"/>
                  <a:gd name="T35" fmla="*/ 18 h 751"/>
                  <a:gd name="T36" fmla="*/ 192 w 793"/>
                  <a:gd name="T37" fmla="*/ 8 h 751"/>
                  <a:gd name="T38" fmla="*/ 192 w 793"/>
                  <a:gd name="T39" fmla="*/ 8 h 751"/>
                  <a:gd name="T40" fmla="*/ 167 w 793"/>
                  <a:gd name="T41" fmla="*/ 18 h 751"/>
                  <a:gd name="T42" fmla="*/ 167 w 793"/>
                  <a:gd name="T43" fmla="*/ 626 h 751"/>
                  <a:gd name="T44" fmla="*/ 471 w 793"/>
                  <a:gd name="T45" fmla="*/ 751 h 751"/>
                  <a:gd name="T46" fmla="*/ 775 w 793"/>
                  <a:gd name="T47" fmla="*/ 626 h 751"/>
                  <a:gd name="T48" fmla="*/ 785 w 793"/>
                  <a:gd name="T49" fmla="*/ 601 h 751"/>
                  <a:gd name="T50" fmla="*/ 775 w 793"/>
                  <a:gd name="T51" fmla="*/ 575 h 751"/>
                  <a:gd name="T52" fmla="*/ 723 w 793"/>
                  <a:gd name="T53" fmla="*/ 523 h 7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793" h="751">
                    <a:moveTo>
                      <a:pt x="218" y="575"/>
                    </a:moveTo>
                    <a:cubicBezTo>
                      <a:pt x="87" y="444"/>
                      <a:pt x="79" y="236"/>
                      <a:pt x="194" y="95"/>
                    </a:cubicBezTo>
                    <a:lnTo>
                      <a:pt x="219" y="121"/>
                    </a:lnTo>
                    <a:cubicBezTo>
                      <a:pt x="175" y="176"/>
                      <a:pt x="149" y="246"/>
                      <a:pt x="149" y="322"/>
                    </a:cubicBezTo>
                    <a:cubicBezTo>
                      <a:pt x="149" y="500"/>
                      <a:pt x="293" y="644"/>
                      <a:pt x="471" y="644"/>
                    </a:cubicBezTo>
                    <a:cubicBezTo>
                      <a:pt x="547" y="644"/>
                      <a:pt x="617" y="618"/>
                      <a:pt x="672" y="574"/>
                    </a:cubicBezTo>
                    <a:lnTo>
                      <a:pt x="698" y="599"/>
                    </a:lnTo>
                    <a:cubicBezTo>
                      <a:pt x="557" y="714"/>
                      <a:pt x="349" y="706"/>
                      <a:pt x="218" y="575"/>
                    </a:cubicBezTo>
                    <a:close/>
                    <a:moveTo>
                      <a:pt x="471" y="71"/>
                    </a:moveTo>
                    <a:cubicBezTo>
                      <a:pt x="609" y="71"/>
                      <a:pt x="722" y="184"/>
                      <a:pt x="722" y="322"/>
                    </a:cubicBezTo>
                    <a:cubicBezTo>
                      <a:pt x="722" y="460"/>
                      <a:pt x="609" y="573"/>
                      <a:pt x="471" y="573"/>
                    </a:cubicBezTo>
                    <a:cubicBezTo>
                      <a:pt x="333" y="573"/>
                      <a:pt x="220" y="460"/>
                      <a:pt x="220" y="322"/>
                    </a:cubicBezTo>
                    <a:cubicBezTo>
                      <a:pt x="220" y="184"/>
                      <a:pt x="333" y="71"/>
                      <a:pt x="471" y="71"/>
                    </a:cubicBezTo>
                    <a:close/>
                    <a:moveTo>
                      <a:pt x="723" y="523"/>
                    </a:moveTo>
                    <a:cubicBezTo>
                      <a:pt x="767" y="468"/>
                      <a:pt x="793" y="398"/>
                      <a:pt x="793" y="322"/>
                    </a:cubicBezTo>
                    <a:cubicBezTo>
                      <a:pt x="793" y="144"/>
                      <a:pt x="649" y="0"/>
                      <a:pt x="471" y="0"/>
                    </a:cubicBezTo>
                    <a:cubicBezTo>
                      <a:pt x="395" y="0"/>
                      <a:pt x="325" y="26"/>
                      <a:pt x="270" y="71"/>
                    </a:cubicBezTo>
                    <a:lnTo>
                      <a:pt x="218" y="18"/>
                    </a:lnTo>
                    <a:cubicBezTo>
                      <a:pt x="211" y="11"/>
                      <a:pt x="202" y="8"/>
                      <a:pt x="192" y="8"/>
                    </a:cubicBezTo>
                    <a:cubicBezTo>
                      <a:pt x="192" y="8"/>
                      <a:pt x="192" y="8"/>
                      <a:pt x="192" y="8"/>
                    </a:cubicBezTo>
                    <a:cubicBezTo>
                      <a:pt x="183" y="8"/>
                      <a:pt x="174" y="11"/>
                      <a:pt x="167" y="18"/>
                    </a:cubicBezTo>
                    <a:cubicBezTo>
                      <a:pt x="0" y="186"/>
                      <a:pt x="0" y="458"/>
                      <a:pt x="167" y="626"/>
                    </a:cubicBezTo>
                    <a:cubicBezTo>
                      <a:pt x="251" y="710"/>
                      <a:pt x="361" y="751"/>
                      <a:pt x="471" y="751"/>
                    </a:cubicBezTo>
                    <a:cubicBezTo>
                      <a:pt x="581" y="751"/>
                      <a:pt x="691" y="710"/>
                      <a:pt x="775" y="626"/>
                    </a:cubicBezTo>
                    <a:cubicBezTo>
                      <a:pt x="782" y="619"/>
                      <a:pt x="785" y="610"/>
                      <a:pt x="785" y="601"/>
                    </a:cubicBezTo>
                    <a:cubicBezTo>
                      <a:pt x="785" y="591"/>
                      <a:pt x="782" y="582"/>
                      <a:pt x="775" y="575"/>
                    </a:cubicBezTo>
                    <a:lnTo>
                      <a:pt x="723" y="523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1" name="Rectangle 43"/>
              <p:cNvSpPr>
                <a:spLocks noChangeArrowheads="1"/>
              </p:cNvSpPr>
              <p:nvPr/>
            </p:nvSpPr>
            <p:spPr bwMode="auto">
              <a:xfrm>
                <a:off x="637377" y="3110722"/>
                <a:ext cx="148646" cy="38270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sp>
          <p:nvSpPr>
            <p:cNvPr id="72" name="Freeform 44"/>
            <p:cNvSpPr>
              <a:spLocks noEditPoints="1"/>
            </p:cNvSpPr>
            <p:nvPr/>
          </p:nvSpPr>
          <p:spPr bwMode="auto">
            <a:xfrm>
              <a:off x="8704742" y="4098042"/>
              <a:ext cx="263294" cy="285213"/>
            </a:xfrm>
            <a:custGeom>
              <a:avLst/>
              <a:gdLst>
                <a:gd name="T0" fmla="*/ 583 w 837"/>
                <a:gd name="T1" fmla="*/ 579 h 901"/>
                <a:gd name="T2" fmla="*/ 511 w 837"/>
                <a:gd name="T3" fmla="*/ 650 h 901"/>
                <a:gd name="T4" fmla="*/ 583 w 837"/>
                <a:gd name="T5" fmla="*/ 722 h 901"/>
                <a:gd name="T6" fmla="*/ 654 w 837"/>
                <a:gd name="T7" fmla="*/ 650 h 901"/>
                <a:gd name="T8" fmla="*/ 583 w 837"/>
                <a:gd name="T9" fmla="*/ 579 h 901"/>
                <a:gd name="T10" fmla="*/ 332 w 837"/>
                <a:gd name="T11" fmla="*/ 579 h 901"/>
                <a:gd name="T12" fmla="*/ 260 w 837"/>
                <a:gd name="T13" fmla="*/ 650 h 901"/>
                <a:gd name="T14" fmla="*/ 332 w 837"/>
                <a:gd name="T15" fmla="*/ 722 h 901"/>
                <a:gd name="T16" fmla="*/ 404 w 837"/>
                <a:gd name="T17" fmla="*/ 650 h 901"/>
                <a:gd name="T18" fmla="*/ 332 w 837"/>
                <a:gd name="T19" fmla="*/ 579 h 901"/>
                <a:gd name="T20" fmla="*/ 332 w 837"/>
                <a:gd name="T21" fmla="*/ 435 h 901"/>
                <a:gd name="T22" fmla="*/ 260 w 837"/>
                <a:gd name="T23" fmla="*/ 364 h 901"/>
                <a:gd name="T24" fmla="*/ 189 w 837"/>
                <a:gd name="T25" fmla="*/ 435 h 901"/>
                <a:gd name="T26" fmla="*/ 260 w 837"/>
                <a:gd name="T27" fmla="*/ 507 h 901"/>
                <a:gd name="T28" fmla="*/ 332 w 837"/>
                <a:gd name="T29" fmla="*/ 435 h 901"/>
                <a:gd name="T30" fmla="*/ 404 w 837"/>
                <a:gd name="T31" fmla="*/ 185 h 901"/>
                <a:gd name="T32" fmla="*/ 332 w 837"/>
                <a:gd name="T33" fmla="*/ 256 h 901"/>
                <a:gd name="T34" fmla="*/ 404 w 837"/>
                <a:gd name="T35" fmla="*/ 328 h 901"/>
                <a:gd name="T36" fmla="*/ 475 w 837"/>
                <a:gd name="T37" fmla="*/ 256 h 901"/>
                <a:gd name="T38" fmla="*/ 404 w 837"/>
                <a:gd name="T39" fmla="*/ 185 h 901"/>
                <a:gd name="T40" fmla="*/ 757 w 837"/>
                <a:gd name="T41" fmla="*/ 635 h 901"/>
                <a:gd name="T42" fmla="*/ 698 w 837"/>
                <a:gd name="T43" fmla="*/ 711 h 901"/>
                <a:gd name="T44" fmla="*/ 429 w 837"/>
                <a:gd name="T45" fmla="*/ 829 h 901"/>
                <a:gd name="T46" fmla="*/ 207 w 837"/>
                <a:gd name="T47" fmla="*/ 738 h 901"/>
                <a:gd name="T48" fmla="*/ 233 w 837"/>
                <a:gd name="T49" fmla="*/ 231 h 901"/>
                <a:gd name="T50" fmla="*/ 502 w 837"/>
                <a:gd name="T51" fmla="*/ 113 h 901"/>
                <a:gd name="T52" fmla="*/ 658 w 837"/>
                <a:gd name="T53" fmla="*/ 154 h 901"/>
                <a:gd name="T54" fmla="*/ 675 w 837"/>
                <a:gd name="T55" fmla="*/ 177 h 901"/>
                <a:gd name="T56" fmla="*/ 665 w 837"/>
                <a:gd name="T57" fmla="*/ 208 h 901"/>
                <a:gd name="T58" fmla="*/ 602 w 837"/>
                <a:gd name="T59" fmla="*/ 366 h 901"/>
                <a:gd name="T60" fmla="*/ 744 w 837"/>
                <a:gd name="T61" fmla="*/ 584 h 901"/>
                <a:gd name="T62" fmla="*/ 760 w 837"/>
                <a:gd name="T63" fmla="*/ 605 h 901"/>
                <a:gd name="T64" fmla="*/ 757 w 837"/>
                <a:gd name="T65" fmla="*/ 635 h 901"/>
                <a:gd name="T66" fmla="*/ 829 w 837"/>
                <a:gd name="T67" fmla="*/ 585 h 901"/>
                <a:gd name="T68" fmla="*/ 776 w 837"/>
                <a:gd name="T69" fmla="*/ 520 h 901"/>
                <a:gd name="T70" fmla="*/ 673 w 837"/>
                <a:gd name="T71" fmla="*/ 366 h 901"/>
                <a:gd name="T72" fmla="*/ 718 w 837"/>
                <a:gd name="T73" fmla="*/ 257 h 901"/>
                <a:gd name="T74" fmla="*/ 746 w 837"/>
                <a:gd name="T75" fmla="*/ 166 h 901"/>
                <a:gd name="T76" fmla="*/ 694 w 837"/>
                <a:gd name="T77" fmla="*/ 92 h 901"/>
                <a:gd name="T78" fmla="*/ 181 w 837"/>
                <a:gd name="T79" fmla="*/ 181 h 901"/>
                <a:gd name="T80" fmla="*/ 156 w 837"/>
                <a:gd name="T81" fmla="*/ 788 h 901"/>
                <a:gd name="T82" fmla="*/ 429 w 837"/>
                <a:gd name="T83" fmla="*/ 901 h 901"/>
                <a:gd name="T84" fmla="*/ 749 w 837"/>
                <a:gd name="T85" fmla="*/ 761 h 901"/>
                <a:gd name="T86" fmla="*/ 818 w 837"/>
                <a:gd name="T87" fmla="*/ 672 h 901"/>
                <a:gd name="T88" fmla="*/ 829 w 837"/>
                <a:gd name="T89" fmla="*/ 585 h 9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837" h="901">
                  <a:moveTo>
                    <a:pt x="583" y="579"/>
                  </a:moveTo>
                  <a:cubicBezTo>
                    <a:pt x="543" y="579"/>
                    <a:pt x="511" y="611"/>
                    <a:pt x="511" y="650"/>
                  </a:cubicBezTo>
                  <a:cubicBezTo>
                    <a:pt x="511" y="690"/>
                    <a:pt x="543" y="722"/>
                    <a:pt x="583" y="722"/>
                  </a:cubicBezTo>
                  <a:cubicBezTo>
                    <a:pt x="622" y="722"/>
                    <a:pt x="654" y="690"/>
                    <a:pt x="654" y="650"/>
                  </a:cubicBezTo>
                  <a:cubicBezTo>
                    <a:pt x="654" y="611"/>
                    <a:pt x="622" y="579"/>
                    <a:pt x="583" y="579"/>
                  </a:cubicBezTo>
                  <a:close/>
                  <a:moveTo>
                    <a:pt x="332" y="579"/>
                  </a:moveTo>
                  <a:cubicBezTo>
                    <a:pt x="292" y="579"/>
                    <a:pt x="260" y="611"/>
                    <a:pt x="260" y="650"/>
                  </a:cubicBezTo>
                  <a:cubicBezTo>
                    <a:pt x="260" y="690"/>
                    <a:pt x="292" y="722"/>
                    <a:pt x="332" y="722"/>
                  </a:cubicBezTo>
                  <a:cubicBezTo>
                    <a:pt x="372" y="722"/>
                    <a:pt x="404" y="690"/>
                    <a:pt x="404" y="650"/>
                  </a:cubicBezTo>
                  <a:cubicBezTo>
                    <a:pt x="404" y="611"/>
                    <a:pt x="372" y="579"/>
                    <a:pt x="332" y="579"/>
                  </a:cubicBezTo>
                  <a:close/>
                  <a:moveTo>
                    <a:pt x="332" y="435"/>
                  </a:moveTo>
                  <a:cubicBezTo>
                    <a:pt x="332" y="396"/>
                    <a:pt x="300" y="364"/>
                    <a:pt x="260" y="364"/>
                  </a:cubicBezTo>
                  <a:cubicBezTo>
                    <a:pt x="221" y="364"/>
                    <a:pt x="189" y="396"/>
                    <a:pt x="189" y="435"/>
                  </a:cubicBezTo>
                  <a:cubicBezTo>
                    <a:pt x="189" y="475"/>
                    <a:pt x="221" y="507"/>
                    <a:pt x="260" y="507"/>
                  </a:cubicBezTo>
                  <a:cubicBezTo>
                    <a:pt x="300" y="507"/>
                    <a:pt x="332" y="475"/>
                    <a:pt x="332" y="435"/>
                  </a:cubicBezTo>
                  <a:close/>
                  <a:moveTo>
                    <a:pt x="404" y="185"/>
                  </a:moveTo>
                  <a:cubicBezTo>
                    <a:pt x="364" y="185"/>
                    <a:pt x="332" y="217"/>
                    <a:pt x="332" y="256"/>
                  </a:cubicBezTo>
                  <a:cubicBezTo>
                    <a:pt x="332" y="296"/>
                    <a:pt x="364" y="328"/>
                    <a:pt x="404" y="328"/>
                  </a:cubicBezTo>
                  <a:cubicBezTo>
                    <a:pt x="443" y="328"/>
                    <a:pt x="475" y="296"/>
                    <a:pt x="475" y="256"/>
                  </a:cubicBezTo>
                  <a:cubicBezTo>
                    <a:pt x="475" y="217"/>
                    <a:pt x="443" y="185"/>
                    <a:pt x="404" y="185"/>
                  </a:cubicBezTo>
                  <a:close/>
                  <a:moveTo>
                    <a:pt x="757" y="635"/>
                  </a:moveTo>
                  <a:cubicBezTo>
                    <a:pt x="740" y="663"/>
                    <a:pt x="721" y="688"/>
                    <a:pt x="698" y="711"/>
                  </a:cubicBezTo>
                  <a:cubicBezTo>
                    <a:pt x="625" y="786"/>
                    <a:pt x="527" y="829"/>
                    <a:pt x="429" y="829"/>
                  </a:cubicBezTo>
                  <a:cubicBezTo>
                    <a:pt x="343" y="829"/>
                    <a:pt x="265" y="797"/>
                    <a:pt x="207" y="738"/>
                  </a:cubicBezTo>
                  <a:cubicBezTo>
                    <a:pt x="78" y="605"/>
                    <a:pt x="89" y="378"/>
                    <a:pt x="233" y="231"/>
                  </a:cubicBezTo>
                  <a:cubicBezTo>
                    <a:pt x="308" y="154"/>
                    <a:pt x="406" y="113"/>
                    <a:pt x="502" y="113"/>
                  </a:cubicBezTo>
                  <a:cubicBezTo>
                    <a:pt x="557" y="113"/>
                    <a:pt x="610" y="126"/>
                    <a:pt x="658" y="154"/>
                  </a:cubicBezTo>
                  <a:cubicBezTo>
                    <a:pt x="668" y="159"/>
                    <a:pt x="674" y="167"/>
                    <a:pt x="675" y="177"/>
                  </a:cubicBezTo>
                  <a:cubicBezTo>
                    <a:pt x="677" y="188"/>
                    <a:pt x="673" y="199"/>
                    <a:pt x="665" y="208"/>
                  </a:cubicBezTo>
                  <a:cubicBezTo>
                    <a:pt x="624" y="253"/>
                    <a:pt x="602" y="309"/>
                    <a:pt x="602" y="366"/>
                  </a:cubicBezTo>
                  <a:cubicBezTo>
                    <a:pt x="602" y="456"/>
                    <a:pt x="656" y="540"/>
                    <a:pt x="744" y="584"/>
                  </a:cubicBezTo>
                  <a:cubicBezTo>
                    <a:pt x="754" y="590"/>
                    <a:pt x="759" y="600"/>
                    <a:pt x="760" y="605"/>
                  </a:cubicBezTo>
                  <a:cubicBezTo>
                    <a:pt x="763" y="615"/>
                    <a:pt x="762" y="626"/>
                    <a:pt x="757" y="635"/>
                  </a:cubicBezTo>
                  <a:close/>
                  <a:moveTo>
                    <a:pt x="829" y="585"/>
                  </a:moveTo>
                  <a:cubicBezTo>
                    <a:pt x="821" y="557"/>
                    <a:pt x="801" y="533"/>
                    <a:pt x="776" y="520"/>
                  </a:cubicBezTo>
                  <a:cubicBezTo>
                    <a:pt x="713" y="488"/>
                    <a:pt x="673" y="429"/>
                    <a:pt x="673" y="366"/>
                  </a:cubicBezTo>
                  <a:cubicBezTo>
                    <a:pt x="673" y="326"/>
                    <a:pt x="689" y="288"/>
                    <a:pt x="718" y="257"/>
                  </a:cubicBezTo>
                  <a:cubicBezTo>
                    <a:pt x="741" y="231"/>
                    <a:pt x="751" y="198"/>
                    <a:pt x="746" y="166"/>
                  </a:cubicBezTo>
                  <a:cubicBezTo>
                    <a:pt x="741" y="135"/>
                    <a:pt x="722" y="108"/>
                    <a:pt x="694" y="92"/>
                  </a:cubicBezTo>
                  <a:cubicBezTo>
                    <a:pt x="533" y="0"/>
                    <a:pt x="323" y="37"/>
                    <a:pt x="181" y="181"/>
                  </a:cubicBezTo>
                  <a:cubicBezTo>
                    <a:pt x="11" y="356"/>
                    <a:pt x="0" y="628"/>
                    <a:pt x="156" y="788"/>
                  </a:cubicBezTo>
                  <a:cubicBezTo>
                    <a:pt x="227" y="861"/>
                    <a:pt x="324" y="901"/>
                    <a:pt x="429" y="901"/>
                  </a:cubicBezTo>
                  <a:cubicBezTo>
                    <a:pt x="546" y="901"/>
                    <a:pt x="663" y="850"/>
                    <a:pt x="749" y="761"/>
                  </a:cubicBezTo>
                  <a:cubicBezTo>
                    <a:pt x="776" y="734"/>
                    <a:pt x="799" y="704"/>
                    <a:pt x="818" y="672"/>
                  </a:cubicBezTo>
                  <a:cubicBezTo>
                    <a:pt x="833" y="646"/>
                    <a:pt x="837" y="615"/>
                    <a:pt x="829" y="58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3" name="Freeform 45"/>
            <p:cNvSpPr>
              <a:spLocks noEditPoints="1"/>
            </p:cNvSpPr>
            <p:nvPr/>
          </p:nvSpPr>
          <p:spPr bwMode="auto">
            <a:xfrm>
              <a:off x="8701296" y="725091"/>
              <a:ext cx="270186" cy="260412"/>
            </a:xfrm>
            <a:custGeom>
              <a:avLst/>
              <a:gdLst>
                <a:gd name="T0" fmla="*/ 573 w 859"/>
                <a:gd name="T1" fmla="*/ 573 h 824"/>
                <a:gd name="T2" fmla="*/ 573 w 859"/>
                <a:gd name="T3" fmla="*/ 645 h 824"/>
                <a:gd name="T4" fmla="*/ 859 w 859"/>
                <a:gd name="T5" fmla="*/ 645 h 824"/>
                <a:gd name="T6" fmla="*/ 859 w 859"/>
                <a:gd name="T7" fmla="*/ 573 h 824"/>
                <a:gd name="T8" fmla="*/ 573 w 859"/>
                <a:gd name="T9" fmla="*/ 573 h 824"/>
                <a:gd name="T10" fmla="*/ 787 w 859"/>
                <a:gd name="T11" fmla="*/ 537 h 824"/>
                <a:gd name="T12" fmla="*/ 787 w 859"/>
                <a:gd name="T13" fmla="*/ 466 h 824"/>
                <a:gd name="T14" fmla="*/ 573 w 859"/>
                <a:gd name="T15" fmla="*/ 466 h 824"/>
                <a:gd name="T16" fmla="*/ 573 w 859"/>
                <a:gd name="T17" fmla="*/ 537 h 824"/>
                <a:gd name="T18" fmla="*/ 787 w 859"/>
                <a:gd name="T19" fmla="*/ 537 h 824"/>
                <a:gd name="T20" fmla="*/ 250 w 859"/>
                <a:gd name="T21" fmla="*/ 430 h 824"/>
                <a:gd name="T22" fmla="*/ 250 w 859"/>
                <a:gd name="T23" fmla="*/ 698 h 824"/>
                <a:gd name="T24" fmla="*/ 394 w 859"/>
                <a:gd name="T25" fmla="*/ 627 h 824"/>
                <a:gd name="T26" fmla="*/ 537 w 859"/>
                <a:gd name="T27" fmla="*/ 698 h 824"/>
                <a:gd name="T28" fmla="*/ 537 w 859"/>
                <a:gd name="T29" fmla="*/ 430 h 824"/>
                <a:gd name="T30" fmla="*/ 465 w 859"/>
                <a:gd name="T31" fmla="*/ 430 h 824"/>
                <a:gd name="T32" fmla="*/ 465 w 859"/>
                <a:gd name="T33" fmla="*/ 582 h 824"/>
                <a:gd name="T34" fmla="*/ 394 w 859"/>
                <a:gd name="T35" fmla="*/ 547 h 824"/>
                <a:gd name="T36" fmla="*/ 322 w 859"/>
                <a:gd name="T37" fmla="*/ 582 h 824"/>
                <a:gd name="T38" fmla="*/ 322 w 859"/>
                <a:gd name="T39" fmla="*/ 430 h 824"/>
                <a:gd name="T40" fmla="*/ 250 w 859"/>
                <a:gd name="T41" fmla="*/ 430 h 824"/>
                <a:gd name="T42" fmla="*/ 788 w 859"/>
                <a:gd name="T43" fmla="*/ 125 h 824"/>
                <a:gd name="T44" fmla="*/ 662 w 859"/>
                <a:gd name="T45" fmla="*/ 0 h 824"/>
                <a:gd name="T46" fmla="*/ 143 w 859"/>
                <a:gd name="T47" fmla="*/ 0 h 824"/>
                <a:gd name="T48" fmla="*/ 143 w 859"/>
                <a:gd name="T49" fmla="*/ 72 h 824"/>
                <a:gd name="T50" fmla="*/ 662 w 859"/>
                <a:gd name="T51" fmla="*/ 72 h 824"/>
                <a:gd name="T52" fmla="*/ 716 w 859"/>
                <a:gd name="T53" fmla="*/ 125 h 824"/>
                <a:gd name="T54" fmla="*/ 662 w 859"/>
                <a:gd name="T55" fmla="*/ 179 h 824"/>
                <a:gd name="T56" fmla="*/ 143 w 859"/>
                <a:gd name="T57" fmla="*/ 179 h 824"/>
                <a:gd name="T58" fmla="*/ 143 w 859"/>
                <a:gd name="T59" fmla="*/ 251 h 824"/>
                <a:gd name="T60" fmla="*/ 662 w 859"/>
                <a:gd name="T61" fmla="*/ 251 h 824"/>
                <a:gd name="T62" fmla="*/ 788 w 859"/>
                <a:gd name="T63" fmla="*/ 125 h 824"/>
                <a:gd name="T64" fmla="*/ 197 w 859"/>
                <a:gd name="T65" fmla="*/ 537 h 824"/>
                <a:gd name="T66" fmla="*/ 214 w 859"/>
                <a:gd name="T67" fmla="*/ 537 h 824"/>
                <a:gd name="T68" fmla="*/ 214 w 859"/>
                <a:gd name="T69" fmla="*/ 466 h 824"/>
                <a:gd name="T70" fmla="*/ 197 w 859"/>
                <a:gd name="T71" fmla="*/ 466 h 824"/>
                <a:gd name="T72" fmla="*/ 143 w 859"/>
                <a:gd name="T73" fmla="*/ 412 h 824"/>
                <a:gd name="T74" fmla="*/ 197 w 859"/>
                <a:gd name="T75" fmla="*/ 358 h 824"/>
                <a:gd name="T76" fmla="*/ 787 w 859"/>
                <a:gd name="T77" fmla="*/ 358 h 824"/>
                <a:gd name="T78" fmla="*/ 787 w 859"/>
                <a:gd name="T79" fmla="*/ 286 h 824"/>
                <a:gd name="T80" fmla="*/ 197 w 859"/>
                <a:gd name="T81" fmla="*/ 286 h 824"/>
                <a:gd name="T82" fmla="*/ 71 w 859"/>
                <a:gd name="T83" fmla="*/ 412 h 824"/>
                <a:gd name="T84" fmla="*/ 197 w 859"/>
                <a:gd name="T85" fmla="*/ 537 h 824"/>
                <a:gd name="T86" fmla="*/ 71 w 859"/>
                <a:gd name="T87" fmla="*/ 698 h 824"/>
                <a:gd name="T88" fmla="*/ 125 w 859"/>
                <a:gd name="T89" fmla="*/ 645 h 824"/>
                <a:gd name="T90" fmla="*/ 214 w 859"/>
                <a:gd name="T91" fmla="*/ 645 h 824"/>
                <a:gd name="T92" fmla="*/ 214 w 859"/>
                <a:gd name="T93" fmla="*/ 573 h 824"/>
                <a:gd name="T94" fmla="*/ 125 w 859"/>
                <a:gd name="T95" fmla="*/ 573 h 824"/>
                <a:gd name="T96" fmla="*/ 0 w 859"/>
                <a:gd name="T97" fmla="*/ 698 h 824"/>
                <a:gd name="T98" fmla="*/ 125 w 859"/>
                <a:gd name="T99" fmla="*/ 824 h 824"/>
                <a:gd name="T100" fmla="*/ 859 w 859"/>
                <a:gd name="T101" fmla="*/ 824 h 824"/>
                <a:gd name="T102" fmla="*/ 859 w 859"/>
                <a:gd name="T103" fmla="*/ 752 h 824"/>
                <a:gd name="T104" fmla="*/ 125 w 859"/>
                <a:gd name="T105" fmla="*/ 752 h 824"/>
                <a:gd name="T106" fmla="*/ 71 w 859"/>
                <a:gd name="T107" fmla="*/ 698 h 8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859" h="824">
                  <a:moveTo>
                    <a:pt x="573" y="573"/>
                  </a:moveTo>
                  <a:lnTo>
                    <a:pt x="573" y="645"/>
                  </a:lnTo>
                  <a:lnTo>
                    <a:pt x="859" y="645"/>
                  </a:lnTo>
                  <a:lnTo>
                    <a:pt x="859" y="573"/>
                  </a:lnTo>
                  <a:lnTo>
                    <a:pt x="573" y="573"/>
                  </a:lnTo>
                  <a:close/>
                  <a:moveTo>
                    <a:pt x="787" y="537"/>
                  </a:moveTo>
                  <a:lnTo>
                    <a:pt x="787" y="466"/>
                  </a:lnTo>
                  <a:lnTo>
                    <a:pt x="573" y="466"/>
                  </a:lnTo>
                  <a:lnTo>
                    <a:pt x="573" y="537"/>
                  </a:lnTo>
                  <a:lnTo>
                    <a:pt x="787" y="537"/>
                  </a:lnTo>
                  <a:close/>
                  <a:moveTo>
                    <a:pt x="250" y="430"/>
                  </a:moveTo>
                  <a:lnTo>
                    <a:pt x="250" y="698"/>
                  </a:lnTo>
                  <a:lnTo>
                    <a:pt x="394" y="627"/>
                  </a:lnTo>
                  <a:lnTo>
                    <a:pt x="537" y="698"/>
                  </a:lnTo>
                  <a:lnTo>
                    <a:pt x="537" y="430"/>
                  </a:lnTo>
                  <a:lnTo>
                    <a:pt x="465" y="430"/>
                  </a:lnTo>
                  <a:lnTo>
                    <a:pt x="465" y="582"/>
                  </a:lnTo>
                  <a:lnTo>
                    <a:pt x="394" y="547"/>
                  </a:lnTo>
                  <a:lnTo>
                    <a:pt x="322" y="582"/>
                  </a:lnTo>
                  <a:lnTo>
                    <a:pt x="322" y="430"/>
                  </a:lnTo>
                  <a:lnTo>
                    <a:pt x="250" y="430"/>
                  </a:lnTo>
                  <a:close/>
                  <a:moveTo>
                    <a:pt x="788" y="125"/>
                  </a:moveTo>
                  <a:cubicBezTo>
                    <a:pt x="788" y="56"/>
                    <a:pt x="731" y="0"/>
                    <a:pt x="662" y="0"/>
                  </a:cubicBezTo>
                  <a:lnTo>
                    <a:pt x="143" y="0"/>
                  </a:lnTo>
                  <a:lnTo>
                    <a:pt x="143" y="72"/>
                  </a:lnTo>
                  <a:lnTo>
                    <a:pt x="662" y="72"/>
                  </a:lnTo>
                  <a:cubicBezTo>
                    <a:pt x="692" y="72"/>
                    <a:pt x="716" y="96"/>
                    <a:pt x="716" y="125"/>
                  </a:cubicBezTo>
                  <a:cubicBezTo>
                    <a:pt x="716" y="155"/>
                    <a:pt x="692" y="179"/>
                    <a:pt x="662" y="179"/>
                  </a:cubicBezTo>
                  <a:lnTo>
                    <a:pt x="143" y="179"/>
                  </a:lnTo>
                  <a:lnTo>
                    <a:pt x="143" y="251"/>
                  </a:lnTo>
                  <a:lnTo>
                    <a:pt x="662" y="251"/>
                  </a:lnTo>
                  <a:cubicBezTo>
                    <a:pt x="731" y="251"/>
                    <a:pt x="788" y="194"/>
                    <a:pt x="788" y="125"/>
                  </a:cubicBezTo>
                  <a:close/>
                  <a:moveTo>
                    <a:pt x="197" y="537"/>
                  </a:moveTo>
                  <a:lnTo>
                    <a:pt x="214" y="537"/>
                  </a:lnTo>
                  <a:lnTo>
                    <a:pt x="214" y="466"/>
                  </a:lnTo>
                  <a:lnTo>
                    <a:pt x="197" y="466"/>
                  </a:lnTo>
                  <a:cubicBezTo>
                    <a:pt x="167" y="466"/>
                    <a:pt x="143" y="441"/>
                    <a:pt x="143" y="412"/>
                  </a:cubicBezTo>
                  <a:cubicBezTo>
                    <a:pt x="143" y="382"/>
                    <a:pt x="167" y="358"/>
                    <a:pt x="197" y="358"/>
                  </a:cubicBezTo>
                  <a:lnTo>
                    <a:pt x="787" y="358"/>
                  </a:lnTo>
                  <a:lnTo>
                    <a:pt x="787" y="286"/>
                  </a:lnTo>
                  <a:lnTo>
                    <a:pt x="197" y="286"/>
                  </a:lnTo>
                  <a:cubicBezTo>
                    <a:pt x="128" y="286"/>
                    <a:pt x="71" y="343"/>
                    <a:pt x="71" y="412"/>
                  </a:cubicBezTo>
                  <a:cubicBezTo>
                    <a:pt x="71" y="481"/>
                    <a:pt x="128" y="537"/>
                    <a:pt x="197" y="537"/>
                  </a:cubicBezTo>
                  <a:close/>
                  <a:moveTo>
                    <a:pt x="71" y="698"/>
                  </a:moveTo>
                  <a:cubicBezTo>
                    <a:pt x="71" y="669"/>
                    <a:pt x="95" y="645"/>
                    <a:pt x="125" y="645"/>
                  </a:cubicBezTo>
                  <a:lnTo>
                    <a:pt x="214" y="645"/>
                  </a:lnTo>
                  <a:lnTo>
                    <a:pt x="214" y="573"/>
                  </a:lnTo>
                  <a:lnTo>
                    <a:pt x="125" y="573"/>
                  </a:lnTo>
                  <a:cubicBezTo>
                    <a:pt x="56" y="573"/>
                    <a:pt x="0" y="629"/>
                    <a:pt x="0" y="698"/>
                  </a:cubicBezTo>
                  <a:cubicBezTo>
                    <a:pt x="0" y="767"/>
                    <a:pt x="56" y="824"/>
                    <a:pt x="125" y="824"/>
                  </a:cubicBezTo>
                  <a:lnTo>
                    <a:pt x="859" y="824"/>
                  </a:lnTo>
                  <a:lnTo>
                    <a:pt x="859" y="752"/>
                  </a:lnTo>
                  <a:lnTo>
                    <a:pt x="125" y="752"/>
                  </a:lnTo>
                  <a:cubicBezTo>
                    <a:pt x="95" y="752"/>
                    <a:pt x="71" y="728"/>
                    <a:pt x="71" y="69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9" name="Freeform 46"/>
            <p:cNvSpPr>
              <a:spLocks noEditPoints="1"/>
            </p:cNvSpPr>
            <p:nvPr/>
          </p:nvSpPr>
          <p:spPr bwMode="auto">
            <a:xfrm>
              <a:off x="8741962" y="2983368"/>
              <a:ext cx="188855" cy="272813"/>
            </a:xfrm>
            <a:custGeom>
              <a:avLst/>
              <a:gdLst>
                <a:gd name="T0" fmla="*/ 275 w 598"/>
                <a:gd name="T1" fmla="*/ 251 h 860"/>
                <a:gd name="T2" fmla="*/ 347 w 598"/>
                <a:gd name="T3" fmla="*/ 179 h 860"/>
                <a:gd name="T4" fmla="*/ 419 w 598"/>
                <a:gd name="T5" fmla="*/ 251 h 860"/>
                <a:gd name="T6" fmla="*/ 347 w 598"/>
                <a:gd name="T7" fmla="*/ 322 h 860"/>
                <a:gd name="T8" fmla="*/ 275 w 598"/>
                <a:gd name="T9" fmla="*/ 251 h 860"/>
                <a:gd name="T10" fmla="*/ 598 w 598"/>
                <a:gd name="T11" fmla="*/ 752 h 860"/>
                <a:gd name="T12" fmla="*/ 449 w 598"/>
                <a:gd name="T13" fmla="*/ 352 h 860"/>
                <a:gd name="T14" fmla="*/ 490 w 598"/>
                <a:gd name="T15" fmla="*/ 251 h 860"/>
                <a:gd name="T16" fmla="*/ 383 w 598"/>
                <a:gd name="T17" fmla="*/ 113 h 860"/>
                <a:gd name="T18" fmla="*/ 383 w 598"/>
                <a:gd name="T19" fmla="*/ 36 h 860"/>
                <a:gd name="T20" fmla="*/ 347 w 598"/>
                <a:gd name="T21" fmla="*/ 0 h 860"/>
                <a:gd name="T22" fmla="*/ 311 w 598"/>
                <a:gd name="T23" fmla="*/ 36 h 860"/>
                <a:gd name="T24" fmla="*/ 311 w 598"/>
                <a:gd name="T25" fmla="*/ 113 h 860"/>
                <a:gd name="T26" fmla="*/ 204 w 598"/>
                <a:gd name="T27" fmla="*/ 251 h 860"/>
                <a:gd name="T28" fmla="*/ 245 w 598"/>
                <a:gd name="T29" fmla="*/ 352 h 860"/>
                <a:gd name="T30" fmla="*/ 196 w 598"/>
                <a:gd name="T31" fmla="*/ 485 h 860"/>
                <a:gd name="T32" fmla="*/ 260 w 598"/>
                <a:gd name="T33" fmla="*/ 519 h 860"/>
                <a:gd name="T34" fmla="*/ 308 w 598"/>
                <a:gd name="T35" fmla="*/ 388 h 860"/>
                <a:gd name="T36" fmla="*/ 347 w 598"/>
                <a:gd name="T37" fmla="*/ 394 h 860"/>
                <a:gd name="T38" fmla="*/ 386 w 598"/>
                <a:gd name="T39" fmla="*/ 388 h 860"/>
                <a:gd name="T40" fmla="*/ 459 w 598"/>
                <a:gd name="T41" fmla="*/ 586 h 860"/>
                <a:gd name="T42" fmla="*/ 347 w 598"/>
                <a:gd name="T43" fmla="*/ 607 h 860"/>
                <a:gd name="T44" fmla="*/ 72 w 598"/>
                <a:gd name="T45" fmla="*/ 453 h 860"/>
                <a:gd name="T46" fmla="*/ 26 w 598"/>
                <a:gd name="T47" fmla="*/ 440 h 860"/>
                <a:gd name="T48" fmla="*/ 11 w 598"/>
                <a:gd name="T49" fmla="*/ 491 h 860"/>
                <a:gd name="T50" fmla="*/ 145 w 598"/>
                <a:gd name="T51" fmla="*/ 623 h 860"/>
                <a:gd name="T52" fmla="*/ 96 w 598"/>
                <a:gd name="T53" fmla="*/ 752 h 860"/>
                <a:gd name="T54" fmla="*/ 134 w 598"/>
                <a:gd name="T55" fmla="*/ 860 h 860"/>
                <a:gd name="T56" fmla="*/ 210 w 598"/>
                <a:gd name="T57" fmla="*/ 654 h 860"/>
                <a:gd name="T58" fmla="*/ 347 w 598"/>
                <a:gd name="T59" fmla="*/ 679 h 860"/>
                <a:gd name="T60" fmla="*/ 483 w 598"/>
                <a:gd name="T61" fmla="*/ 653 h 860"/>
                <a:gd name="T62" fmla="*/ 560 w 598"/>
                <a:gd name="T63" fmla="*/ 860 h 860"/>
                <a:gd name="T64" fmla="*/ 598 w 598"/>
                <a:gd name="T65" fmla="*/ 752 h 8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98" h="860">
                  <a:moveTo>
                    <a:pt x="275" y="251"/>
                  </a:moveTo>
                  <a:cubicBezTo>
                    <a:pt x="275" y="211"/>
                    <a:pt x="307" y="179"/>
                    <a:pt x="347" y="179"/>
                  </a:cubicBezTo>
                  <a:cubicBezTo>
                    <a:pt x="386" y="179"/>
                    <a:pt x="419" y="211"/>
                    <a:pt x="419" y="251"/>
                  </a:cubicBezTo>
                  <a:cubicBezTo>
                    <a:pt x="419" y="290"/>
                    <a:pt x="386" y="322"/>
                    <a:pt x="347" y="322"/>
                  </a:cubicBezTo>
                  <a:cubicBezTo>
                    <a:pt x="307" y="322"/>
                    <a:pt x="275" y="290"/>
                    <a:pt x="275" y="251"/>
                  </a:cubicBezTo>
                  <a:close/>
                  <a:moveTo>
                    <a:pt x="598" y="752"/>
                  </a:moveTo>
                  <a:lnTo>
                    <a:pt x="449" y="352"/>
                  </a:lnTo>
                  <a:cubicBezTo>
                    <a:pt x="474" y="326"/>
                    <a:pt x="490" y="290"/>
                    <a:pt x="490" y="251"/>
                  </a:cubicBezTo>
                  <a:cubicBezTo>
                    <a:pt x="490" y="184"/>
                    <a:pt x="444" y="129"/>
                    <a:pt x="383" y="113"/>
                  </a:cubicBezTo>
                  <a:lnTo>
                    <a:pt x="383" y="36"/>
                  </a:lnTo>
                  <a:cubicBezTo>
                    <a:pt x="383" y="16"/>
                    <a:pt x="367" y="0"/>
                    <a:pt x="347" y="0"/>
                  </a:cubicBezTo>
                  <a:cubicBezTo>
                    <a:pt x="327" y="0"/>
                    <a:pt x="311" y="16"/>
                    <a:pt x="311" y="36"/>
                  </a:cubicBezTo>
                  <a:lnTo>
                    <a:pt x="311" y="113"/>
                  </a:lnTo>
                  <a:cubicBezTo>
                    <a:pt x="250" y="129"/>
                    <a:pt x="204" y="184"/>
                    <a:pt x="204" y="251"/>
                  </a:cubicBezTo>
                  <a:cubicBezTo>
                    <a:pt x="204" y="290"/>
                    <a:pt x="220" y="326"/>
                    <a:pt x="245" y="352"/>
                  </a:cubicBezTo>
                  <a:lnTo>
                    <a:pt x="196" y="485"/>
                  </a:lnTo>
                  <a:cubicBezTo>
                    <a:pt x="216" y="499"/>
                    <a:pt x="237" y="511"/>
                    <a:pt x="260" y="519"/>
                  </a:cubicBezTo>
                  <a:lnTo>
                    <a:pt x="308" y="388"/>
                  </a:lnTo>
                  <a:cubicBezTo>
                    <a:pt x="321" y="392"/>
                    <a:pt x="333" y="394"/>
                    <a:pt x="347" y="394"/>
                  </a:cubicBezTo>
                  <a:cubicBezTo>
                    <a:pt x="361" y="394"/>
                    <a:pt x="373" y="392"/>
                    <a:pt x="386" y="388"/>
                  </a:cubicBezTo>
                  <a:lnTo>
                    <a:pt x="459" y="586"/>
                  </a:lnTo>
                  <a:cubicBezTo>
                    <a:pt x="423" y="599"/>
                    <a:pt x="386" y="607"/>
                    <a:pt x="347" y="607"/>
                  </a:cubicBezTo>
                  <a:cubicBezTo>
                    <a:pt x="233" y="607"/>
                    <a:pt x="130" y="549"/>
                    <a:pt x="72" y="453"/>
                  </a:cubicBezTo>
                  <a:cubicBezTo>
                    <a:pt x="63" y="438"/>
                    <a:pt x="43" y="432"/>
                    <a:pt x="26" y="440"/>
                  </a:cubicBezTo>
                  <a:cubicBezTo>
                    <a:pt x="7" y="449"/>
                    <a:pt x="0" y="473"/>
                    <a:pt x="11" y="491"/>
                  </a:cubicBezTo>
                  <a:cubicBezTo>
                    <a:pt x="45" y="547"/>
                    <a:pt x="92" y="591"/>
                    <a:pt x="145" y="623"/>
                  </a:cubicBezTo>
                  <a:lnTo>
                    <a:pt x="96" y="752"/>
                  </a:lnTo>
                  <a:lnTo>
                    <a:pt x="134" y="860"/>
                  </a:lnTo>
                  <a:lnTo>
                    <a:pt x="210" y="654"/>
                  </a:lnTo>
                  <a:cubicBezTo>
                    <a:pt x="253" y="670"/>
                    <a:pt x="299" y="679"/>
                    <a:pt x="347" y="679"/>
                  </a:cubicBezTo>
                  <a:cubicBezTo>
                    <a:pt x="394" y="679"/>
                    <a:pt x="440" y="669"/>
                    <a:pt x="483" y="653"/>
                  </a:cubicBezTo>
                  <a:lnTo>
                    <a:pt x="560" y="860"/>
                  </a:lnTo>
                  <a:lnTo>
                    <a:pt x="598" y="75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5" name="Freeform 52"/>
            <p:cNvSpPr>
              <a:spLocks noEditPoints="1"/>
            </p:cNvSpPr>
            <p:nvPr/>
          </p:nvSpPr>
          <p:spPr bwMode="auto">
            <a:xfrm>
              <a:off x="8704053" y="2417306"/>
              <a:ext cx="264672" cy="272813"/>
            </a:xfrm>
            <a:custGeom>
              <a:avLst/>
              <a:gdLst>
                <a:gd name="T0" fmla="*/ 179 w 839"/>
                <a:gd name="T1" fmla="*/ 143 h 860"/>
                <a:gd name="T2" fmla="*/ 609 w 839"/>
                <a:gd name="T3" fmla="*/ 143 h 860"/>
                <a:gd name="T4" fmla="*/ 609 w 839"/>
                <a:gd name="T5" fmla="*/ 269 h 860"/>
                <a:gd name="T6" fmla="*/ 474 w 839"/>
                <a:gd name="T7" fmla="*/ 383 h 860"/>
                <a:gd name="T8" fmla="*/ 526 w 839"/>
                <a:gd name="T9" fmla="*/ 440 h 860"/>
                <a:gd name="T10" fmla="*/ 839 w 839"/>
                <a:gd name="T11" fmla="*/ 208 h 860"/>
                <a:gd name="T12" fmla="*/ 781 w 839"/>
                <a:gd name="T13" fmla="*/ 151 h 860"/>
                <a:gd name="T14" fmla="*/ 680 w 839"/>
                <a:gd name="T15" fmla="*/ 215 h 860"/>
                <a:gd name="T16" fmla="*/ 680 w 839"/>
                <a:gd name="T17" fmla="*/ 72 h 860"/>
                <a:gd name="T18" fmla="*/ 430 w 839"/>
                <a:gd name="T19" fmla="*/ 72 h 860"/>
                <a:gd name="T20" fmla="*/ 430 w 839"/>
                <a:gd name="T21" fmla="*/ 0 h 860"/>
                <a:gd name="T22" fmla="*/ 358 w 839"/>
                <a:gd name="T23" fmla="*/ 0 h 860"/>
                <a:gd name="T24" fmla="*/ 358 w 839"/>
                <a:gd name="T25" fmla="*/ 72 h 860"/>
                <a:gd name="T26" fmla="*/ 107 w 839"/>
                <a:gd name="T27" fmla="*/ 72 h 860"/>
                <a:gd name="T28" fmla="*/ 107 w 839"/>
                <a:gd name="T29" fmla="*/ 537 h 860"/>
                <a:gd name="T30" fmla="*/ 179 w 839"/>
                <a:gd name="T31" fmla="*/ 537 h 860"/>
                <a:gd name="T32" fmla="*/ 179 w 839"/>
                <a:gd name="T33" fmla="*/ 143 h 860"/>
                <a:gd name="T34" fmla="*/ 680 w 839"/>
                <a:gd name="T35" fmla="*/ 537 h 860"/>
                <a:gd name="T36" fmla="*/ 680 w 839"/>
                <a:gd name="T37" fmla="*/ 393 h 860"/>
                <a:gd name="T38" fmla="*/ 609 w 839"/>
                <a:gd name="T39" fmla="*/ 447 h 860"/>
                <a:gd name="T40" fmla="*/ 609 w 839"/>
                <a:gd name="T41" fmla="*/ 537 h 860"/>
                <a:gd name="T42" fmla="*/ 680 w 839"/>
                <a:gd name="T43" fmla="*/ 537 h 860"/>
                <a:gd name="T44" fmla="*/ 371 w 839"/>
                <a:gd name="T45" fmla="*/ 473 h 860"/>
                <a:gd name="T46" fmla="*/ 414 w 839"/>
                <a:gd name="T47" fmla="*/ 530 h 860"/>
                <a:gd name="T48" fmla="*/ 506 w 839"/>
                <a:gd name="T49" fmla="*/ 461 h 860"/>
                <a:gd name="T50" fmla="*/ 463 w 839"/>
                <a:gd name="T51" fmla="*/ 404 h 860"/>
                <a:gd name="T52" fmla="*/ 371 w 839"/>
                <a:gd name="T53" fmla="*/ 473 h 860"/>
                <a:gd name="T54" fmla="*/ 0 w 839"/>
                <a:gd name="T55" fmla="*/ 681 h 860"/>
                <a:gd name="T56" fmla="*/ 233 w 839"/>
                <a:gd name="T57" fmla="*/ 681 h 860"/>
                <a:gd name="T58" fmla="*/ 166 w 839"/>
                <a:gd name="T59" fmla="*/ 860 h 860"/>
                <a:gd name="T60" fmla="*/ 243 w 839"/>
                <a:gd name="T61" fmla="*/ 860 h 860"/>
                <a:gd name="T62" fmla="*/ 310 w 839"/>
                <a:gd name="T63" fmla="*/ 681 h 860"/>
                <a:gd name="T64" fmla="*/ 358 w 839"/>
                <a:gd name="T65" fmla="*/ 681 h 860"/>
                <a:gd name="T66" fmla="*/ 358 w 839"/>
                <a:gd name="T67" fmla="*/ 860 h 860"/>
                <a:gd name="T68" fmla="*/ 430 w 839"/>
                <a:gd name="T69" fmla="*/ 860 h 860"/>
                <a:gd name="T70" fmla="*/ 430 w 839"/>
                <a:gd name="T71" fmla="*/ 681 h 860"/>
                <a:gd name="T72" fmla="*/ 547 w 839"/>
                <a:gd name="T73" fmla="*/ 681 h 860"/>
                <a:gd name="T74" fmla="*/ 614 w 839"/>
                <a:gd name="T75" fmla="*/ 860 h 860"/>
                <a:gd name="T76" fmla="*/ 690 w 839"/>
                <a:gd name="T77" fmla="*/ 860 h 860"/>
                <a:gd name="T78" fmla="*/ 623 w 839"/>
                <a:gd name="T79" fmla="*/ 681 h 860"/>
                <a:gd name="T80" fmla="*/ 788 w 839"/>
                <a:gd name="T81" fmla="*/ 681 h 860"/>
                <a:gd name="T82" fmla="*/ 788 w 839"/>
                <a:gd name="T83" fmla="*/ 609 h 860"/>
                <a:gd name="T84" fmla="*/ 0 w 839"/>
                <a:gd name="T85" fmla="*/ 609 h 860"/>
                <a:gd name="T86" fmla="*/ 0 w 839"/>
                <a:gd name="T87" fmla="*/ 681 h 8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839" h="860">
                  <a:moveTo>
                    <a:pt x="179" y="143"/>
                  </a:moveTo>
                  <a:lnTo>
                    <a:pt x="609" y="143"/>
                  </a:lnTo>
                  <a:lnTo>
                    <a:pt x="609" y="269"/>
                  </a:lnTo>
                  <a:lnTo>
                    <a:pt x="474" y="383"/>
                  </a:lnTo>
                  <a:lnTo>
                    <a:pt x="526" y="440"/>
                  </a:lnTo>
                  <a:lnTo>
                    <a:pt x="839" y="208"/>
                  </a:lnTo>
                  <a:lnTo>
                    <a:pt x="781" y="151"/>
                  </a:lnTo>
                  <a:lnTo>
                    <a:pt x="680" y="215"/>
                  </a:lnTo>
                  <a:lnTo>
                    <a:pt x="680" y="72"/>
                  </a:lnTo>
                  <a:lnTo>
                    <a:pt x="430" y="72"/>
                  </a:lnTo>
                  <a:lnTo>
                    <a:pt x="430" y="0"/>
                  </a:lnTo>
                  <a:lnTo>
                    <a:pt x="358" y="0"/>
                  </a:lnTo>
                  <a:lnTo>
                    <a:pt x="358" y="72"/>
                  </a:lnTo>
                  <a:lnTo>
                    <a:pt x="107" y="72"/>
                  </a:lnTo>
                  <a:lnTo>
                    <a:pt x="107" y="537"/>
                  </a:lnTo>
                  <a:lnTo>
                    <a:pt x="179" y="537"/>
                  </a:lnTo>
                  <a:lnTo>
                    <a:pt x="179" y="143"/>
                  </a:lnTo>
                  <a:close/>
                  <a:moveTo>
                    <a:pt x="680" y="537"/>
                  </a:moveTo>
                  <a:lnTo>
                    <a:pt x="680" y="393"/>
                  </a:lnTo>
                  <a:lnTo>
                    <a:pt x="609" y="447"/>
                  </a:lnTo>
                  <a:lnTo>
                    <a:pt x="609" y="537"/>
                  </a:lnTo>
                  <a:lnTo>
                    <a:pt x="680" y="537"/>
                  </a:lnTo>
                  <a:close/>
                  <a:moveTo>
                    <a:pt x="371" y="473"/>
                  </a:moveTo>
                  <a:lnTo>
                    <a:pt x="414" y="530"/>
                  </a:lnTo>
                  <a:lnTo>
                    <a:pt x="506" y="461"/>
                  </a:lnTo>
                  <a:lnTo>
                    <a:pt x="463" y="404"/>
                  </a:lnTo>
                  <a:lnTo>
                    <a:pt x="371" y="473"/>
                  </a:lnTo>
                  <a:close/>
                  <a:moveTo>
                    <a:pt x="0" y="681"/>
                  </a:moveTo>
                  <a:lnTo>
                    <a:pt x="233" y="681"/>
                  </a:lnTo>
                  <a:lnTo>
                    <a:pt x="166" y="860"/>
                  </a:lnTo>
                  <a:lnTo>
                    <a:pt x="243" y="860"/>
                  </a:lnTo>
                  <a:lnTo>
                    <a:pt x="310" y="681"/>
                  </a:lnTo>
                  <a:lnTo>
                    <a:pt x="358" y="681"/>
                  </a:lnTo>
                  <a:lnTo>
                    <a:pt x="358" y="860"/>
                  </a:lnTo>
                  <a:lnTo>
                    <a:pt x="430" y="860"/>
                  </a:lnTo>
                  <a:lnTo>
                    <a:pt x="430" y="681"/>
                  </a:lnTo>
                  <a:lnTo>
                    <a:pt x="547" y="681"/>
                  </a:lnTo>
                  <a:lnTo>
                    <a:pt x="614" y="860"/>
                  </a:lnTo>
                  <a:lnTo>
                    <a:pt x="690" y="860"/>
                  </a:lnTo>
                  <a:lnTo>
                    <a:pt x="623" y="681"/>
                  </a:lnTo>
                  <a:lnTo>
                    <a:pt x="788" y="681"/>
                  </a:lnTo>
                  <a:lnTo>
                    <a:pt x="788" y="609"/>
                  </a:lnTo>
                  <a:lnTo>
                    <a:pt x="0" y="609"/>
                  </a:lnTo>
                  <a:lnTo>
                    <a:pt x="0" y="68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6" name="Freeform 53"/>
            <p:cNvSpPr>
              <a:spLocks noEditPoints="1"/>
            </p:cNvSpPr>
            <p:nvPr/>
          </p:nvSpPr>
          <p:spPr bwMode="auto">
            <a:xfrm>
              <a:off x="8695782" y="4695336"/>
              <a:ext cx="281214" cy="245254"/>
            </a:xfrm>
            <a:custGeom>
              <a:avLst/>
              <a:gdLst>
                <a:gd name="T0" fmla="*/ 408 w 888"/>
                <a:gd name="T1" fmla="*/ 61 h 777"/>
                <a:gd name="T2" fmla="*/ 337 w 888"/>
                <a:gd name="T3" fmla="*/ 61 h 777"/>
                <a:gd name="T4" fmla="*/ 337 w 888"/>
                <a:gd name="T5" fmla="*/ 539 h 777"/>
                <a:gd name="T6" fmla="*/ 408 w 888"/>
                <a:gd name="T7" fmla="*/ 556 h 777"/>
                <a:gd name="T8" fmla="*/ 408 w 888"/>
                <a:gd name="T9" fmla="*/ 61 h 777"/>
                <a:gd name="T10" fmla="*/ 552 w 888"/>
                <a:gd name="T11" fmla="*/ 61 h 777"/>
                <a:gd name="T12" fmla="*/ 480 w 888"/>
                <a:gd name="T13" fmla="*/ 61 h 777"/>
                <a:gd name="T14" fmla="*/ 480 w 888"/>
                <a:gd name="T15" fmla="*/ 556 h 777"/>
                <a:gd name="T16" fmla="*/ 552 w 888"/>
                <a:gd name="T17" fmla="*/ 539 h 777"/>
                <a:gd name="T18" fmla="*/ 552 w 888"/>
                <a:gd name="T19" fmla="*/ 61 h 777"/>
                <a:gd name="T20" fmla="*/ 829 w 888"/>
                <a:gd name="T21" fmla="*/ 27 h 777"/>
                <a:gd name="T22" fmla="*/ 734 w 888"/>
                <a:gd name="T23" fmla="*/ 5 h 777"/>
                <a:gd name="T24" fmla="*/ 652 w 888"/>
                <a:gd name="T25" fmla="*/ 56 h 777"/>
                <a:gd name="T26" fmla="*/ 696 w 888"/>
                <a:gd name="T27" fmla="*/ 357 h 777"/>
                <a:gd name="T28" fmla="*/ 634 w 888"/>
                <a:gd name="T29" fmla="*/ 526 h 777"/>
                <a:gd name="T30" fmla="*/ 444 w 888"/>
                <a:gd name="T31" fmla="*/ 595 h 777"/>
                <a:gd name="T32" fmla="*/ 254 w 888"/>
                <a:gd name="T33" fmla="*/ 526 h 777"/>
                <a:gd name="T34" fmla="*/ 193 w 888"/>
                <a:gd name="T35" fmla="*/ 357 h 777"/>
                <a:gd name="T36" fmla="*/ 237 w 888"/>
                <a:gd name="T37" fmla="*/ 57 h 777"/>
                <a:gd name="T38" fmla="*/ 155 w 888"/>
                <a:gd name="T39" fmla="*/ 5 h 777"/>
                <a:gd name="T40" fmla="*/ 60 w 888"/>
                <a:gd name="T41" fmla="*/ 27 h 777"/>
                <a:gd name="T42" fmla="*/ 35 w 888"/>
                <a:gd name="T43" fmla="*/ 179 h 777"/>
                <a:gd name="T44" fmla="*/ 92 w 888"/>
                <a:gd name="T45" fmla="*/ 216 h 777"/>
                <a:gd name="T46" fmla="*/ 134 w 888"/>
                <a:gd name="T47" fmla="*/ 189 h 777"/>
                <a:gd name="T48" fmla="*/ 107 w 888"/>
                <a:gd name="T49" fmla="*/ 146 h 777"/>
                <a:gd name="T50" fmla="*/ 93 w 888"/>
                <a:gd name="T51" fmla="*/ 137 h 777"/>
                <a:gd name="T52" fmla="*/ 102 w 888"/>
                <a:gd name="T53" fmla="*/ 85 h 777"/>
                <a:gd name="T54" fmla="*/ 143 w 888"/>
                <a:gd name="T55" fmla="*/ 76 h 777"/>
                <a:gd name="T56" fmla="*/ 179 w 888"/>
                <a:gd name="T57" fmla="*/ 99 h 777"/>
                <a:gd name="T58" fmla="*/ 130 w 888"/>
                <a:gd name="T59" fmla="*/ 321 h 777"/>
                <a:gd name="T60" fmla="*/ 122 w 888"/>
                <a:gd name="T61" fmla="*/ 330 h 777"/>
                <a:gd name="T62" fmla="*/ 122 w 888"/>
                <a:gd name="T63" fmla="*/ 341 h 777"/>
                <a:gd name="T64" fmla="*/ 202 w 888"/>
                <a:gd name="T65" fmla="*/ 575 h 777"/>
                <a:gd name="T66" fmla="*/ 445 w 888"/>
                <a:gd name="T67" fmla="*/ 666 h 777"/>
                <a:gd name="T68" fmla="*/ 687 w 888"/>
                <a:gd name="T69" fmla="*/ 575 h 777"/>
                <a:gd name="T70" fmla="*/ 767 w 888"/>
                <a:gd name="T71" fmla="*/ 341 h 777"/>
                <a:gd name="T72" fmla="*/ 766 w 888"/>
                <a:gd name="T73" fmla="*/ 330 h 777"/>
                <a:gd name="T74" fmla="*/ 759 w 888"/>
                <a:gd name="T75" fmla="*/ 321 h 777"/>
                <a:gd name="T76" fmla="*/ 710 w 888"/>
                <a:gd name="T77" fmla="*/ 98 h 777"/>
                <a:gd name="T78" fmla="*/ 746 w 888"/>
                <a:gd name="T79" fmla="*/ 76 h 777"/>
                <a:gd name="T80" fmla="*/ 787 w 888"/>
                <a:gd name="T81" fmla="*/ 85 h 777"/>
                <a:gd name="T82" fmla="*/ 795 w 888"/>
                <a:gd name="T83" fmla="*/ 137 h 777"/>
                <a:gd name="T84" fmla="*/ 782 w 888"/>
                <a:gd name="T85" fmla="*/ 146 h 777"/>
                <a:gd name="T86" fmla="*/ 754 w 888"/>
                <a:gd name="T87" fmla="*/ 189 h 777"/>
                <a:gd name="T88" fmla="*/ 797 w 888"/>
                <a:gd name="T89" fmla="*/ 216 h 777"/>
                <a:gd name="T90" fmla="*/ 854 w 888"/>
                <a:gd name="T91" fmla="*/ 179 h 777"/>
                <a:gd name="T92" fmla="*/ 829 w 888"/>
                <a:gd name="T93" fmla="*/ 27 h 777"/>
                <a:gd name="T94" fmla="*/ 301 w 888"/>
                <a:gd name="T95" fmla="*/ 777 h 777"/>
                <a:gd name="T96" fmla="*/ 587 w 888"/>
                <a:gd name="T97" fmla="*/ 777 h 777"/>
                <a:gd name="T98" fmla="*/ 587 w 888"/>
                <a:gd name="T99" fmla="*/ 705 h 777"/>
                <a:gd name="T100" fmla="*/ 301 w 888"/>
                <a:gd name="T101" fmla="*/ 705 h 777"/>
                <a:gd name="T102" fmla="*/ 301 w 888"/>
                <a:gd name="T103" fmla="*/ 777 h 7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888" h="777">
                  <a:moveTo>
                    <a:pt x="408" y="61"/>
                  </a:moveTo>
                  <a:lnTo>
                    <a:pt x="337" y="61"/>
                  </a:lnTo>
                  <a:lnTo>
                    <a:pt x="337" y="539"/>
                  </a:lnTo>
                  <a:cubicBezTo>
                    <a:pt x="372" y="548"/>
                    <a:pt x="372" y="554"/>
                    <a:pt x="408" y="556"/>
                  </a:cubicBezTo>
                  <a:lnTo>
                    <a:pt x="408" y="61"/>
                  </a:lnTo>
                  <a:close/>
                  <a:moveTo>
                    <a:pt x="552" y="61"/>
                  </a:moveTo>
                  <a:lnTo>
                    <a:pt x="480" y="61"/>
                  </a:lnTo>
                  <a:lnTo>
                    <a:pt x="480" y="556"/>
                  </a:lnTo>
                  <a:cubicBezTo>
                    <a:pt x="516" y="554"/>
                    <a:pt x="516" y="548"/>
                    <a:pt x="552" y="539"/>
                  </a:cubicBezTo>
                  <a:lnTo>
                    <a:pt x="552" y="61"/>
                  </a:lnTo>
                  <a:close/>
                  <a:moveTo>
                    <a:pt x="829" y="27"/>
                  </a:moveTo>
                  <a:cubicBezTo>
                    <a:pt x="801" y="8"/>
                    <a:pt x="768" y="0"/>
                    <a:pt x="734" y="5"/>
                  </a:cubicBezTo>
                  <a:cubicBezTo>
                    <a:pt x="700" y="11"/>
                    <a:pt x="671" y="29"/>
                    <a:pt x="652" y="56"/>
                  </a:cubicBezTo>
                  <a:cubicBezTo>
                    <a:pt x="591" y="139"/>
                    <a:pt x="637" y="279"/>
                    <a:pt x="696" y="357"/>
                  </a:cubicBezTo>
                  <a:cubicBezTo>
                    <a:pt x="695" y="386"/>
                    <a:pt x="689" y="468"/>
                    <a:pt x="634" y="526"/>
                  </a:cubicBezTo>
                  <a:cubicBezTo>
                    <a:pt x="592" y="572"/>
                    <a:pt x="528" y="595"/>
                    <a:pt x="444" y="595"/>
                  </a:cubicBezTo>
                  <a:cubicBezTo>
                    <a:pt x="361" y="595"/>
                    <a:pt x="297" y="572"/>
                    <a:pt x="254" y="526"/>
                  </a:cubicBezTo>
                  <a:cubicBezTo>
                    <a:pt x="199" y="468"/>
                    <a:pt x="193" y="385"/>
                    <a:pt x="193" y="357"/>
                  </a:cubicBezTo>
                  <a:cubicBezTo>
                    <a:pt x="252" y="279"/>
                    <a:pt x="298" y="139"/>
                    <a:pt x="237" y="57"/>
                  </a:cubicBezTo>
                  <a:cubicBezTo>
                    <a:pt x="217" y="29"/>
                    <a:pt x="188" y="11"/>
                    <a:pt x="155" y="5"/>
                  </a:cubicBezTo>
                  <a:cubicBezTo>
                    <a:pt x="121" y="0"/>
                    <a:pt x="87" y="8"/>
                    <a:pt x="60" y="27"/>
                  </a:cubicBezTo>
                  <a:cubicBezTo>
                    <a:pt x="11" y="63"/>
                    <a:pt x="0" y="130"/>
                    <a:pt x="35" y="179"/>
                  </a:cubicBezTo>
                  <a:cubicBezTo>
                    <a:pt x="49" y="198"/>
                    <a:pt x="69" y="212"/>
                    <a:pt x="92" y="216"/>
                  </a:cubicBezTo>
                  <a:cubicBezTo>
                    <a:pt x="111" y="220"/>
                    <a:pt x="130" y="208"/>
                    <a:pt x="134" y="189"/>
                  </a:cubicBezTo>
                  <a:cubicBezTo>
                    <a:pt x="138" y="169"/>
                    <a:pt x="126" y="150"/>
                    <a:pt x="107" y="146"/>
                  </a:cubicBezTo>
                  <a:cubicBezTo>
                    <a:pt x="101" y="145"/>
                    <a:pt x="96" y="142"/>
                    <a:pt x="93" y="137"/>
                  </a:cubicBezTo>
                  <a:cubicBezTo>
                    <a:pt x="81" y="121"/>
                    <a:pt x="85" y="97"/>
                    <a:pt x="102" y="85"/>
                  </a:cubicBezTo>
                  <a:cubicBezTo>
                    <a:pt x="114" y="77"/>
                    <a:pt x="128" y="73"/>
                    <a:pt x="143" y="76"/>
                  </a:cubicBezTo>
                  <a:cubicBezTo>
                    <a:pt x="157" y="78"/>
                    <a:pt x="170" y="86"/>
                    <a:pt x="179" y="99"/>
                  </a:cubicBezTo>
                  <a:cubicBezTo>
                    <a:pt x="215" y="148"/>
                    <a:pt x="182" y="259"/>
                    <a:pt x="130" y="321"/>
                  </a:cubicBezTo>
                  <a:lnTo>
                    <a:pt x="122" y="330"/>
                  </a:lnTo>
                  <a:lnTo>
                    <a:pt x="122" y="341"/>
                  </a:lnTo>
                  <a:cubicBezTo>
                    <a:pt x="121" y="347"/>
                    <a:pt x="113" y="480"/>
                    <a:pt x="202" y="575"/>
                  </a:cubicBezTo>
                  <a:cubicBezTo>
                    <a:pt x="258" y="636"/>
                    <a:pt x="340" y="666"/>
                    <a:pt x="445" y="666"/>
                  </a:cubicBezTo>
                  <a:cubicBezTo>
                    <a:pt x="549" y="666"/>
                    <a:pt x="630" y="636"/>
                    <a:pt x="687" y="575"/>
                  </a:cubicBezTo>
                  <a:cubicBezTo>
                    <a:pt x="775" y="480"/>
                    <a:pt x="767" y="347"/>
                    <a:pt x="767" y="341"/>
                  </a:cubicBezTo>
                  <a:lnTo>
                    <a:pt x="766" y="330"/>
                  </a:lnTo>
                  <a:lnTo>
                    <a:pt x="759" y="321"/>
                  </a:lnTo>
                  <a:cubicBezTo>
                    <a:pt x="706" y="259"/>
                    <a:pt x="673" y="148"/>
                    <a:pt x="710" y="98"/>
                  </a:cubicBezTo>
                  <a:cubicBezTo>
                    <a:pt x="718" y="86"/>
                    <a:pt x="731" y="78"/>
                    <a:pt x="746" y="76"/>
                  </a:cubicBezTo>
                  <a:cubicBezTo>
                    <a:pt x="760" y="73"/>
                    <a:pt x="775" y="77"/>
                    <a:pt x="787" y="85"/>
                  </a:cubicBezTo>
                  <a:cubicBezTo>
                    <a:pt x="803" y="97"/>
                    <a:pt x="807" y="121"/>
                    <a:pt x="795" y="137"/>
                  </a:cubicBezTo>
                  <a:cubicBezTo>
                    <a:pt x="792" y="142"/>
                    <a:pt x="787" y="145"/>
                    <a:pt x="782" y="146"/>
                  </a:cubicBezTo>
                  <a:cubicBezTo>
                    <a:pt x="762" y="150"/>
                    <a:pt x="750" y="169"/>
                    <a:pt x="754" y="189"/>
                  </a:cubicBezTo>
                  <a:cubicBezTo>
                    <a:pt x="758" y="208"/>
                    <a:pt x="777" y="220"/>
                    <a:pt x="797" y="216"/>
                  </a:cubicBezTo>
                  <a:cubicBezTo>
                    <a:pt x="820" y="212"/>
                    <a:pt x="840" y="198"/>
                    <a:pt x="854" y="179"/>
                  </a:cubicBezTo>
                  <a:cubicBezTo>
                    <a:pt x="888" y="130"/>
                    <a:pt x="877" y="63"/>
                    <a:pt x="829" y="27"/>
                  </a:cubicBezTo>
                  <a:close/>
                  <a:moveTo>
                    <a:pt x="301" y="777"/>
                  </a:moveTo>
                  <a:lnTo>
                    <a:pt x="587" y="777"/>
                  </a:lnTo>
                  <a:lnTo>
                    <a:pt x="587" y="705"/>
                  </a:lnTo>
                  <a:lnTo>
                    <a:pt x="301" y="705"/>
                  </a:lnTo>
                  <a:lnTo>
                    <a:pt x="301" y="77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115" name="AutoShape 4"/>
          <p:cNvSpPr>
            <a:spLocks noChangeAspect="1" noChangeArrowheads="1" noTextEdit="1"/>
          </p:cNvSpPr>
          <p:nvPr/>
        </p:nvSpPr>
        <p:spPr bwMode="auto">
          <a:xfrm>
            <a:off x="5844301" y="1808388"/>
            <a:ext cx="918665" cy="3170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16" name="Рисунок 115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185" name="TextBox 184"/>
          <p:cNvSpPr txBox="1"/>
          <p:nvPr/>
        </p:nvSpPr>
        <p:spPr>
          <a:xfrm>
            <a:off x="394574" y="1545718"/>
            <a:ext cx="6301256" cy="461665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Open Sans" pitchFamily="34" charset="0"/>
                <a:ea typeface="Open Sans" pitchFamily="34" charset="0"/>
                <a:cs typeface="Open Sans" pitchFamily="34" charset="0"/>
              </a:rPr>
              <a:t>УМК </a:t>
            </a:r>
            <a:r>
              <a:rPr kumimoji="0" lang="ru-RU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Open Sans" pitchFamily="34" charset="0"/>
                <a:ea typeface="Open Sans" pitchFamily="34" charset="0"/>
                <a:cs typeface="Open Sans" pitchFamily="34" charset="0"/>
              </a:rPr>
              <a:t>«Архимед»</a:t>
            </a:r>
            <a:endParaRPr kumimoji="0" lang="ru-RU" sz="24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grpSp>
        <p:nvGrpSpPr>
          <p:cNvPr id="186" name="Группа 185"/>
          <p:cNvGrpSpPr/>
          <p:nvPr/>
        </p:nvGrpSpPr>
        <p:grpSpPr>
          <a:xfrm>
            <a:off x="339553" y="260649"/>
            <a:ext cx="1268960" cy="438775"/>
            <a:chOff x="254665" y="195486"/>
            <a:chExt cx="951720" cy="329081"/>
          </a:xfrm>
        </p:grpSpPr>
        <p:sp>
          <p:nvSpPr>
            <p:cNvPr id="187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8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9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0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1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2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3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4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5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6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7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8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9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0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pic>
        <p:nvPicPr>
          <p:cNvPr id="54" name="Рисунок 53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4574" y="2514255"/>
            <a:ext cx="1635891" cy="228848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55" name="Рисунок 54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82338" y="2514255"/>
            <a:ext cx="1717040" cy="228704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57" name="Рисунок 56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51252" y="2515474"/>
            <a:ext cx="1703847" cy="228704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50" name="Прямоугольник 49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335360" y="6516869"/>
            <a:ext cx="3411921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914377">
              <a:defRPr/>
            </a:pPr>
            <a:r>
              <a:rPr lang="ru-RU" sz="1200" dirty="0">
                <a:solidFill>
                  <a:prstClr val="white">
                    <a:lumMod val="65000"/>
                  </a:prstClr>
                </a:solidFill>
                <a:latin typeface="Calibri"/>
              </a:rPr>
              <a:t>© АО «Издательство «Просвещение», 20</a:t>
            </a:r>
            <a:r>
              <a:rPr lang="en-US" sz="1200" dirty="0" smtClean="0">
                <a:solidFill>
                  <a:prstClr val="white">
                    <a:lumMod val="65000"/>
                  </a:prstClr>
                </a:solidFill>
                <a:latin typeface="Calibri"/>
              </a:rPr>
              <a:t>21</a:t>
            </a:r>
            <a:endParaRPr lang="ru-RU" sz="1200" dirty="0">
              <a:solidFill>
                <a:prstClr val="white">
                  <a:lumMod val="6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0231948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Прямоугольник 52"/>
          <p:cNvSpPr/>
          <p:nvPr/>
        </p:nvSpPr>
        <p:spPr>
          <a:xfrm>
            <a:off x="-3051" y="886395"/>
            <a:ext cx="12192000" cy="3045621"/>
          </a:xfrm>
          <a:prstGeom prst="rect">
            <a:avLst/>
          </a:prstGeom>
          <a:solidFill>
            <a:srgbClr val="F0F8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grpSp>
        <p:nvGrpSpPr>
          <p:cNvPr id="4" name="Группа 3"/>
          <p:cNvGrpSpPr/>
          <p:nvPr/>
        </p:nvGrpSpPr>
        <p:grpSpPr>
          <a:xfrm>
            <a:off x="339553" y="260649"/>
            <a:ext cx="1268960" cy="438775"/>
            <a:chOff x="254665" y="195486"/>
            <a:chExt cx="951720" cy="329081"/>
          </a:xfrm>
        </p:grpSpPr>
        <p:sp>
          <p:nvSpPr>
            <p:cNvPr id="32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33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34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35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36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37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38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39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40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41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42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43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44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45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</p:grpSp>
      <p:cxnSp>
        <p:nvCxnSpPr>
          <p:cNvPr id="47" name="Прямая соединительная линия 46"/>
          <p:cNvCxnSpPr/>
          <p:nvPr/>
        </p:nvCxnSpPr>
        <p:spPr>
          <a:xfrm>
            <a:off x="1967541" y="0"/>
            <a:ext cx="0" cy="670171"/>
          </a:xfrm>
          <a:prstGeom prst="line">
            <a:avLst/>
          </a:prstGeom>
          <a:ln w="6350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29259" y="6432715"/>
            <a:ext cx="719403" cy="356659"/>
          </a:xfrm>
        </p:spPr>
        <p:txBody>
          <a:bodyPr/>
          <a:lstStyle/>
          <a:p>
            <a:fld id="{00000000-1234-1234-1234-123412341234}" type="slidenum">
              <a:rPr lang="en" sz="1600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</a:rPr>
              <a:pPr/>
              <a:t>42</a:t>
            </a:fld>
            <a:endParaRPr lang="en" sz="1600" dirty="0">
              <a:solidFill>
                <a:schemeClr val="tx1">
                  <a:lumMod val="75000"/>
                  <a:lumOff val="25000"/>
                </a:schemeClr>
              </a:solidFill>
              <a:latin typeface="Calibri" pitchFamily="34" charset="0"/>
            </a:endParaRPr>
          </a:p>
        </p:txBody>
      </p:sp>
      <p:sp>
        <p:nvSpPr>
          <p:cNvPr id="21" name="Прямоугольник 20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335360" y="6516869"/>
            <a:ext cx="3411921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914377">
              <a:defRPr/>
            </a:pPr>
            <a:r>
              <a:rPr lang="ru-RU" sz="1200" dirty="0">
                <a:solidFill>
                  <a:prstClr val="white">
                    <a:lumMod val="65000"/>
                  </a:prstClr>
                </a:solidFill>
                <a:latin typeface="Calibri"/>
              </a:rPr>
              <a:t>© АО «Издательство «Просвещение», 20</a:t>
            </a:r>
            <a:r>
              <a:rPr lang="en-US" sz="1200" dirty="0" smtClean="0">
                <a:solidFill>
                  <a:prstClr val="white">
                    <a:lumMod val="65000"/>
                  </a:prstClr>
                </a:solidFill>
                <a:latin typeface="Calibri"/>
              </a:rPr>
              <a:t>21</a:t>
            </a:r>
            <a:endParaRPr lang="ru-RU" sz="1200" dirty="0">
              <a:solidFill>
                <a:prstClr val="white">
                  <a:lumMod val="65000"/>
                </a:prstClr>
              </a:solidFill>
              <a:latin typeface="Calibri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2123059" y="192745"/>
            <a:ext cx="4498796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000" b="1" dirty="0" smtClean="0">
                <a:solidFill>
                  <a:srgbClr val="002060"/>
                </a:solidFill>
              </a:rPr>
              <a:t>Линия УМК </a:t>
            </a:r>
            <a:r>
              <a:rPr lang="ru-RU" sz="2000" b="1" dirty="0" smtClean="0">
                <a:solidFill>
                  <a:srgbClr val="FF0000"/>
                </a:solidFill>
              </a:rPr>
              <a:t>«Архимед</a:t>
            </a:r>
            <a:r>
              <a:rPr lang="ru-RU" sz="2000" b="1" dirty="0">
                <a:solidFill>
                  <a:srgbClr val="FF0000"/>
                </a:solidFill>
              </a:rPr>
              <a:t>» О.Ф. </a:t>
            </a:r>
            <a:r>
              <a:rPr lang="ru-RU" sz="2000" b="1" dirty="0" err="1">
                <a:solidFill>
                  <a:srgbClr val="FF0000"/>
                </a:solidFill>
              </a:rPr>
              <a:t>Кабардин</a:t>
            </a:r>
            <a:endParaRPr lang="ru-RU" sz="2000" b="1" dirty="0">
              <a:solidFill>
                <a:srgbClr val="FF0000"/>
              </a:solidFill>
            </a:endParaRPr>
          </a:p>
        </p:txBody>
      </p:sp>
      <p:sp>
        <p:nvSpPr>
          <p:cNvPr id="29" name="Прямоугольник 28"/>
          <p:cNvSpPr/>
          <p:nvPr/>
        </p:nvSpPr>
        <p:spPr>
          <a:xfrm>
            <a:off x="544315" y="4233165"/>
            <a:ext cx="1784733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b="1" i="0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ea typeface="Cambria" panose="02040503050406030204" pitchFamily="18" charset="0"/>
                <a:cs typeface="Calibri" panose="020F0502020204030204" pitchFamily="34" charset="0"/>
              </a:rPr>
              <a:t>В ФПУ</a:t>
            </a:r>
          </a:p>
          <a:p>
            <a:pPr lvl="0" algn="ctr">
              <a:defRPr/>
            </a:pPr>
            <a:r>
              <a:rPr lang="ru-RU" dirty="0" smtClean="0">
                <a:solidFill>
                  <a:srgbClr val="002060"/>
                </a:solidFill>
                <a:ea typeface="Cambria" panose="02040503050406030204" pitchFamily="18" charset="0"/>
                <a:cs typeface="Calibri" panose="020F0502020204030204" pitchFamily="34" charset="0"/>
              </a:rPr>
              <a:t>1.1.2.5.1.6.1</a:t>
            </a:r>
          </a:p>
          <a:p>
            <a:pPr lvl="0" algn="ctr">
              <a:defRPr/>
            </a:pPr>
            <a:r>
              <a:rPr lang="ru-RU" dirty="0" smtClean="0">
                <a:solidFill>
                  <a:srgbClr val="002060"/>
                </a:solidFill>
                <a:ea typeface="Cambria" panose="02040503050406030204" pitchFamily="18" charset="0"/>
                <a:cs typeface="Calibri" panose="020F0502020204030204" pitchFamily="34" charset="0"/>
              </a:rPr>
              <a:t>1.1.2.5.1.6.2</a:t>
            </a:r>
            <a:endParaRPr kumimoji="0" lang="ru-RU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ea typeface="Cambria" panose="02040503050406030204" pitchFamily="18" charset="0"/>
              <a:cs typeface="Calibri" panose="020F0502020204030204" pitchFamily="34" charset="0"/>
            </a:endParaRPr>
          </a:p>
          <a:p>
            <a:pPr lvl="0" algn="ctr">
              <a:defRPr/>
            </a:pPr>
            <a:r>
              <a:rPr lang="ru-RU" dirty="0" smtClean="0">
                <a:solidFill>
                  <a:srgbClr val="002060"/>
                </a:solidFill>
                <a:ea typeface="Cambria" panose="02040503050406030204" pitchFamily="18" charset="0"/>
                <a:cs typeface="Calibri" panose="020F0502020204030204" pitchFamily="34" charset="0"/>
              </a:rPr>
              <a:t>1.1.2.5.1.6.3</a:t>
            </a:r>
            <a:endParaRPr kumimoji="0" lang="ru-RU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ea typeface="Cambria" panose="02040503050406030204" pitchFamily="18" charset="0"/>
              <a:cs typeface="Calibri" panose="020F0502020204030204" pitchFamily="34" charset="0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5942592" y="4233165"/>
            <a:ext cx="1762730" cy="3277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lnSpc>
                <a:spcPct val="85000"/>
              </a:lnSpc>
              <a:defRPr/>
            </a:pPr>
            <a:r>
              <a:rPr lang="ru-RU" b="1" dirty="0" smtClean="0">
                <a:solidFill>
                  <a:srgbClr val="002060"/>
                </a:solidFill>
                <a:ea typeface="Open Sans Condensed" pitchFamily="34" charset="0"/>
                <a:cs typeface="Open Sans Condensed" pitchFamily="34" charset="0"/>
              </a:rPr>
              <a:t>Состав УМК</a:t>
            </a:r>
            <a:r>
              <a:rPr lang="ru-RU" b="1" dirty="0">
                <a:solidFill>
                  <a:srgbClr val="002060"/>
                </a:solidFill>
                <a:ea typeface="Open Sans Condensed" pitchFamily="34" charset="0"/>
                <a:cs typeface="Open Sans Condensed" pitchFamily="34" charset="0"/>
              </a:rPr>
              <a:t>: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4948801" y="4530791"/>
            <a:ext cx="4534876" cy="12695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lvl="0" indent="-342900">
              <a:lnSpc>
                <a:spcPct val="85000"/>
              </a:lnSpc>
              <a:buFont typeface="Arial" panose="020B0604020202020204" pitchFamily="34" charset="0"/>
              <a:buChar char="•"/>
              <a:defRPr/>
            </a:pPr>
            <a:r>
              <a:rPr lang="ru-RU" dirty="0" smtClean="0">
                <a:solidFill>
                  <a:srgbClr val="002060"/>
                </a:solidFill>
                <a:ea typeface="Open Sans Condensed" pitchFamily="34" charset="0"/>
                <a:cs typeface="Open Sans Condensed" pitchFamily="34" charset="0"/>
              </a:rPr>
              <a:t>Учебник</a:t>
            </a:r>
          </a:p>
          <a:p>
            <a:pPr marL="342900" lvl="0" indent="-342900">
              <a:lnSpc>
                <a:spcPct val="85000"/>
              </a:lnSpc>
              <a:buFont typeface="Arial" panose="020B0604020202020204" pitchFamily="34" charset="0"/>
              <a:buChar char="•"/>
              <a:defRPr/>
            </a:pPr>
            <a:r>
              <a:rPr lang="ru-RU" dirty="0" smtClean="0">
                <a:solidFill>
                  <a:srgbClr val="002060"/>
                </a:solidFill>
                <a:ea typeface="Open Sans Condensed" pitchFamily="34" charset="0"/>
                <a:cs typeface="Open Sans Condensed" pitchFamily="34" charset="0"/>
              </a:rPr>
              <a:t>Рабочая программа</a:t>
            </a:r>
            <a:endParaRPr lang="ru-RU" dirty="0">
              <a:solidFill>
                <a:srgbClr val="002060"/>
              </a:solidFill>
              <a:ea typeface="Open Sans Condensed" pitchFamily="34" charset="0"/>
              <a:cs typeface="Open Sans Condensed" pitchFamily="34" charset="0"/>
            </a:endParaRPr>
          </a:p>
          <a:p>
            <a:pPr marL="342900" lvl="0" indent="-342900">
              <a:lnSpc>
                <a:spcPct val="85000"/>
              </a:lnSpc>
              <a:buFont typeface="Arial" panose="020B0604020202020204" pitchFamily="34" charset="0"/>
              <a:buChar char="•"/>
              <a:defRPr/>
            </a:pPr>
            <a:r>
              <a:rPr lang="ru-RU" dirty="0" smtClean="0">
                <a:solidFill>
                  <a:srgbClr val="002060"/>
                </a:solidFill>
                <a:ea typeface="Open Sans Condensed" pitchFamily="34" charset="0"/>
                <a:cs typeface="Open Sans Condensed" pitchFamily="34" charset="0"/>
              </a:rPr>
              <a:t>Поурочные разработки</a:t>
            </a:r>
          </a:p>
          <a:p>
            <a:pPr marL="342900" lvl="0" indent="-342900">
              <a:lnSpc>
                <a:spcPct val="85000"/>
              </a:lnSpc>
              <a:buFont typeface="Arial" panose="020B0604020202020204" pitchFamily="34" charset="0"/>
              <a:buChar char="•"/>
              <a:defRPr/>
            </a:pPr>
            <a:r>
              <a:rPr lang="ru-RU" dirty="0" smtClean="0">
                <a:solidFill>
                  <a:srgbClr val="002060"/>
                </a:solidFill>
                <a:ea typeface="Open Sans Condensed" pitchFamily="34" charset="0"/>
                <a:cs typeface="Open Sans Condensed" pitchFamily="34" charset="0"/>
              </a:rPr>
              <a:t>Книга для учителя</a:t>
            </a:r>
          </a:p>
          <a:p>
            <a:pPr marL="342900" lvl="0" indent="-342900">
              <a:lnSpc>
                <a:spcPct val="85000"/>
              </a:lnSpc>
              <a:buFont typeface="Arial" panose="020B0604020202020204" pitchFamily="34" charset="0"/>
              <a:buChar char="•"/>
              <a:defRPr/>
            </a:pPr>
            <a:r>
              <a:rPr lang="ru-RU" dirty="0" smtClean="0">
                <a:solidFill>
                  <a:srgbClr val="002060"/>
                </a:solidFill>
                <a:ea typeface="Open Sans Condensed" pitchFamily="34" charset="0"/>
                <a:cs typeface="Open Sans Condensed" pitchFamily="34" charset="0"/>
              </a:rPr>
              <a:t>Рабочие тетради</a:t>
            </a:r>
          </a:p>
        </p:txBody>
      </p:sp>
      <p:pic>
        <p:nvPicPr>
          <p:cNvPr id="46" name="Рисунок 4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20031" y="4841070"/>
            <a:ext cx="467164" cy="218385"/>
          </a:xfrm>
          <a:prstGeom prst="rect">
            <a:avLst/>
          </a:prstGeom>
        </p:spPr>
      </p:pic>
      <p:pic>
        <p:nvPicPr>
          <p:cNvPr id="48" name="Рисунок 4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05323" y="5081902"/>
            <a:ext cx="446358" cy="208659"/>
          </a:xfrm>
          <a:prstGeom prst="rect">
            <a:avLst/>
          </a:prstGeom>
        </p:spPr>
      </p:pic>
      <p:pic>
        <p:nvPicPr>
          <p:cNvPr id="49" name="Рисунок 48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40869" y="5290561"/>
            <a:ext cx="446358" cy="208659"/>
          </a:xfrm>
          <a:prstGeom prst="rect">
            <a:avLst/>
          </a:prstGeom>
        </p:spPr>
      </p:pic>
      <p:sp>
        <p:nvSpPr>
          <p:cNvPr id="52" name="TextBox 51"/>
          <p:cNvSpPr txBox="1"/>
          <p:nvPr/>
        </p:nvSpPr>
        <p:spPr>
          <a:xfrm>
            <a:off x="2757363" y="1623747"/>
            <a:ext cx="9125335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ü"/>
              <a:defRPr/>
            </a:pPr>
            <a:r>
              <a:rPr lang="ru-RU" dirty="0">
                <a:solidFill>
                  <a:srgbClr val="002060"/>
                </a:solidFill>
                <a:ea typeface="Open Sans Condensed" pitchFamily="34" charset="0"/>
                <a:cs typeface="Open Sans Condensed" pitchFamily="34" charset="0"/>
              </a:rPr>
              <a:t>При изложении материала использован </a:t>
            </a:r>
            <a:r>
              <a:rPr lang="ru-RU" dirty="0" smtClean="0">
                <a:solidFill>
                  <a:srgbClr val="002060"/>
                </a:solidFill>
                <a:ea typeface="Open Sans Condensed" pitchFamily="34" charset="0"/>
                <a:cs typeface="Open Sans Condensed" pitchFamily="34" charset="0"/>
              </a:rPr>
              <a:t>проблемный подход</a:t>
            </a:r>
            <a:endParaRPr lang="ru-RU" dirty="0">
              <a:solidFill>
                <a:srgbClr val="002060"/>
              </a:solidFill>
              <a:ea typeface="Open Sans Condensed" pitchFamily="34" charset="0"/>
              <a:cs typeface="Open Sans Condensed" pitchFamily="34" charset="0"/>
            </a:endParaRPr>
          </a:p>
          <a:p>
            <a:pPr marL="342900" lvl="0" indent="-342900">
              <a:lnSpc>
                <a:spcPct val="150000"/>
              </a:lnSpc>
              <a:buFont typeface="Wingdings" panose="05000000000000000000" pitchFamily="2" charset="2"/>
              <a:buChar char="ü"/>
              <a:defRPr/>
            </a:pPr>
            <a:r>
              <a:rPr lang="ru-RU" dirty="0">
                <a:solidFill>
                  <a:srgbClr val="002060"/>
                </a:solidFill>
                <a:ea typeface="Open Sans Condensed" pitchFamily="34" charset="0"/>
                <a:cs typeface="Open Sans Condensed" pitchFamily="34" charset="0"/>
              </a:rPr>
              <a:t>Учебный материал ориентирован на </a:t>
            </a:r>
            <a:r>
              <a:rPr lang="ru-RU" dirty="0" smtClean="0">
                <a:solidFill>
                  <a:srgbClr val="002060"/>
                </a:solidFill>
                <a:ea typeface="Open Sans Condensed" pitchFamily="34" charset="0"/>
                <a:cs typeface="Open Sans Condensed" pitchFamily="34" charset="0"/>
              </a:rPr>
              <a:t>экспериментальную </a:t>
            </a:r>
            <a:r>
              <a:rPr lang="ru-RU" dirty="0">
                <a:solidFill>
                  <a:srgbClr val="002060"/>
                </a:solidFill>
                <a:ea typeface="Open Sans Condensed" pitchFamily="34" charset="0"/>
                <a:cs typeface="Open Sans Condensed" pitchFamily="34" charset="0"/>
              </a:rPr>
              <a:t>деятельность учащихся</a:t>
            </a:r>
          </a:p>
          <a:p>
            <a:pPr marL="342900" lvl="0" indent="-342900">
              <a:lnSpc>
                <a:spcPct val="150000"/>
              </a:lnSpc>
              <a:buFont typeface="Wingdings" panose="05000000000000000000" pitchFamily="2" charset="2"/>
              <a:buChar char="ü"/>
              <a:defRPr/>
            </a:pPr>
            <a:r>
              <a:rPr lang="ru-RU" dirty="0" smtClean="0">
                <a:solidFill>
                  <a:srgbClr val="002060"/>
                </a:solidFill>
                <a:ea typeface="Open Sans Condensed" pitchFamily="34" charset="0"/>
                <a:cs typeface="Open Sans Condensed" pitchFamily="34" charset="0"/>
              </a:rPr>
              <a:t>Система подготовки к ОГЭ находится в учебнике</a:t>
            </a:r>
          </a:p>
          <a:p>
            <a:pPr marL="342900" lvl="0" indent="-342900">
              <a:lnSpc>
                <a:spcPct val="150000"/>
              </a:lnSpc>
              <a:buFont typeface="Wingdings" panose="05000000000000000000" pitchFamily="2" charset="2"/>
              <a:buChar char="ü"/>
              <a:defRPr/>
            </a:pPr>
            <a:r>
              <a:rPr lang="ru-RU" dirty="0" smtClean="0">
                <a:solidFill>
                  <a:srgbClr val="002060"/>
                </a:solidFill>
                <a:ea typeface="Open Sans Condensed" pitchFamily="34" charset="0"/>
                <a:cs typeface="Open Sans Condensed" pitchFamily="34" charset="0"/>
              </a:rPr>
              <a:t>Преемственность с УМК под ред. А.А. </a:t>
            </a:r>
            <a:r>
              <a:rPr lang="ru-RU" dirty="0" err="1" smtClean="0">
                <a:solidFill>
                  <a:srgbClr val="002060"/>
                </a:solidFill>
                <a:ea typeface="Open Sans Condensed" pitchFamily="34" charset="0"/>
                <a:cs typeface="Open Sans Condensed" pitchFamily="34" charset="0"/>
              </a:rPr>
              <a:t>Пинского</a:t>
            </a:r>
            <a:r>
              <a:rPr lang="ru-RU" dirty="0" smtClean="0">
                <a:solidFill>
                  <a:srgbClr val="002060"/>
                </a:solidFill>
                <a:ea typeface="Open Sans Condensed" pitchFamily="34" charset="0"/>
                <a:cs typeface="Open Sans Condensed" pitchFamily="34" charset="0"/>
              </a:rPr>
              <a:t> в 10-11 классах (углубленный уровень)</a:t>
            </a:r>
            <a:endParaRPr lang="ru-RU" dirty="0">
              <a:solidFill>
                <a:srgbClr val="002060"/>
              </a:solidFill>
              <a:ea typeface="Open Sans Condensed" pitchFamily="34" charset="0"/>
              <a:cs typeface="Open Sans Condensed" pitchFamily="34" charset="0"/>
            </a:endParaRPr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3491" y="1007406"/>
            <a:ext cx="1380246" cy="1930860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6050" y="1452551"/>
            <a:ext cx="1478104" cy="1929640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5021" y="1917183"/>
            <a:ext cx="1437582" cy="1929640"/>
          </a:xfrm>
          <a:prstGeom prst="rect">
            <a:avLst/>
          </a:prstGeom>
        </p:spPr>
      </p:pic>
      <p:sp>
        <p:nvSpPr>
          <p:cNvPr id="3" name="Прямоугольник 2"/>
          <p:cNvSpPr/>
          <p:nvPr/>
        </p:nvSpPr>
        <p:spPr>
          <a:xfrm>
            <a:off x="2713255" y="903524"/>
            <a:ext cx="8949658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 smtClean="0">
                <a:solidFill>
                  <a:srgbClr val="FF0000"/>
                </a:solidFill>
              </a:rPr>
              <a:t>Традиционный подход в преподавании физики для </a:t>
            </a:r>
            <a:r>
              <a:rPr lang="ru-RU" b="1" dirty="0" err="1" smtClean="0">
                <a:solidFill>
                  <a:srgbClr val="FF0000"/>
                </a:solidFill>
              </a:rPr>
              <a:t>предпрофильных</a:t>
            </a:r>
            <a:r>
              <a:rPr lang="ru-RU" b="1" dirty="0" smtClean="0">
                <a:solidFill>
                  <a:srgbClr val="FF0000"/>
                </a:solidFill>
              </a:rPr>
              <a:t> классов</a:t>
            </a:r>
            <a:endParaRPr lang="ru-RU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711151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Прямоугольник 44"/>
          <p:cNvSpPr/>
          <p:nvPr/>
        </p:nvSpPr>
        <p:spPr>
          <a:xfrm>
            <a:off x="7010143" y="-70075"/>
            <a:ext cx="5177889" cy="6888480"/>
          </a:xfrm>
          <a:prstGeom prst="rect">
            <a:avLst/>
          </a:prstGeom>
          <a:solidFill>
            <a:srgbClr val="D8EBF4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id="{C57A16CD-55A2-4F01-A658-438A93B431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868" name="Слайд think-cell" r:id="rId5" imgW="359" imgH="360" progId="TCLayout.ActiveDocument.1">
                  <p:embed/>
                </p:oleObj>
              </mc:Choice>
              <mc:Fallback>
                <p:oleObj name="Слайд think-cell" r:id="rId5" imgW="359" imgH="360" progId="TCLayout.ActiveDocument.1">
                  <p:embed/>
                  <p:pic>
                    <p:nvPicPr>
                      <p:cNvPr id="4" name="Объект 3" hidden="1">
                        <a:extLst>
                          <a:ext uri="{FF2B5EF4-FFF2-40B4-BE49-F238E27FC236}">
                            <a16:creationId xmlns:a16="http://schemas.microsoft.com/office/drawing/2014/main" id="{C57A16CD-55A2-4F01-A658-438A93B431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Номер слайда 8"/>
          <p:cNvSpPr txBox="1">
            <a:spLocks/>
          </p:cNvSpPr>
          <p:nvPr/>
        </p:nvSpPr>
        <p:spPr>
          <a:xfrm>
            <a:off x="8763000" y="65087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8" name="Прямоугольник 27"/>
          <p:cNvSpPr/>
          <p:nvPr/>
        </p:nvSpPr>
        <p:spPr>
          <a:xfrm>
            <a:off x="7219412" y="2163002"/>
            <a:ext cx="3582899" cy="195951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ea typeface="Open Sans" panose="020B0606030504020204" pitchFamily="34" charset="0"/>
                <a:cs typeface="Open Sans" panose="020B0606030504020204" pitchFamily="34" charset="0"/>
              </a:rPr>
              <a:t>Содержание</a:t>
            </a:r>
          </a:p>
          <a:p>
            <a:pPr marL="285750" lvl="0" indent="-285750">
              <a:spcBef>
                <a:spcPts val="1600"/>
              </a:spcBef>
              <a:buBlip>
                <a:blip r:embed="rId7"/>
              </a:buBlip>
              <a:defRPr/>
            </a:pPr>
            <a:r>
              <a:rPr lang="ru-RU" sz="1400" dirty="0">
                <a:solidFill>
                  <a:srgbClr val="002060"/>
                </a:solidFill>
                <a:ea typeface="Open Sans" pitchFamily="34" charset="0"/>
                <a:cs typeface="Open Sans" pitchFamily="34" charset="0"/>
              </a:rPr>
              <a:t>Линия УМК А.В. Грачева и др.</a:t>
            </a:r>
          </a:p>
          <a:p>
            <a:pPr marL="285750" lvl="0" indent="-285750">
              <a:spcBef>
                <a:spcPts val="1600"/>
              </a:spcBef>
              <a:buBlip>
                <a:blip r:embed="rId7"/>
              </a:buBlip>
              <a:defRPr/>
            </a:pPr>
            <a:r>
              <a:rPr lang="ru-RU" sz="1400" dirty="0">
                <a:solidFill>
                  <a:srgbClr val="002060"/>
                </a:solidFill>
                <a:ea typeface="Open Sans" pitchFamily="34" charset="0"/>
                <a:cs typeface="Open Sans" pitchFamily="34" charset="0"/>
              </a:rPr>
              <a:t>Система обучения решению задач</a:t>
            </a:r>
          </a:p>
          <a:p>
            <a:pPr marL="285750" lvl="0" indent="-285750">
              <a:spcBef>
                <a:spcPts val="1600"/>
              </a:spcBef>
              <a:buBlip>
                <a:blip r:embed="rId7"/>
              </a:buBlip>
              <a:defRPr/>
            </a:pPr>
            <a:r>
              <a:rPr lang="ru-RU" sz="1400" dirty="0">
                <a:solidFill>
                  <a:srgbClr val="002060"/>
                </a:solidFill>
                <a:ea typeface="Open Sans" pitchFamily="34" charset="0"/>
                <a:cs typeface="Open Sans" pitchFamily="34" charset="0"/>
              </a:rPr>
              <a:t>Систематизация физических знаний</a:t>
            </a:r>
          </a:p>
          <a:p>
            <a:pPr marL="285750" lvl="0" indent="-285750">
              <a:spcBef>
                <a:spcPts val="1600"/>
              </a:spcBef>
              <a:buBlip>
                <a:blip r:embed="rId7"/>
              </a:buBlip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ea typeface="Open Sans" pitchFamily="34" charset="0"/>
                <a:cs typeface="Open Sans" pitchFamily="34" charset="0"/>
              </a:rPr>
              <a:t>Компоненты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ea typeface="Open Sans" pitchFamily="34" charset="0"/>
                <a:cs typeface="Open Sans" pitchFamily="34" charset="0"/>
              </a:rPr>
              <a:t>линии </a:t>
            </a:r>
            <a:r>
              <a:rPr lang="ru-RU" sz="1400" dirty="0">
                <a:solidFill>
                  <a:srgbClr val="002060"/>
                </a:solidFill>
                <a:ea typeface="Open Sans" pitchFamily="34" charset="0"/>
                <a:cs typeface="Open Sans" pitchFamily="34" charset="0"/>
              </a:rPr>
              <a:t>УМК А.В. Грачева и др.</a:t>
            </a:r>
          </a:p>
        </p:txBody>
      </p:sp>
      <p:grpSp>
        <p:nvGrpSpPr>
          <p:cNvPr id="6" name="Группа 5"/>
          <p:cNvGrpSpPr/>
          <p:nvPr/>
        </p:nvGrpSpPr>
        <p:grpSpPr>
          <a:xfrm>
            <a:off x="11375669" y="-4589"/>
            <a:ext cx="813280" cy="6790912"/>
            <a:chOff x="8531752" y="-3442"/>
            <a:chExt cx="609960" cy="5093184"/>
          </a:xfrm>
        </p:grpSpPr>
        <p:sp>
          <p:nvSpPr>
            <p:cNvPr id="32" name="Rectangle 10"/>
            <p:cNvSpPr>
              <a:spLocks noChangeArrowheads="1"/>
            </p:cNvSpPr>
            <p:nvPr/>
          </p:nvSpPr>
          <p:spPr bwMode="auto">
            <a:xfrm>
              <a:off x="8531752" y="1693368"/>
              <a:ext cx="609272" cy="566063"/>
            </a:xfrm>
            <a:prstGeom prst="rect">
              <a:avLst/>
            </a:prstGeom>
            <a:solidFill>
              <a:srgbClr val="40D4E2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0" name="Rectangle 13"/>
            <p:cNvSpPr>
              <a:spLocks noChangeArrowheads="1"/>
            </p:cNvSpPr>
            <p:nvPr/>
          </p:nvSpPr>
          <p:spPr bwMode="auto">
            <a:xfrm>
              <a:off x="8531752" y="3957617"/>
              <a:ext cx="609272" cy="566063"/>
            </a:xfrm>
            <a:prstGeom prst="rect">
              <a:avLst/>
            </a:prstGeom>
            <a:solidFill>
              <a:srgbClr val="43D1A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1" name="Rectangle 14"/>
            <p:cNvSpPr>
              <a:spLocks noChangeArrowheads="1"/>
            </p:cNvSpPr>
            <p:nvPr/>
          </p:nvSpPr>
          <p:spPr bwMode="auto">
            <a:xfrm>
              <a:off x="8532440" y="3391554"/>
              <a:ext cx="609272" cy="566063"/>
            </a:xfrm>
            <a:prstGeom prst="rect">
              <a:avLst/>
            </a:prstGeom>
            <a:solidFill>
              <a:srgbClr val="5471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4" name="Rectangle 17"/>
            <p:cNvSpPr>
              <a:spLocks noChangeArrowheads="1"/>
            </p:cNvSpPr>
            <p:nvPr/>
          </p:nvSpPr>
          <p:spPr bwMode="auto">
            <a:xfrm>
              <a:off x="8531753" y="-3442"/>
              <a:ext cx="609272" cy="566063"/>
            </a:xfrm>
            <a:prstGeom prst="rect">
              <a:avLst/>
            </a:prstGeom>
            <a:solidFill>
              <a:srgbClr val="F5B1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6" name="Rectangle 19"/>
            <p:cNvSpPr>
              <a:spLocks noChangeArrowheads="1"/>
            </p:cNvSpPr>
            <p:nvPr/>
          </p:nvSpPr>
          <p:spPr bwMode="auto">
            <a:xfrm>
              <a:off x="8532440" y="2259429"/>
              <a:ext cx="609272" cy="566063"/>
            </a:xfrm>
            <a:prstGeom prst="rect">
              <a:avLst/>
            </a:prstGeom>
            <a:solidFill>
              <a:srgbClr val="40A7E1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8" name="Rectangle 21"/>
            <p:cNvSpPr>
              <a:spLocks noChangeArrowheads="1"/>
            </p:cNvSpPr>
            <p:nvPr/>
          </p:nvSpPr>
          <p:spPr bwMode="auto">
            <a:xfrm>
              <a:off x="8532440" y="4523679"/>
              <a:ext cx="609272" cy="566063"/>
            </a:xfrm>
            <a:prstGeom prst="rect">
              <a:avLst/>
            </a:prstGeom>
            <a:solidFill>
              <a:srgbClr val="F5B144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9" name="Rectangle 22"/>
            <p:cNvSpPr>
              <a:spLocks noChangeArrowheads="1"/>
            </p:cNvSpPr>
            <p:nvPr/>
          </p:nvSpPr>
          <p:spPr bwMode="auto">
            <a:xfrm>
              <a:off x="8531753" y="1127076"/>
              <a:ext cx="609272" cy="566063"/>
            </a:xfrm>
            <a:prstGeom prst="rect">
              <a:avLst/>
            </a:prstGeom>
            <a:solidFill>
              <a:srgbClr val="43D1A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2" name="Rectangle 25"/>
            <p:cNvSpPr>
              <a:spLocks noChangeArrowheads="1"/>
            </p:cNvSpPr>
            <p:nvPr/>
          </p:nvSpPr>
          <p:spPr bwMode="auto">
            <a:xfrm>
              <a:off x="8532440" y="2825491"/>
              <a:ext cx="609272" cy="566063"/>
            </a:xfrm>
            <a:prstGeom prst="rect">
              <a:avLst/>
            </a:prstGeom>
            <a:solidFill>
              <a:srgbClr val="4383D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6" name="Rectangle 29"/>
            <p:cNvSpPr>
              <a:spLocks noChangeArrowheads="1"/>
            </p:cNvSpPr>
            <p:nvPr/>
          </p:nvSpPr>
          <p:spPr bwMode="auto">
            <a:xfrm>
              <a:off x="8531753" y="561014"/>
              <a:ext cx="609272" cy="566063"/>
            </a:xfrm>
            <a:prstGeom prst="rect">
              <a:avLst/>
            </a:prstGeom>
            <a:solidFill>
              <a:srgbClr val="9ED4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9" name="Freeform 32"/>
            <p:cNvSpPr>
              <a:spLocks noEditPoints="1"/>
            </p:cNvSpPr>
            <p:nvPr/>
          </p:nvSpPr>
          <p:spPr bwMode="auto">
            <a:xfrm>
              <a:off x="8700607" y="1885691"/>
              <a:ext cx="271564" cy="203921"/>
            </a:xfrm>
            <a:custGeom>
              <a:avLst/>
              <a:gdLst>
                <a:gd name="T0" fmla="*/ 787 w 859"/>
                <a:gd name="T1" fmla="*/ 107 h 644"/>
                <a:gd name="T2" fmla="*/ 787 w 859"/>
                <a:gd name="T3" fmla="*/ 573 h 644"/>
                <a:gd name="T4" fmla="*/ 537 w 859"/>
                <a:gd name="T5" fmla="*/ 573 h 644"/>
                <a:gd name="T6" fmla="*/ 465 w 859"/>
                <a:gd name="T7" fmla="*/ 644 h 644"/>
                <a:gd name="T8" fmla="*/ 859 w 859"/>
                <a:gd name="T9" fmla="*/ 644 h 644"/>
                <a:gd name="T10" fmla="*/ 859 w 859"/>
                <a:gd name="T11" fmla="*/ 107 h 644"/>
                <a:gd name="T12" fmla="*/ 787 w 859"/>
                <a:gd name="T13" fmla="*/ 107 h 644"/>
                <a:gd name="T14" fmla="*/ 476 w 859"/>
                <a:gd name="T15" fmla="*/ 476 h 644"/>
                <a:gd name="T16" fmla="*/ 383 w 859"/>
                <a:gd name="T17" fmla="*/ 476 h 644"/>
                <a:gd name="T18" fmla="*/ 373 w 859"/>
                <a:gd name="T19" fmla="*/ 465 h 644"/>
                <a:gd name="T20" fmla="*/ 179 w 859"/>
                <a:gd name="T21" fmla="*/ 465 h 644"/>
                <a:gd name="T22" fmla="*/ 179 w 859"/>
                <a:gd name="T23" fmla="*/ 71 h 644"/>
                <a:gd name="T24" fmla="*/ 344 w 859"/>
                <a:gd name="T25" fmla="*/ 71 h 644"/>
                <a:gd name="T26" fmla="*/ 393 w 859"/>
                <a:gd name="T27" fmla="*/ 96 h 644"/>
                <a:gd name="T28" fmla="*/ 393 w 859"/>
                <a:gd name="T29" fmla="*/ 358 h 644"/>
                <a:gd name="T30" fmla="*/ 465 w 859"/>
                <a:gd name="T31" fmla="*/ 358 h 644"/>
                <a:gd name="T32" fmla="*/ 465 w 859"/>
                <a:gd name="T33" fmla="*/ 96 h 644"/>
                <a:gd name="T34" fmla="*/ 515 w 859"/>
                <a:gd name="T35" fmla="*/ 71 h 644"/>
                <a:gd name="T36" fmla="*/ 680 w 859"/>
                <a:gd name="T37" fmla="*/ 71 h 644"/>
                <a:gd name="T38" fmla="*/ 680 w 859"/>
                <a:gd name="T39" fmla="*/ 465 h 644"/>
                <a:gd name="T40" fmla="*/ 486 w 859"/>
                <a:gd name="T41" fmla="*/ 465 h 644"/>
                <a:gd name="T42" fmla="*/ 476 w 859"/>
                <a:gd name="T43" fmla="*/ 476 h 644"/>
                <a:gd name="T44" fmla="*/ 752 w 859"/>
                <a:gd name="T45" fmla="*/ 537 h 644"/>
                <a:gd name="T46" fmla="*/ 752 w 859"/>
                <a:gd name="T47" fmla="*/ 0 h 644"/>
                <a:gd name="T48" fmla="*/ 486 w 859"/>
                <a:gd name="T49" fmla="*/ 0 h 644"/>
                <a:gd name="T50" fmla="*/ 476 w 859"/>
                <a:gd name="T51" fmla="*/ 10 h 644"/>
                <a:gd name="T52" fmla="*/ 383 w 859"/>
                <a:gd name="T53" fmla="*/ 10 h 644"/>
                <a:gd name="T54" fmla="*/ 373 w 859"/>
                <a:gd name="T55" fmla="*/ 0 h 644"/>
                <a:gd name="T56" fmla="*/ 107 w 859"/>
                <a:gd name="T57" fmla="*/ 0 h 644"/>
                <a:gd name="T58" fmla="*/ 107 w 859"/>
                <a:gd name="T59" fmla="*/ 537 h 644"/>
                <a:gd name="T60" fmla="*/ 344 w 859"/>
                <a:gd name="T61" fmla="*/ 537 h 644"/>
                <a:gd name="T62" fmla="*/ 429 w 859"/>
                <a:gd name="T63" fmla="*/ 566 h 644"/>
                <a:gd name="T64" fmla="*/ 515 w 859"/>
                <a:gd name="T65" fmla="*/ 537 h 644"/>
                <a:gd name="T66" fmla="*/ 752 w 859"/>
                <a:gd name="T67" fmla="*/ 537 h 644"/>
                <a:gd name="T68" fmla="*/ 71 w 859"/>
                <a:gd name="T69" fmla="*/ 573 h 644"/>
                <a:gd name="T70" fmla="*/ 71 w 859"/>
                <a:gd name="T71" fmla="*/ 107 h 644"/>
                <a:gd name="T72" fmla="*/ 0 w 859"/>
                <a:gd name="T73" fmla="*/ 107 h 644"/>
                <a:gd name="T74" fmla="*/ 0 w 859"/>
                <a:gd name="T75" fmla="*/ 644 h 644"/>
                <a:gd name="T76" fmla="*/ 394 w 859"/>
                <a:gd name="T77" fmla="*/ 644 h 644"/>
                <a:gd name="T78" fmla="*/ 322 w 859"/>
                <a:gd name="T79" fmla="*/ 573 h 644"/>
                <a:gd name="T80" fmla="*/ 71 w 859"/>
                <a:gd name="T81" fmla="*/ 573 h 6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859" h="644">
                  <a:moveTo>
                    <a:pt x="787" y="107"/>
                  </a:moveTo>
                  <a:lnTo>
                    <a:pt x="787" y="573"/>
                  </a:lnTo>
                  <a:lnTo>
                    <a:pt x="537" y="573"/>
                  </a:lnTo>
                  <a:lnTo>
                    <a:pt x="465" y="644"/>
                  </a:lnTo>
                  <a:lnTo>
                    <a:pt x="859" y="644"/>
                  </a:lnTo>
                  <a:lnTo>
                    <a:pt x="859" y="107"/>
                  </a:lnTo>
                  <a:lnTo>
                    <a:pt x="787" y="107"/>
                  </a:lnTo>
                  <a:close/>
                  <a:moveTo>
                    <a:pt x="476" y="476"/>
                  </a:moveTo>
                  <a:cubicBezTo>
                    <a:pt x="450" y="501"/>
                    <a:pt x="409" y="501"/>
                    <a:pt x="383" y="476"/>
                  </a:cubicBezTo>
                  <a:lnTo>
                    <a:pt x="373" y="465"/>
                  </a:lnTo>
                  <a:lnTo>
                    <a:pt x="179" y="465"/>
                  </a:lnTo>
                  <a:lnTo>
                    <a:pt x="179" y="71"/>
                  </a:lnTo>
                  <a:lnTo>
                    <a:pt x="344" y="71"/>
                  </a:lnTo>
                  <a:cubicBezTo>
                    <a:pt x="359" y="71"/>
                    <a:pt x="393" y="91"/>
                    <a:pt x="393" y="96"/>
                  </a:cubicBezTo>
                  <a:lnTo>
                    <a:pt x="393" y="358"/>
                  </a:lnTo>
                  <a:lnTo>
                    <a:pt x="465" y="358"/>
                  </a:lnTo>
                  <a:lnTo>
                    <a:pt x="465" y="96"/>
                  </a:lnTo>
                  <a:cubicBezTo>
                    <a:pt x="465" y="91"/>
                    <a:pt x="500" y="71"/>
                    <a:pt x="515" y="71"/>
                  </a:cubicBezTo>
                  <a:lnTo>
                    <a:pt x="680" y="71"/>
                  </a:lnTo>
                  <a:lnTo>
                    <a:pt x="680" y="465"/>
                  </a:lnTo>
                  <a:lnTo>
                    <a:pt x="486" y="465"/>
                  </a:lnTo>
                  <a:lnTo>
                    <a:pt x="476" y="476"/>
                  </a:lnTo>
                  <a:close/>
                  <a:moveTo>
                    <a:pt x="752" y="537"/>
                  </a:moveTo>
                  <a:lnTo>
                    <a:pt x="752" y="0"/>
                  </a:lnTo>
                  <a:lnTo>
                    <a:pt x="486" y="0"/>
                  </a:lnTo>
                  <a:lnTo>
                    <a:pt x="476" y="10"/>
                  </a:lnTo>
                  <a:cubicBezTo>
                    <a:pt x="450" y="36"/>
                    <a:pt x="409" y="36"/>
                    <a:pt x="383" y="10"/>
                  </a:cubicBezTo>
                  <a:lnTo>
                    <a:pt x="373" y="0"/>
                  </a:lnTo>
                  <a:lnTo>
                    <a:pt x="107" y="0"/>
                  </a:lnTo>
                  <a:lnTo>
                    <a:pt x="107" y="537"/>
                  </a:lnTo>
                  <a:lnTo>
                    <a:pt x="344" y="537"/>
                  </a:lnTo>
                  <a:cubicBezTo>
                    <a:pt x="369" y="573"/>
                    <a:pt x="399" y="566"/>
                    <a:pt x="429" y="566"/>
                  </a:cubicBezTo>
                  <a:cubicBezTo>
                    <a:pt x="460" y="566"/>
                    <a:pt x="490" y="573"/>
                    <a:pt x="515" y="537"/>
                  </a:cubicBezTo>
                  <a:lnTo>
                    <a:pt x="752" y="537"/>
                  </a:lnTo>
                  <a:close/>
                  <a:moveTo>
                    <a:pt x="71" y="573"/>
                  </a:moveTo>
                  <a:lnTo>
                    <a:pt x="71" y="107"/>
                  </a:lnTo>
                  <a:lnTo>
                    <a:pt x="0" y="107"/>
                  </a:lnTo>
                  <a:lnTo>
                    <a:pt x="0" y="644"/>
                  </a:lnTo>
                  <a:lnTo>
                    <a:pt x="394" y="644"/>
                  </a:lnTo>
                  <a:lnTo>
                    <a:pt x="322" y="573"/>
                  </a:lnTo>
                  <a:lnTo>
                    <a:pt x="71" y="57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7" name="Freeform 40"/>
            <p:cNvSpPr>
              <a:spLocks noEditPoints="1"/>
            </p:cNvSpPr>
            <p:nvPr/>
          </p:nvSpPr>
          <p:spPr bwMode="auto">
            <a:xfrm>
              <a:off x="8701296" y="1308377"/>
              <a:ext cx="270186" cy="225965"/>
            </a:xfrm>
            <a:custGeom>
              <a:avLst/>
              <a:gdLst>
                <a:gd name="T0" fmla="*/ 716 w 859"/>
                <a:gd name="T1" fmla="*/ 0 h 716"/>
                <a:gd name="T2" fmla="*/ 143 w 859"/>
                <a:gd name="T3" fmla="*/ 0 h 716"/>
                <a:gd name="T4" fmla="*/ 0 w 859"/>
                <a:gd name="T5" fmla="*/ 143 h 716"/>
                <a:gd name="T6" fmla="*/ 143 w 859"/>
                <a:gd name="T7" fmla="*/ 286 h 716"/>
                <a:gd name="T8" fmla="*/ 286 w 859"/>
                <a:gd name="T9" fmla="*/ 143 h 716"/>
                <a:gd name="T10" fmla="*/ 215 w 859"/>
                <a:gd name="T11" fmla="*/ 143 h 716"/>
                <a:gd name="T12" fmla="*/ 143 w 859"/>
                <a:gd name="T13" fmla="*/ 215 h 716"/>
                <a:gd name="T14" fmla="*/ 72 w 859"/>
                <a:gd name="T15" fmla="*/ 143 h 716"/>
                <a:gd name="T16" fmla="*/ 143 w 859"/>
                <a:gd name="T17" fmla="*/ 72 h 716"/>
                <a:gd name="T18" fmla="*/ 716 w 859"/>
                <a:gd name="T19" fmla="*/ 72 h 716"/>
                <a:gd name="T20" fmla="*/ 788 w 859"/>
                <a:gd name="T21" fmla="*/ 143 h 716"/>
                <a:gd name="T22" fmla="*/ 716 w 859"/>
                <a:gd name="T23" fmla="*/ 215 h 716"/>
                <a:gd name="T24" fmla="*/ 645 w 859"/>
                <a:gd name="T25" fmla="*/ 143 h 716"/>
                <a:gd name="T26" fmla="*/ 573 w 859"/>
                <a:gd name="T27" fmla="*/ 143 h 716"/>
                <a:gd name="T28" fmla="*/ 716 w 859"/>
                <a:gd name="T29" fmla="*/ 286 h 716"/>
                <a:gd name="T30" fmla="*/ 859 w 859"/>
                <a:gd name="T31" fmla="*/ 143 h 716"/>
                <a:gd name="T32" fmla="*/ 716 w 859"/>
                <a:gd name="T33" fmla="*/ 0 h 716"/>
                <a:gd name="T34" fmla="*/ 394 w 859"/>
                <a:gd name="T35" fmla="*/ 143 h 716"/>
                <a:gd name="T36" fmla="*/ 394 w 859"/>
                <a:gd name="T37" fmla="*/ 573 h 716"/>
                <a:gd name="T38" fmla="*/ 465 w 859"/>
                <a:gd name="T39" fmla="*/ 573 h 716"/>
                <a:gd name="T40" fmla="*/ 465 w 859"/>
                <a:gd name="T41" fmla="*/ 143 h 716"/>
                <a:gd name="T42" fmla="*/ 394 w 859"/>
                <a:gd name="T43" fmla="*/ 143 h 716"/>
                <a:gd name="T44" fmla="*/ 537 w 859"/>
                <a:gd name="T45" fmla="*/ 262 h 716"/>
                <a:gd name="T46" fmla="*/ 537 w 859"/>
                <a:gd name="T47" fmla="*/ 573 h 716"/>
                <a:gd name="T48" fmla="*/ 609 w 859"/>
                <a:gd name="T49" fmla="*/ 573 h 716"/>
                <a:gd name="T50" fmla="*/ 609 w 859"/>
                <a:gd name="T51" fmla="*/ 329 h 716"/>
                <a:gd name="T52" fmla="*/ 537 w 859"/>
                <a:gd name="T53" fmla="*/ 262 h 716"/>
                <a:gd name="T54" fmla="*/ 250 w 859"/>
                <a:gd name="T55" fmla="*/ 329 h 716"/>
                <a:gd name="T56" fmla="*/ 250 w 859"/>
                <a:gd name="T57" fmla="*/ 573 h 716"/>
                <a:gd name="T58" fmla="*/ 322 w 859"/>
                <a:gd name="T59" fmla="*/ 573 h 716"/>
                <a:gd name="T60" fmla="*/ 322 w 859"/>
                <a:gd name="T61" fmla="*/ 262 h 716"/>
                <a:gd name="T62" fmla="*/ 250 w 859"/>
                <a:gd name="T63" fmla="*/ 329 h 716"/>
                <a:gd name="T64" fmla="*/ 143 w 859"/>
                <a:gd name="T65" fmla="*/ 716 h 716"/>
                <a:gd name="T66" fmla="*/ 716 w 859"/>
                <a:gd name="T67" fmla="*/ 716 h 716"/>
                <a:gd name="T68" fmla="*/ 716 w 859"/>
                <a:gd name="T69" fmla="*/ 645 h 716"/>
                <a:gd name="T70" fmla="*/ 143 w 859"/>
                <a:gd name="T71" fmla="*/ 645 h 716"/>
                <a:gd name="T72" fmla="*/ 143 w 859"/>
                <a:gd name="T73" fmla="*/ 716 h 7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859" h="716">
                  <a:moveTo>
                    <a:pt x="716" y="0"/>
                  </a:moveTo>
                  <a:lnTo>
                    <a:pt x="143" y="0"/>
                  </a:lnTo>
                  <a:cubicBezTo>
                    <a:pt x="64" y="0"/>
                    <a:pt x="0" y="64"/>
                    <a:pt x="0" y="143"/>
                  </a:cubicBezTo>
                  <a:cubicBezTo>
                    <a:pt x="0" y="222"/>
                    <a:pt x="64" y="286"/>
                    <a:pt x="143" y="286"/>
                  </a:cubicBezTo>
                  <a:cubicBezTo>
                    <a:pt x="222" y="286"/>
                    <a:pt x="286" y="215"/>
                    <a:pt x="286" y="143"/>
                  </a:cubicBezTo>
                  <a:lnTo>
                    <a:pt x="215" y="143"/>
                  </a:lnTo>
                  <a:cubicBezTo>
                    <a:pt x="215" y="179"/>
                    <a:pt x="183" y="215"/>
                    <a:pt x="143" y="215"/>
                  </a:cubicBezTo>
                  <a:cubicBezTo>
                    <a:pt x="104" y="215"/>
                    <a:pt x="72" y="183"/>
                    <a:pt x="72" y="143"/>
                  </a:cubicBezTo>
                  <a:cubicBezTo>
                    <a:pt x="72" y="104"/>
                    <a:pt x="104" y="72"/>
                    <a:pt x="143" y="72"/>
                  </a:cubicBezTo>
                  <a:lnTo>
                    <a:pt x="716" y="72"/>
                  </a:lnTo>
                  <a:cubicBezTo>
                    <a:pt x="756" y="72"/>
                    <a:pt x="788" y="104"/>
                    <a:pt x="788" y="143"/>
                  </a:cubicBezTo>
                  <a:cubicBezTo>
                    <a:pt x="788" y="183"/>
                    <a:pt x="756" y="215"/>
                    <a:pt x="716" y="215"/>
                  </a:cubicBezTo>
                  <a:cubicBezTo>
                    <a:pt x="677" y="215"/>
                    <a:pt x="645" y="179"/>
                    <a:pt x="645" y="143"/>
                  </a:cubicBezTo>
                  <a:lnTo>
                    <a:pt x="573" y="143"/>
                  </a:lnTo>
                  <a:cubicBezTo>
                    <a:pt x="573" y="215"/>
                    <a:pt x="637" y="286"/>
                    <a:pt x="716" y="286"/>
                  </a:cubicBezTo>
                  <a:cubicBezTo>
                    <a:pt x="795" y="286"/>
                    <a:pt x="859" y="222"/>
                    <a:pt x="859" y="143"/>
                  </a:cubicBezTo>
                  <a:cubicBezTo>
                    <a:pt x="859" y="64"/>
                    <a:pt x="795" y="0"/>
                    <a:pt x="716" y="0"/>
                  </a:cubicBezTo>
                  <a:close/>
                  <a:moveTo>
                    <a:pt x="394" y="143"/>
                  </a:moveTo>
                  <a:lnTo>
                    <a:pt x="394" y="573"/>
                  </a:lnTo>
                  <a:lnTo>
                    <a:pt x="465" y="573"/>
                  </a:lnTo>
                  <a:lnTo>
                    <a:pt x="465" y="143"/>
                  </a:lnTo>
                  <a:lnTo>
                    <a:pt x="394" y="143"/>
                  </a:lnTo>
                  <a:close/>
                  <a:moveTo>
                    <a:pt x="537" y="262"/>
                  </a:moveTo>
                  <a:lnTo>
                    <a:pt x="537" y="573"/>
                  </a:lnTo>
                  <a:lnTo>
                    <a:pt x="609" y="573"/>
                  </a:lnTo>
                  <a:lnTo>
                    <a:pt x="609" y="329"/>
                  </a:lnTo>
                  <a:cubicBezTo>
                    <a:pt x="573" y="312"/>
                    <a:pt x="573" y="289"/>
                    <a:pt x="537" y="262"/>
                  </a:cubicBezTo>
                  <a:close/>
                  <a:moveTo>
                    <a:pt x="250" y="329"/>
                  </a:moveTo>
                  <a:lnTo>
                    <a:pt x="250" y="573"/>
                  </a:lnTo>
                  <a:lnTo>
                    <a:pt x="322" y="573"/>
                  </a:lnTo>
                  <a:lnTo>
                    <a:pt x="322" y="262"/>
                  </a:lnTo>
                  <a:cubicBezTo>
                    <a:pt x="286" y="289"/>
                    <a:pt x="286" y="312"/>
                    <a:pt x="250" y="329"/>
                  </a:cubicBezTo>
                  <a:close/>
                  <a:moveTo>
                    <a:pt x="143" y="716"/>
                  </a:moveTo>
                  <a:lnTo>
                    <a:pt x="716" y="716"/>
                  </a:lnTo>
                  <a:lnTo>
                    <a:pt x="716" y="645"/>
                  </a:lnTo>
                  <a:lnTo>
                    <a:pt x="143" y="645"/>
                  </a:lnTo>
                  <a:lnTo>
                    <a:pt x="143" y="71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8" name="Freeform 41"/>
            <p:cNvSpPr>
              <a:spLocks/>
            </p:cNvSpPr>
            <p:nvPr/>
          </p:nvSpPr>
          <p:spPr bwMode="auto">
            <a:xfrm>
              <a:off x="8700607" y="3567344"/>
              <a:ext cx="271564" cy="236988"/>
            </a:xfrm>
            <a:custGeom>
              <a:avLst/>
              <a:gdLst>
                <a:gd name="T0" fmla="*/ 860 w 860"/>
                <a:gd name="T1" fmla="*/ 251 h 752"/>
                <a:gd name="T2" fmla="*/ 430 w 860"/>
                <a:gd name="T3" fmla="*/ 0 h 752"/>
                <a:gd name="T4" fmla="*/ 0 w 860"/>
                <a:gd name="T5" fmla="*/ 251 h 752"/>
                <a:gd name="T6" fmla="*/ 144 w 860"/>
                <a:gd name="T7" fmla="*/ 334 h 752"/>
                <a:gd name="T8" fmla="*/ 144 w 860"/>
                <a:gd name="T9" fmla="*/ 475 h 752"/>
                <a:gd name="T10" fmla="*/ 149 w 860"/>
                <a:gd name="T11" fmla="*/ 484 h 752"/>
                <a:gd name="T12" fmla="*/ 430 w 860"/>
                <a:gd name="T13" fmla="*/ 644 h 752"/>
                <a:gd name="T14" fmla="*/ 573 w 860"/>
                <a:gd name="T15" fmla="*/ 610 h 752"/>
                <a:gd name="T16" fmla="*/ 573 w 860"/>
                <a:gd name="T17" fmla="*/ 528 h 752"/>
                <a:gd name="T18" fmla="*/ 430 w 860"/>
                <a:gd name="T19" fmla="*/ 573 h 752"/>
                <a:gd name="T20" fmla="*/ 215 w 860"/>
                <a:gd name="T21" fmla="*/ 455 h 752"/>
                <a:gd name="T22" fmla="*/ 215 w 860"/>
                <a:gd name="T23" fmla="*/ 376 h 752"/>
                <a:gd name="T24" fmla="*/ 430 w 860"/>
                <a:gd name="T25" fmla="*/ 501 h 752"/>
                <a:gd name="T26" fmla="*/ 553 w 860"/>
                <a:gd name="T27" fmla="*/ 430 h 752"/>
                <a:gd name="T28" fmla="*/ 483 w 860"/>
                <a:gd name="T29" fmla="*/ 388 h 752"/>
                <a:gd name="T30" fmla="*/ 430 w 860"/>
                <a:gd name="T31" fmla="*/ 418 h 752"/>
                <a:gd name="T32" fmla="*/ 142 w 860"/>
                <a:gd name="T33" fmla="*/ 251 h 752"/>
                <a:gd name="T34" fmla="*/ 430 w 860"/>
                <a:gd name="T35" fmla="*/ 83 h 752"/>
                <a:gd name="T36" fmla="*/ 718 w 860"/>
                <a:gd name="T37" fmla="*/ 251 h 752"/>
                <a:gd name="T38" fmla="*/ 624 w 860"/>
                <a:gd name="T39" fmla="*/ 305 h 752"/>
                <a:gd name="T40" fmla="*/ 454 w 860"/>
                <a:gd name="T41" fmla="*/ 204 h 752"/>
                <a:gd name="T42" fmla="*/ 391 w 860"/>
                <a:gd name="T43" fmla="*/ 247 h 752"/>
                <a:gd name="T44" fmla="*/ 390 w 860"/>
                <a:gd name="T45" fmla="*/ 249 h 752"/>
                <a:gd name="T46" fmla="*/ 645 w 860"/>
                <a:gd name="T47" fmla="*/ 401 h 752"/>
                <a:gd name="T48" fmla="*/ 645 w 860"/>
                <a:gd name="T49" fmla="*/ 752 h 752"/>
                <a:gd name="T50" fmla="*/ 717 w 860"/>
                <a:gd name="T51" fmla="*/ 752 h 752"/>
                <a:gd name="T52" fmla="*/ 717 w 860"/>
                <a:gd name="T53" fmla="*/ 360 h 752"/>
                <a:gd name="T54" fmla="*/ 694 w 860"/>
                <a:gd name="T55" fmla="*/ 347 h 752"/>
                <a:gd name="T56" fmla="*/ 860 w 860"/>
                <a:gd name="T57" fmla="*/ 251 h 7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860" h="752">
                  <a:moveTo>
                    <a:pt x="860" y="251"/>
                  </a:moveTo>
                  <a:lnTo>
                    <a:pt x="430" y="0"/>
                  </a:lnTo>
                  <a:lnTo>
                    <a:pt x="0" y="251"/>
                  </a:lnTo>
                  <a:lnTo>
                    <a:pt x="144" y="334"/>
                  </a:lnTo>
                  <a:lnTo>
                    <a:pt x="144" y="475"/>
                  </a:lnTo>
                  <a:lnTo>
                    <a:pt x="149" y="484"/>
                  </a:lnTo>
                  <a:cubicBezTo>
                    <a:pt x="207" y="583"/>
                    <a:pt x="315" y="644"/>
                    <a:pt x="430" y="644"/>
                  </a:cubicBezTo>
                  <a:cubicBezTo>
                    <a:pt x="480" y="644"/>
                    <a:pt x="529" y="632"/>
                    <a:pt x="573" y="610"/>
                  </a:cubicBezTo>
                  <a:lnTo>
                    <a:pt x="573" y="528"/>
                  </a:lnTo>
                  <a:cubicBezTo>
                    <a:pt x="532" y="556"/>
                    <a:pt x="482" y="573"/>
                    <a:pt x="430" y="573"/>
                  </a:cubicBezTo>
                  <a:cubicBezTo>
                    <a:pt x="343" y="573"/>
                    <a:pt x="262" y="528"/>
                    <a:pt x="215" y="455"/>
                  </a:cubicBezTo>
                  <a:lnTo>
                    <a:pt x="215" y="376"/>
                  </a:lnTo>
                  <a:lnTo>
                    <a:pt x="430" y="501"/>
                  </a:lnTo>
                  <a:lnTo>
                    <a:pt x="553" y="430"/>
                  </a:lnTo>
                  <a:lnTo>
                    <a:pt x="483" y="388"/>
                  </a:lnTo>
                  <a:lnTo>
                    <a:pt x="430" y="418"/>
                  </a:lnTo>
                  <a:lnTo>
                    <a:pt x="142" y="251"/>
                  </a:lnTo>
                  <a:lnTo>
                    <a:pt x="430" y="83"/>
                  </a:lnTo>
                  <a:lnTo>
                    <a:pt x="718" y="251"/>
                  </a:lnTo>
                  <a:lnTo>
                    <a:pt x="624" y="305"/>
                  </a:lnTo>
                  <a:lnTo>
                    <a:pt x="454" y="204"/>
                  </a:lnTo>
                  <a:lnTo>
                    <a:pt x="391" y="247"/>
                  </a:lnTo>
                  <a:lnTo>
                    <a:pt x="390" y="249"/>
                  </a:lnTo>
                  <a:lnTo>
                    <a:pt x="645" y="401"/>
                  </a:lnTo>
                  <a:lnTo>
                    <a:pt x="645" y="752"/>
                  </a:lnTo>
                  <a:lnTo>
                    <a:pt x="717" y="752"/>
                  </a:lnTo>
                  <a:lnTo>
                    <a:pt x="717" y="360"/>
                  </a:lnTo>
                  <a:lnTo>
                    <a:pt x="694" y="347"/>
                  </a:lnTo>
                  <a:lnTo>
                    <a:pt x="860" y="25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grpSp>
          <p:nvGrpSpPr>
            <p:cNvPr id="69" name="Группа 68"/>
            <p:cNvGrpSpPr/>
            <p:nvPr/>
          </p:nvGrpSpPr>
          <p:grpSpPr>
            <a:xfrm>
              <a:off x="8710946" y="150720"/>
              <a:ext cx="250887" cy="271436"/>
              <a:chOff x="477468" y="2705515"/>
              <a:chExt cx="409903" cy="443477"/>
            </a:xfrm>
          </p:grpSpPr>
          <p:sp>
            <p:nvSpPr>
              <p:cNvPr id="70" name="Freeform 42"/>
              <p:cNvSpPr>
                <a:spLocks noEditPoints="1"/>
              </p:cNvSpPr>
              <p:nvPr/>
            </p:nvSpPr>
            <p:spPr bwMode="auto">
              <a:xfrm>
                <a:off x="477468" y="2705515"/>
                <a:ext cx="409903" cy="387195"/>
              </a:xfrm>
              <a:custGeom>
                <a:avLst/>
                <a:gdLst>
                  <a:gd name="T0" fmla="*/ 218 w 793"/>
                  <a:gd name="T1" fmla="*/ 575 h 751"/>
                  <a:gd name="T2" fmla="*/ 194 w 793"/>
                  <a:gd name="T3" fmla="*/ 95 h 751"/>
                  <a:gd name="T4" fmla="*/ 219 w 793"/>
                  <a:gd name="T5" fmla="*/ 121 h 751"/>
                  <a:gd name="T6" fmla="*/ 149 w 793"/>
                  <a:gd name="T7" fmla="*/ 322 h 751"/>
                  <a:gd name="T8" fmla="*/ 471 w 793"/>
                  <a:gd name="T9" fmla="*/ 644 h 751"/>
                  <a:gd name="T10" fmla="*/ 672 w 793"/>
                  <a:gd name="T11" fmla="*/ 574 h 751"/>
                  <a:gd name="T12" fmla="*/ 698 w 793"/>
                  <a:gd name="T13" fmla="*/ 599 h 751"/>
                  <a:gd name="T14" fmla="*/ 218 w 793"/>
                  <a:gd name="T15" fmla="*/ 575 h 751"/>
                  <a:gd name="T16" fmla="*/ 471 w 793"/>
                  <a:gd name="T17" fmla="*/ 71 h 751"/>
                  <a:gd name="T18" fmla="*/ 722 w 793"/>
                  <a:gd name="T19" fmla="*/ 322 h 751"/>
                  <a:gd name="T20" fmla="*/ 471 w 793"/>
                  <a:gd name="T21" fmla="*/ 573 h 751"/>
                  <a:gd name="T22" fmla="*/ 220 w 793"/>
                  <a:gd name="T23" fmla="*/ 322 h 751"/>
                  <a:gd name="T24" fmla="*/ 471 w 793"/>
                  <a:gd name="T25" fmla="*/ 71 h 751"/>
                  <a:gd name="T26" fmla="*/ 723 w 793"/>
                  <a:gd name="T27" fmla="*/ 523 h 751"/>
                  <a:gd name="T28" fmla="*/ 793 w 793"/>
                  <a:gd name="T29" fmla="*/ 322 h 751"/>
                  <a:gd name="T30" fmla="*/ 471 w 793"/>
                  <a:gd name="T31" fmla="*/ 0 h 751"/>
                  <a:gd name="T32" fmla="*/ 270 w 793"/>
                  <a:gd name="T33" fmla="*/ 71 h 751"/>
                  <a:gd name="T34" fmla="*/ 218 w 793"/>
                  <a:gd name="T35" fmla="*/ 18 h 751"/>
                  <a:gd name="T36" fmla="*/ 192 w 793"/>
                  <a:gd name="T37" fmla="*/ 8 h 751"/>
                  <a:gd name="T38" fmla="*/ 192 w 793"/>
                  <a:gd name="T39" fmla="*/ 8 h 751"/>
                  <a:gd name="T40" fmla="*/ 167 w 793"/>
                  <a:gd name="T41" fmla="*/ 18 h 751"/>
                  <a:gd name="T42" fmla="*/ 167 w 793"/>
                  <a:gd name="T43" fmla="*/ 626 h 751"/>
                  <a:gd name="T44" fmla="*/ 471 w 793"/>
                  <a:gd name="T45" fmla="*/ 751 h 751"/>
                  <a:gd name="T46" fmla="*/ 775 w 793"/>
                  <a:gd name="T47" fmla="*/ 626 h 751"/>
                  <a:gd name="T48" fmla="*/ 785 w 793"/>
                  <a:gd name="T49" fmla="*/ 601 h 751"/>
                  <a:gd name="T50" fmla="*/ 775 w 793"/>
                  <a:gd name="T51" fmla="*/ 575 h 751"/>
                  <a:gd name="T52" fmla="*/ 723 w 793"/>
                  <a:gd name="T53" fmla="*/ 523 h 7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793" h="751">
                    <a:moveTo>
                      <a:pt x="218" y="575"/>
                    </a:moveTo>
                    <a:cubicBezTo>
                      <a:pt x="87" y="444"/>
                      <a:pt x="79" y="236"/>
                      <a:pt x="194" y="95"/>
                    </a:cubicBezTo>
                    <a:lnTo>
                      <a:pt x="219" y="121"/>
                    </a:lnTo>
                    <a:cubicBezTo>
                      <a:pt x="175" y="176"/>
                      <a:pt x="149" y="246"/>
                      <a:pt x="149" y="322"/>
                    </a:cubicBezTo>
                    <a:cubicBezTo>
                      <a:pt x="149" y="500"/>
                      <a:pt x="293" y="644"/>
                      <a:pt x="471" y="644"/>
                    </a:cubicBezTo>
                    <a:cubicBezTo>
                      <a:pt x="547" y="644"/>
                      <a:pt x="617" y="618"/>
                      <a:pt x="672" y="574"/>
                    </a:cubicBezTo>
                    <a:lnTo>
                      <a:pt x="698" y="599"/>
                    </a:lnTo>
                    <a:cubicBezTo>
                      <a:pt x="557" y="714"/>
                      <a:pt x="349" y="706"/>
                      <a:pt x="218" y="575"/>
                    </a:cubicBezTo>
                    <a:close/>
                    <a:moveTo>
                      <a:pt x="471" y="71"/>
                    </a:moveTo>
                    <a:cubicBezTo>
                      <a:pt x="609" y="71"/>
                      <a:pt x="722" y="184"/>
                      <a:pt x="722" y="322"/>
                    </a:cubicBezTo>
                    <a:cubicBezTo>
                      <a:pt x="722" y="460"/>
                      <a:pt x="609" y="573"/>
                      <a:pt x="471" y="573"/>
                    </a:cubicBezTo>
                    <a:cubicBezTo>
                      <a:pt x="333" y="573"/>
                      <a:pt x="220" y="460"/>
                      <a:pt x="220" y="322"/>
                    </a:cubicBezTo>
                    <a:cubicBezTo>
                      <a:pt x="220" y="184"/>
                      <a:pt x="333" y="71"/>
                      <a:pt x="471" y="71"/>
                    </a:cubicBezTo>
                    <a:close/>
                    <a:moveTo>
                      <a:pt x="723" y="523"/>
                    </a:moveTo>
                    <a:cubicBezTo>
                      <a:pt x="767" y="468"/>
                      <a:pt x="793" y="398"/>
                      <a:pt x="793" y="322"/>
                    </a:cubicBezTo>
                    <a:cubicBezTo>
                      <a:pt x="793" y="144"/>
                      <a:pt x="649" y="0"/>
                      <a:pt x="471" y="0"/>
                    </a:cubicBezTo>
                    <a:cubicBezTo>
                      <a:pt x="395" y="0"/>
                      <a:pt x="325" y="26"/>
                      <a:pt x="270" y="71"/>
                    </a:cubicBezTo>
                    <a:lnTo>
                      <a:pt x="218" y="18"/>
                    </a:lnTo>
                    <a:cubicBezTo>
                      <a:pt x="211" y="11"/>
                      <a:pt x="202" y="8"/>
                      <a:pt x="192" y="8"/>
                    </a:cubicBezTo>
                    <a:cubicBezTo>
                      <a:pt x="192" y="8"/>
                      <a:pt x="192" y="8"/>
                      <a:pt x="192" y="8"/>
                    </a:cubicBezTo>
                    <a:cubicBezTo>
                      <a:pt x="183" y="8"/>
                      <a:pt x="174" y="11"/>
                      <a:pt x="167" y="18"/>
                    </a:cubicBezTo>
                    <a:cubicBezTo>
                      <a:pt x="0" y="186"/>
                      <a:pt x="0" y="458"/>
                      <a:pt x="167" y="626"/>
                    </a:cubicBezTo>
                    <a:cubicBezTo>
                      <a:pt x="251" y="710"/>
                      <a:pt x="361" y="751"/>
                      <a:pt x="471" y="751"/>
                    </a:cubicBezTo>
                    <a:cubicBezTo>
                      <a:pt x="581" y="751"/>
                      <a:pt x="691" y="710"/>
                      <a:pt x="775" y="626"/>
                    </a:cubicBezTo>
                    <a:cubicBezTo>
                      <a:pt x="782" y="619"/>
                      <a:pt x="785" y="610"/>
                      <a:pt x="785" y="601"/>
                    </a:cubicBezTo>
                    <a:cubicBezTo>
                      <a:pt x="785" y="591"/>
                      <a:pt x="782" y="582"/>
                      <a:pt x="775" y="575"/>
                    </a:cubicBezTo>
                    <a:lnTo>
                      <a:pt x="723" y="523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1" name="Rectangle 43"/>
              <p:cNvSpPr>
                <a:spLocks noChangeArrowheads="1"/>
              </p:cNvSpPr>
              <p:nvPr/>
            </p:nvSpPr>
            <p:spPr bwMode="auto">
              <a:xfrm>
                <a:off x="637377" y="3110722"/>
                <a:ext cx="148646" cy="38270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sp>
          <p:nvSpPr>
            <p:cNvPr id="72" name="Freeform 44"/>
            <p:cNvSpPr>
              <a:spLocks noEditPoints="1"/>
            </p:cNvSpPr>
            <p:nvPr/>
          </p:nvSpPr>
          <p:spPr bwMode="auto">
            <a:xfrm>
              <a:off x="8704742" y="4098042"/>
              <a:ext cx="263294" cy="285213"/>
            </a:xfrm>
            <a:custGeom>
              <a:avLst/>
              <a:gdLst>
                <a:gd name="T0" fmla="*/ 583 w 837"/>
                <a:gd name="T1" fmla="*/ 579 h 901"/>
                <a:gd name="T2" fmla="*/ 511 w 837"/>
                <a:gd name="T3" fmla="*/ 650 h 901"/>
                <a:gd name="T4" fmla="*/ 583 w 837"/>
                <a:gd name="T5" fmla="*/ 722 h 901"/>
                <a:gd name="T6" fmla="*/ 654 w 837"/>
                <a:gd name="T7" fmla="*/ 650 h 901"/>
                <a:gd name="T8" fmla="*/ 583 w 837"/>
                <a:gd name="T9" fmla="*/ 579 h 901"/>
                <a:gd name="T10" fmla="*/ 332 w 837"/>
                <a:gd name="T11" fmla="*/ 579 h 901"/>
                <a:gd name="T12" fmla="*/ 260 w 837"/>
                <a:gd name="T13" fmla="*/ 650 h 901"/>
                <a:gd name="T14" fmla="*/ 332 w 837"/>
                <a:gd name="T15" fmla="*/ 722 h 901"/>
                <a:gd name="T16" fmla="*/ 404 w 837"/>
                <a:gd name="T17" fmla="*/ 650 h 901"/>
                <a:gd name="T18" fmla="*/ 332 w 837"/>
                <a:gd name="T19" fmla="*/ 579 h 901"/>
                <a:gd name="T20" fmla="*/ 332 w 837"/>
                <a:gd name="T21" fmla="*/ 435 h 901"/>
                <a:gd name="T22" fmla="*/ 260 w 837"/>
                <a:gd name="T23" fmla="*/ 364 h 901"/>
                <a:gd name="T24" fmla="*/ 189 w 837"/>
                <a:gd name="T25" fmla="*/ 435 h 901"/>
                <a:gd name="T26" fmla="*/ 260 w 837"/>
                <a:gd name="T27" fmla="*/ 507 h 901"/>
                <a:gd name="T28" fmla="*/ 332 w 837"/>
                <a:gd name="T29" fmla="*/ 435 h 901"/>
                <a:gd name="T30" fmla="*/ 404 w 837"/>
                <a:gd name="T31" fmla="*/ 185 h 901"/>
                <a:gd name="T32" fmla="*/ 332 w 837"/>
                <a:gd name="T33" fmla="*/ 256 h 901"/>
                <a:gd name="T34" fmla="*/ 404 w 837"/>
                <a:gd name="T35" fmla="*/ 328 h 901"/>
                <a:gd name="T36" fmla="*/ 475 w 837"/>
                <a:gd name="T37" fmla="*/ 256 h 901"/>
                <a:gd name="T38" fmla="*/ 404 w 837"/>
                <a:gd name="T39" fmla="*/ 185 h 901"/>
                <a:gd name="T40" fmla="*/ 757 w 837"/>
                <a:gd name="T41" fmla="*/ 635 h 901"/>
                <a:gd name="T42" fmla="*/ 698 w 837"/>
                <a:gd name="T43" fmla="*/ 711 h 901"/>
                <a:gd name="T44" fmla="*/ 429 w 837"/>
                <a:gd name="T45" fmla="*/ 829 h 901"/>
                <a:gd name="T46" fmla="*/ 207 w 837"/>
                <a:gd name="T47" fmla="*/ 738 h 901"/>
                <a:gd name="T48" fmla="*/ 233 w 837"/>
                <a:gd name="T49" fmla="*/ 231 h 901"/>
                <a:gd name="T50" fmla="*/ 502 w 837"/>
                <a:gd name="T51" fmla="*/ 113 h 901"/>
                <a:gd name="T52" fmla="*/ 658 w 837"/>
                <a:gd name="T53" fmla="*/ 154 h 901"/>
                <a:gd name="T54" fmla="*/ 675 w 837"/>
                <a:gd name="T55" fmla="*/ 177 h 901"/>
                <a:gd name="T56" fmla="*/ 665 w 837"/>
                <a:gd name="T57" fmla="*/ 208 h 901"/>
                <a:gd name="T58" fmla="*/ 602 w 837"/>
                <a:gd name="T59" fmla="*/ 366 h 901"/>
                <a:gd name="T60" fmla="*/ 744 w 837"/>
                <a:gd name="T61" fmla="*/ 584 h 901"/>
                <a:gd name="T62" fmla="*/ 760 w 837"/>
                <a:gd name="T63" fmla="*/ 605 h 901"/>
                <a:gd name="T64" fmla="*/ 757 w 837"/>
                <a:gd name="T65" fmla="*/ 635 h 901"/>
                <a:gd name="T66" fmla="*/ 829 w 837"/>
                <a:gd name="T67" fmla="*/ 585 h 901"/>
                <a:gd name="T68" fmla="*/ 776 w 837"/>
                <a:gd name="T69" fmla="*/ 520 h 901"/>
                <a:gd name="T70" fmla="*/ 673 w 837"/>
                <a:gd name="T71" fmla="*/ 366 h 901"/>
                <a:gd name="T72" fmla="*/ 718 w 837"/>
                <a:gd name="T73" fmla="*/ 257 h 901"/>
                <a:gd name="T74" fmla="*/ 746 w 837"/>
                <a:gd name="T75" fmla="*/ 166 h 901"/>
                <a:gd name="T76" fmla="*/ 694 w 837"/>
                <a:gd name="T77" fmla="*/ 92 h 901"/>
                <a:gd name="T78" fmla="*/ 181 w 837"/>
                <a:gd name="T79" fmla="*/ 181 h 901"/>
                <a:gd name="T80" fmla="*/ 156 w 837"/>
                <a:gd name="T81" fmla="*/ 788 h 901"/>
                <a:gd name="T82" fmla="*/ 429 w 837"/>
                <a:gd name="T83" fmla="*/ 901 h 901"/>
                <a:gd name="T84" fmla="*/ 749 w 837"/>
                <a:gd name="T85" fmla="*/ 761 h 901"/>
                <a:gd name="T86" fmla="*/ 818 w 837"/>
                <a:gd name="T87" fmla="*/ 672 h 901"/>
                <a:gd name="T88" fmla="*/ 829 w 837"/>
                <a:gd name="T89" fmla="*/ 585 h 9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837" h="901">
                  <a:moveTo>
                    <a:pt x="583" y="579"/>
                  </a:moveTo>
                  <a:cubicBezTo>
                    <a:pt x="543" y="579"/>
                    <a:pt x="511" y="611"/>
                    <a:pt x="511" y="650"/>
                  </a:cubicBezTo>
                  <a:cubicBezTo>
                    <a:pt x="511" y="690"/>
                    <a:pt x="543" y="722"/>
                    <a:pt x="583" y="722"/>
                  </a:cubicBezTo>
                  <a:cubicBezTo>
                    <a:pt x="622" y="722"/>
                    <a:pt x="654" y="690"/>
                    <a:pt x="654" y="650"/>
                  </a:cubicBezTo>
                  <a:cubicBezTo>
                    <a:pt x="654" y="611"/>
                    <a:pt x="622" y="579"/>
                    <a:pt x="583" y="579"/>
                  </a:cubicBezTo>
                  <a:close/>
                  <a:moveTo>
                    <a:pt x="332" y="579"/>
                  </a:moveTo>
                  <a:cubicBezTo>
                    <a:pt x="292" y="579"/>
                    <a:pt x="260" y="611"/>
                    <a:pt x="260" y="650"/>
                  </a:cubicBezTo>
                  <a:cubicBezTo>
                    <a:pt x="260" y="690"/>
                    <a:pt x="292" y="722"/>
                    <a:pt x="332" y="722"/>
                  </a:cubicBezTo>
                  <a:cubicBezTo>
                    <a:pt x="372" y="722"/>
                    <a:pt x="404" y="690"/>
                    <a:pt x="404" y="650"/>
                  </a:cubicBezTo>
                  <a:cubicBezTo>
                    <a:pt x="404" y="611"/>
                    <a:pt x="372" y="579"/>
                    <a:pt x="332" y="579"/>
                  </a:cubicBezTo>
                  <a:close/>
                  <a:moveTo>
                    <a:pt x="332" y="435"/>
                  </a:moveTo>
                  <a:cubicBezTo>
                    <a:pt x="332" y="396"/>
                    <a:pt x="300" y="364"/>
                    <a:pt x="260" y="364"/>
                  </a:cubicBezTo>
                  <a:cubicBezTo>
                    <a:pt x="221" y="364"/>
                    <a:pt x="189" y="396"/>
                    <a:pt x="189" y="435"/>
                  </a:cubicBezTo>
                  <a:cubicBezTo>
                    <a:pt x="189" y="475"/>
                    <a:pt x="221" y="507"/>
                    <a:pt x="260" y="507"/>
                  </a:cubicBezTo>
                  <a:cubicBezTo>
                    <a:pt x="300" y="507"/>
                    <a:pt x="332" y="475"/>
                    <a:pt x="332" y="435"/>
                  </a:cubicBezTo>
                  <a:close/>
                  <a:moveTo>
                    <a:pt x="404" y="185"/>
                  </a:moveTo>
                  <a:cubicBezTo>
                    <a:pt x="364" y="185"/>
                    <a:pt x="332" y="217"/>
                    <a:pt x="332" y="256"/>
                  </a:cubicBezTo>
                  <a:cubicBezTo>
                    <a:pt x="332" y="296"/>
                    <a:pt x="364" y="328"/>
                    <a:pt x="404" y="328"/>
                  </a:cubicBezTo>
                  <a:cubicBezTo>
                    <a:pt x="443" y="328"/>
                    <a:pt x="475" y="296"/>
                    <a:pt x="475" y="256"/>
                  </a:cubicBezTo>
                  <a:cubicBezTo>
                    <a:pt x="475" y="217"/>
                    <a:pt x="443" y="185"/>
                    <a:pt x="404" y="185"/>
                  </a:cubicBezTo>
                  <a:close/>
                  <a:moveTo>
                    <a:pt x="757" y="635"/>
                  </a:moveTo>
                  <a:cubicBezTo>
                    <a:pt x="740" y="663"/>
                    <a:pt x="721" y="688"/>
                    <a:pt x="698" y="711"/>
                  </a:cubicBezTo>
                  <a:cubicBezTo>
                    <a:pt x="625" y="786"/>
                    <a:pt x="527" y="829"/>
                    <a:pt x="429" y="829"/>
                  </a:cubicBezTo>
                  <a:cubicBezTo>
                    <a:pt x="343" y="829"/>
                    <a:pt x="265" y="797"/>
                    <a:pt x="207" y="738"/>
                  </a:cubicBezTo>
                  <a:cubicBezTo>
                    <a:pt x="78" y="605"/>
                    <a:pt x="89" y="378"/>
                    <a:pt x="233" y="231"/>
                  </a:cubicBezTo>
                  <a:cubicBezTo>
                    <a:pt x="308" y="154"/>
                    <a:pt x="406" y="113"/>
                    <a:pt x="502" y="113"/>
                  </a:cubicBezTo>
                  <a:cubicBezTo>
                    <a:pt x="557" y="113"/>
                    <a:pt x="610" y="126"/>
                    <a:pt x="658" y="154"/>
                  </a:cubicBezTo>
                  <a:cubicBezTo>
                    <a:pt x="668" y="159"/>
                    <a:pt x="674" y="167"/>
                    <a:pt x="675" y="177"/>
                  </a:cubicBezTo>
                  <a:cubicBezTo>
                    <a:pt x="677" y="188"/>
                    <a:pt x="673" y="199"/>
                    <a:pt x="665" y="208"/>
                  </a:cubicBezTo>
                  <a:cubicBezTo>
                    <a:pt x="624" y="253"/>
                    <a:pt x="602" y="309"/>
                    <a:pt x="602" y="366"/>
                  </a:cubicBezTo>
                  <a:cubicBezTo>
                    <a:pt x="602" y="456"/>
                    <a:pt x="656" y="540"/>
                    <a:pt x="744" y="584"/>
                  </a:cubicBezTo>
                  <a:cubicBezTo>
                    <a:pt x="754" y="590"/>
                    <a:pt x="759" y="600"/>
                    <a:pt x="760" y="605"/>
                  </a:cubicBezTo>
                  <a:cubicBezTo>
                    <a:pt x="763" y="615"/>
                    <a:pt x="762" y="626"/>
                    <a:pt x="757" y="635"/>
                  </a:cubicBezTo>
                  <a:close/>
                  <a:moveTo>
                    <a:pt x="829" y="585"/>
                  </a:moveTo>
                  <a:cubicBezTo>
                    <a:pt x="821" y="557"/>
                    <a:pt x="801" y="533"/>
                    <a:pt x="776" y="520"/>
                  </a:cubicBezTo>
                  <a:cubicBezTo>
                    <a:pt x="713" y="488"/>
                    <a:pt x="673" y="429"/>
                    <a:pt x="673" y="366"/>
                  </a:cubicBezTo>
                  <a:cubicBezTo>
                    <a:pt x="673" y="326"/>
                    <a:pt x="689" y="288"/>
                    <a:pt x="718" y="257"/>
                  </a:cubicBezTo>
                  <a:cubicBezTo>
                    <a:pt x="741" y="231"/>
                    <a:pt x="751" y="198"/>
                    <a:pt x="746" y="166"/>
                  </a:cubicBezTo>
                  <a:cubicBezTo>
                    <a:pt x="741" y="135"/>
                    <a:pt x="722" y="108"/>
                    <a:pt x="694" y="92"/>
                  </a:cubicBezTo>
                  <a:cubicBezTo>
                    <a:pt x="533" y="0"/>
                    <a:pt x="323" y="37"/>
                    <a:pt x="181" y="181"/>
                  </a:cubicBezTo>
                  <a:cubicBezTo>
                    <a:pt x="11" y="356"/>
                    <a:pt x="0" y="628"/>
                    <a:pt x="156" y="788"/>
                  </a:cubicBezTo>
                  <a:cubicBezTo>
                    <a:pt x="227" y="861"/>
                    <a:pt x="324" y="901"/>
                    <a:pt x="429" y="901"/>
                  </a:cubicBezTo>
                  <a:cubicBezTo>
                    <a:pt x="546" y="901"/>
                    <a:pt x="663" y="850"/>
                    <a:pt x="749" y="761"/>
                  </a:cubicBezTo>
                  <a:cubicBezTo>
                    <a:pt x="776" y="734"/>
                    <a:pt x="799" y="704"/>
                    <a:pt x="818" y="672"/>
                  </a:cubicBezTo>
                  <a:cubicBezTo>
                    <a:pt x="833" y="646"/>
                    <a:pt x="837" y="615"/>
                    <a:pt x="829" y="58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3" name="Freeform 45"/>
            <p:cNvSpPr>
              <a:spLocks noEditPoints="1"/>
            </p:cNvSpPr>
            <p:nvPr/>
          </p:nvSpPr>
          <p:spPr bwMode="auto">
            <a:xfrm>
              <a:off x="8701296" y="725091"/>
              <a:ext cx="270186" cy="260412"/>
            </a:xfrm>
            <a:custGeom>
              <a:avLst/>
              <a:gdLst>
                <a:gd name="T0" fmla="*/ 573 w 859"/>
                <a:gd name="T1" fmla="*/ 573 h 824"/>
                <a:gd name="T2" fmla="*/ 573 w 859"/>
                <a:gd name="T3" fmla="*/ 645 h 824"/>
                <a:gd name="T4" fmla="*/ 859 w 859"/>
                <a:gd name="T5" fmla="*/ 645 h 824"/>
                <a:gd name="T6" fmla="*/ 859 w 859"/>
                <a:gd name="T7" fmla="*/ 573 h 824"/>
                <a:gd name="T8" fmla="*/ 573 w 859"/>
                <a:gd name="T9" fmla="*/ 573 h 824"/>
                <a:gd name="T10" fmla="*/ 787 w 859"/>
                <a:gd name="T11" fmla="*/ 537 h 824"/>
                <a:gd name="T12" fmla="*/ 787 w 859"/>
                <a:gd name="T13" fmla="*/ 466 h 824"/>
                <a:gd name="T14" fmla="*/ 573 w 859"/>
                <a:gd name="T15" fmla="*/ 466 h 824"/>
                <a:gd name="T16" fmla="*/ 573 w 859"/>
                <a:gd name="T17" fmla="*/ 537 h 824"/>
                <a:gd name="T18" fmla="*/ 787 w 859"/>
                <a:gd name="T19" fmla="*/ 537 h 824"/>
                <a:gd name="T20" fmla="*/ 250 w 859"/>
                <a:gd name="T21" fmla="*/ 430 h 824"/>
                <a:gd name="T22" fmla="*/ 250 w 859"/>
                <a:gd name="T23" fmla="*/ 698 h 824"/>
                <a:gd name="T24" fmla="*/ 394 w 859"/>
                <a:gd name="T25" fmla="*/ 627 h 824"/>
                <a:gd name="T26" fmla="*/ 537 w 859"/>
                <a:gd name="T27" fmla="*/ 698 h 824"/>
                <a:gd name="T28" fmla="*/ 537 w 859"/>
                <a:gd name="T29" fmla="*/ 430 h 824"/>
                <a:gd name="T30" fmla="*/ 465 w 859"/>
                <a:gd name="T31" fmla="*/ 430 h 824"/>
                <a:gd name="T32" fmla="*/ 465 w 859"/>
                <a:gd name="T33" fmla="*/ 582 h 824"/>
                <a:gd name="T34" fmla="*/ 394 w 859"/>
                <a:gd name="T35" fmla="*/ 547 h 824"/>
                <a:gd name="T36" fmla="*/ 322 w 859"/>
                <a:gd name="T37" fmla="*/ 582 h 824"/>
                <a:gd name="T38" fmla="*/ 322 w 859"/>
                <a:gd name="T39" fmla="*/ 430 h 824"/>
                <a:gd name="T40" fmla="*/ 250 w 859"/>
                <a:gd name="T41" fmla="*/ 430 h 824"/>
                <a:gd name="T42" fmla="*/ 788 w 859"/>
                <a:gd name="T43" fmla="*/ 125 h 824"/>
                <a:gd name="T44" fmla="*/ 662 w 859"/>
                <a:gd name="T45" fmla="*/ 0 h 824"/>
                <a:gd name="T46" fmla="*/ 143 w 859"/>
                <a:gd name="T47" fmla="*/ 0 h 824"/>
                <a:gd name="T48" fmla="*/ 143 w 859"/>
                <a:gd name="T49" fmla="*/ 72 h 824"/>
                <a:gd name="T50" fmla="*/ 662 w 859"/>
                <a:gd name="T51" fmla="*/ 72 h 824"/>
                <a:gd name="T52" fmla="*/ 716 w 859"/>
                <a:gd name="T53" fmla="*/ 125 h 824"/>
                <a:gd name="T54" fmla="*/ 662 w 859"/>
                <a:gd name="T55" fmla="*/ 179 h 824"/>
                <a:gd name="T56" fmla="*/ 143 w 859"/>
                <a:gd name="T57" fmla="*/ 179 h 824"/>
                <a:gd name="T58" fmla="*/ 143 w 859"/>
                <a:gd name="T59" fmla="*/ 251 h 824"/>
                <a:gd name="T60" fmla="*/ 662 w 859"/>
                <a:gd name="T61" fmla="*/ 251 h 824"/>
                <a:gd name="T62" fmla="*/ 788 w 859"/>
                <a:gd name="T63" fmla="*/ 125 h 824"/>
                <a:gd name="T64" fmla="*/ 197 w 859"/>
                <a:gd name="T65" fmla="*/ 537 h 824"/>
                <a:gd name="T66" fmla="*/ 214 w 859"/>
                <a:gd name="T67" fmla="*/ 537 h 824"/>
                <a:gd name="T68" fmla="*/ 214 w 859"/>
                <a:gd name="T69" fmla="*/ 466 h 824"/>
                <a:gd name="T70" fmla="*/ 197 w 859"/>
                <a:gd name="T71" fmla="*/ 466 h 824"/>
                <a:gd name="T72" fmla="*/ 143 w 859"/>
                <a:gd name="T73" fmla="*/ 412 h 824"/>
                <a:gd name="T74" fmla="*/ 197 w 859"/>
                <a:gd name="T75" fmla="*/ 358 h 824"/>
                <a:gd name="T76" fmla="*/ 787 w 859"/>
                <a:gd name="T77" fmla="*/ 358 h 824"/>
                <a:gd name="T78" fmla="*/ 787 w 859"/>
                <a:gd name="T79" fmla="*/ 286 h 824"/>
                <a:gd name="T80" fmla="*/ 197 w 859"/>
                <a:gd name="T81" fmla="*/ 286 h 824"/>
                <a:gd name="T82" fmla="*/ 71 w 859"/>
                <a:gd name="T83" fmla="*/ 412 h 824"/>
                <a:gd name="T84" fmla="*/ 197 w 859"/>
                <a:gd name="T85" fmla="*/ 537 h 824"/>
                <a:gd name="T86" fmla="*/ 71 w 859"/>
                <a:gd name="T87" fmla="*/ 698 h 824"/>
                <a:gd name="T88" fmla="*/ 125 w 859"/>
                <a:gd name="T89" fmla="*/ 645 h 824"/>
                <a:gd name="T90" fmla="*/ 214 w 859"/>
                <a:gd name="T91" fmla="*/ 645 h 824"/>
                <a:gd name="T92" fmla="*/ 214 w 859"/>
                <a:gd name="T93" fmla="*/ 573 h 824"/>
                <a:gd name="T94" fmla="*/ 125 w 859"/>
                <a:gd name="T95" fmla="*/ 573 h 824"/>
                <a:gd name="T96" fmla="*/ 0 w 859"/>
                <a:gd name="T97" fmla="*/ 698 h 824"/>
                <a:gd name="T98" fmla="*/ 125 w 859"/>
                <a:gd name="T99" fmla="*/ 824 h 824"/>
                <a:gd name="T100" fmla="*/ 859 w 859"/>
                <a:gd name="T101" fmla="*/ 824 h 824"/>
                <a:gd name="T102" fmla="*/ 859 w 859"/>
                <a:gd name="T103" fmla="*/ 752 h 824"/>
                <a:gd name="T104" fmla="*/ 125 w 859"/>
                <a:gd name="T105" fmla="*/ 752 h 824"/>
                <a:gd name="T106" fmla="*/ 71 w 859"/>
                <a:gd name="T107" fmla="*/ 698 h 8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859" h="824">
                  <a:moveTo>
                    <a:pt x="573" y="573"/>
                  </a:moveTo>
                  <a:lnTo>
                    <a:pt x="573" y="645"/>
                  </a:lnTo>
                  <a:lnTo>
                    <a:pt x="859" y="645"/>
                  </a:lnTo>
                  <a:lnTo>
                    <a:pt x="859" y="573"/>
                  </a:lnTo>
                  <a:lnTo>
                    <a:pt x="573" y="573"/>
                  </a:lnTo>
                  <a:close/>
                  <a:moveTo>
                    <a:pt x="787" y="537"/>
                  </a:moveTo>
                  <a:lnTo>
                    <a:pt x="787" y="466"/>
                  </a:lnTo>
                  <a:lnTo>
                    <a:pt x="573" y="466"/>
                  </a:lnTo>
                  <a:lnTo>
                    <a:pt x="573" y="537"/>
                  </a:lnTo>
                  <a:lnTo>
                    <a:pt x="787" y="537"/>
                  </a:lnTo>
                  <a:close/>
                  <a:moveTo>
                    <a:pt x="250" y="430"/>
                  </a:moveTo>
                  <a:lnTo>
                    <a:pt x="250" y="698"/>
                  </a:lnTo>
                  <a:lnTo>
                    <a:pt x="394" y="627"/>
                  </a:lnTo>
                  <a:lnTo>
                    <a:pt x="537" y="698"/>
                  </a:lnTo>
                  <a:lnTo>
                    <a:pt x="537" y="430"/>
                  </a:lnTo>
                  <a:lnTo>
                    <a:pt x="465" y="430"/>
                  </a:lnTo>
                  <a:lnTo>
                    <a:pt x="465" y="582"/>
                  </a:lnTo>
                  <a:lnTo>
                    <a:pt x="394" y="547"/>
                  </a:lnTo>
                  <a:lnTo>
                    <a:pt x="322" y="582"/>
                  </a:lnTo>
                  <a:lnTo>
                    <a:pt x="322" y="430"/>
                  </a:lnTo>
                  <a:lnTo>
                    <a:pt x="250" y="430"/>
                  </a:lnTo>
                  <a:close/>
                  <a:moveTo>
                    <a:pt x="788" y="125"/>
                  </a:moveTo>
                  <a:cubicBezTo>
                    <a:pt x="788" y="56"/>
                    <a:pt x="731" y="0"/>
                    <a:pt x="662" y="0"/>
                  </a:cubicBezTo>
                  <a:lnTo>
                    <a:pt x="143" y="0"/>
                  </a:lnTo>
                  <a:lnTo>
                    <a:pt x="143" y="72"/>
                  </a:lnTo>
                  <a:lnTo>
                    <a:pt x="662" y="72"/>
                  </a:lnTo>
                  <a:cubicBezTo>
                    <a:pt x="692" y="72"/>
                    <a:pt x="716" y="96"/>
                    <a:pt x="716" y="125"/>
                  </a:cubicBezTo>
                  <a:cubicBezTo>
                    <a:pt x="716" y="155"/>
                    <a:pt x="692" y="179"/>
                    <a:pt x="662" y="179"/>
                  </a:cubicBezTo>
                  <a:lnTo>
                    <a:pt x="143" y="179"/>
                  </a:lnTo>
                  <a:lnTo>
                    <a:pt x="143" y="251"/>
                  </a:lnTo>
                  <a:lnTo>
                    <a:pt x="662" y="251"/>
                  </a:lnTo>
                  <a:cubicBezTo>
                    <a:pt x="731" y="251"/>
                    <a:pt x="788" y="194"/>
                    <a:pt x="788" y="125"/>
                  </a:cubicBezTo>
                  <a:close/>
                  <a:moveTo>
                    <a:pt x="197" y="537"/>
                  </a:moveTo>
                  <a:lnTo>
                    <a:pt x="214" y="537"/>
                  </a:lnTo>
                  <a:lnTo>
                    <a:pt x="214" y="466"/>
                  </a:lnTo>
                  <a:lnTo>
                    <a:pt x="197" y="466"/>
                  </a:lnTo>
                  <a:cubicBezTo>
                    <a:pt x="167" y="466"/>
                    <a:pt x="143" y="441"/>
                    <a:pt x="143" y="412"/>
                  </a:cubicBezTo>
                  <a:cubicBezTo>
                    <a:pt x="143" y="382"/>
                    <a:pt x="167" y="358"/>
                    <a:pt x="197" y="358"/>
                  </a:cubicBezTo>
                  <a:lnTo>
                    <a:pt x="787" y="358"/>
                  </a:lnTo>
                  <a:lnTo>
                    <a:pt x="787" y="286"/>
                  </a:lnTo>
                  <a:lnTo>
                    <a:pt x="197" y="286"/>
                  </a:lnTo>
                  <a:cubicBezTo>
                    <a:pt x="128" y="286"/>
                    <a:pt x="71" y="343"/>
                    <a:pt x="71" y="412"/>
                  </a:cubicBezTo>
                  <a:cubicBezTo>
                    <a:pt x="71" y="481"/>
                    <a:pt x="128" y="537"/>
                    <a:pt x="197" y="537"/>
                  </a:cubicBezTo>
                  <a:close/>
                  <a:moveTo>
                    <a:pt x="71" y="698"/>
                  </a:moveTo>
                  <a:cubicBezTo>
                    <a:pt x="71" y="669"/>
                    <a:pt x="95" y="645"/>
                    <a:pt x="125" y="645"/>
                  </a:cubicBezTo>
                  <a:lnTo>
                    <a:pt x="214" y="645"/>
                  </a:lnTo>
                  <a:lnTo>
                    <a:pt x="214" y="573"/>
                  </a:lnTo>
                  <a:lnTo>
                    <a:pt x="125" y="573"/>
                  </a:lnTo>
                  <a:cubicBezTo>
                    <a:pt x="56" y="573"/>
                    <a:pt x="0" y="629"/>
                    <a:pt x="0" y="698"/>
                  </a:cubicBezTo>
                  <a:cubicBezTo>
                    <a:pt x="0" y="767"/>
                    <a:pt x="56" y="824"/>
                    <a:pt x="125" y="824"/>
                  </a:cubicBezTo>
                  <a:lnTo>
                    <a:pt x="859" y="824"/>
                  </a:lnTo>
                  <a:lnTo>
                    <a:pt x="859" y="752"/>
                  </a:lnTo>
                  <a:lnTo>
                    <a:pt x="125" y="752"/>
                  </a:lnTo>
                  <a:cubicBezTo>
                    <a:pt x="95" y="752"/>
                    <a:pt x="71" y="728"/>
                    <a:pt x="71" y="69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9" name="Freeform 46"/>
            <p:cNvSpPr>
              <a:spLocks noEditPoints="1"/>
            </p:cNvSpPr>
            <p:nvPr/>
          </p:nvSpPr>
          <p:spPr bwMode="auto">
            <a:xfrm>
              <a:off x="8741962" y="2983368"/>
              <a:ext cx="188855" cy="272813"/>
            </a:xfrm>
            <a:custGeom>
              <a:avLst/>
              <a:gdLst>
                <a:gd name="T0" fmla="*/ 275 w 598"/>
                <a:gd name="T1" fmla="*/ 251 h 860"/>
                <a:gd name="T2" fmla="*/ 347 w 598"/>
                <a:gd name="T3" fmla="*/ 179 h 860"/>
                <a:gd name="T4" fmla="*/ 419 w 598"/>
                <a:gd name="T5" fmla="*/ 251 h 860"/>
                <a:gd name="T6" fmla="*/ 347 w 598"/>
                <a:gd name="T7" fmla="*/ 322 h 860"/>
                <a:gd name="T8" fmla="*/ 275 w 598"/>
                <a:gd name="T9" fmla="*/ 251 h 860"/>
                <a:gd name="T10" fmla="*/ 598 w 598"/>
                <a:gd name="T11" fmla="*/ 752 h 860"/>
                <a:gd name="T12" fmla="*/ 449 w 598"/>
                <a:gd name="T13" fmla="*/ 352 h 860"/>
                <a:gd name="T14" fmla="*/ 490 w 598"/>
                <a:gd name="T15" fmla="*/ 251 h 860"/>
                <a:gd name="T16" fmla="*/ 383 w 598"/>
                <a:gd name="T17" fmla="*/ 113 h 860"/>
                <a:gd name="T18" fmla="*/ 383 w 598"/>
                <a:gd name="T19" fmla="*/ 36 h 860"/>
                <a:gd name="T20" fmla="*/ 347 w 598"/>
                <a:gd name="T21" fmla="*/ 0 h 860"/>
                <a:gd name="T22" fmla="*/ 311 w 598"/>
                <a:gd name="T23" fmla="*/ 36 h 860"/>
                <a:gd name="T24" fmla="*/ 311 w 598"/>
                <a:gd name="T25" fmla="*/ 113 h 860"/>
                <a:gd name="T26" fmla="*/ 204 w 598"/>
                <a:gd name="T27" fmla="*/ 251 h 860"/>
                <a:gd name="T28" fmla="*/ 245 w 598"/>
                <a:gd name="T29" fmla="*/ 352 h 860"/>
                <a:gd name="T30" fmla="*/ 196 w 598"/>
                <a:gd name="T31" fmla="*/ 485 h 860"/>
                <a:gd name="T32" fmla="*/ 260 w 598"/>
                <a:gd name="T33" fmla="*/ 519 h 860"/>
                <a:gd name="T34" fmla="*/ 308 w 598"/>
                <a:gd name="T35" fmla="*/ 388 h 860"/>
                <a:gd name="T36" fmla="*/ 347 w 598"/>
                <a:gd name="T37" fmla="*/ 394 h 860"/>
                <a:gd name="T38" fmla="*/ 386 w 598"/>
                <a:gd name="T39" fmla="*/ 388 h 860"/>
                <a:gd name="T40" fmla="*/ 459 w 598"/>
                <a:gd name="T41" fmla="*/ 586 h 860"/>
                <a:gd name="T42" fmla="*/ 347 w 598"/>
                <a:gd name="T43" fmla="*/ 607 h 860"/>
                <a:gd name="T44" fmla="*/ 72 w 598"/>
                <a:gd name="T45" fmla="*/ 453 h 860"/>
                <a:gd name="T46" fmla="*/ 26 w 598"/>
                <a:gd name="T47" fmla="*/ 440 h 860"/>
                <a:gd name="T48" fmla="*/ 11 w 598"/>
                <a:gd name="T49" fmla="*/ 491 h 860"/>
                <a:gd name="T50" fmla="*/ 145 w 598"/>
                <a:gd name="T51" fmla="*/ 623 h 860"/>
                <a:gd name="T52" fmla="*/ 96 w 598"/>
                <a:gd name="T53" fmla="*/ 752 h 860"/>
                <a:gd name="T54" fmla="*/ 134 w 598"/>
                <a:gd name="T55" fmla="*/ 860 h 860"/>
                <a:gd name="T56" fmla="*/ 210 w 598"/>
                <a:gd name="T57" fmla="*/ 654 h 860"/>
                <a:gd name="T58" fmla="*/ 347 w 598"/>
                <a:gd name="T59" fmla="*/ 679 h 860"/>
                <a:gd name="T60" fmla="*/ 483 w 598"/>
                <a:gd name="T61" fmla="*/ 653 h 860"/>
                <a:gd name="T62" fmla="*/ 560 w 598"/>
                <a:gd name="T63" fmla="*/ 860 h 860"/>
                <a:gd name="T64" fmla="*/ 598 w 598"/>
                <a:gd name="T65" fmla="*/ 752 h 8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98" h="860">
                  <a:moveTo>
                    <a:pt x="275" y="251"/>
                  </a:moveTo>
                  <a:cubicBezTo>
                    <a:pt x="275" y="211"/>
                    <a:pt x="307" y="179"/>
                    <a:pt x="347" y="179"/>
                  </a:cubicBezTo>
                  <a:cubicBezTo>
                    <a:pt x="386" y="179"/>
                    <a:pt x="419" y="211"/>
                    <a:pt x="419" y="251"/>
                  </a:cubicBezTo>
                  <a:cubicBezTo>
                    <a:pt x="419" y="290"/>
                    <a:pt x="386" y="322"/>
                    <a:pt x="347" y="322"/>
                  </a:cubicBezTo>
                  <a:cubicBezTo>
                    <a:pt x="307" y="322"/>
                    <a:pt x="275" y="290"/>
                    <a:pt x="275" y="251"/>
                  </a:cubicBezTo>
                  <a:close/>
                  <a:moveTo>
                    <a:pt x="598" y="752"/>
                  </a:moveTo>
                  <a:lnTo>
                    <a:pt x="449" y="352"/>
                  </a:lnTo>
                  <a:cubicBezTo>
                    <a:pt x="474" y="326"/>
                    <a:pt x="490" y="290"/>
                    <a:pt x="490" y="251"/>
                  </a:cubicBezTo>
                  <a:cubicBezTo>
                    <a:pt x="490" y="184"/>
                    <a:pt x="444" y="129"/>
                    <a:pt x="383" y="113"/>
                  </a:cubicBezTo>
                  <a:lnTo>
                    <a:pt x="383" y="36"/>
                  </a:lnTo>
                  <a:cubicBezTo>
                    <a:pt x="383" y="16"/>
                    <a:pt x="367" y="0"/>
                    <a:pt x="347" y="0"/>
                  </a:cubicBezTo>
                  <a:cubicBezTo>
                    <a:pt x="327" y="0"/>
                    <a:pt x="311" y="16"/>
                    <a:pt x="311" y="36"/>
                  </a:cubicBezTo>
                  <a:lnTo>
                    <a:pt x="311" y="113"/>
                  </a:lnTo>
                  <a:cubicBezTo>
                    <a:pt x="250" y="129"/>
                    <a:pt x="204" y="184"/>
                    <a:pt x="204" y="251"/>
                  </a:cubicBezTo>
                  <a:cubicBezTo>
                    <a:pt x="204" y="290"/>
                    <a:pt x="220" y="326"/>
                    <a:pt x="245" y="352"/>
                  </a:cubicBezTo>
                  <a:lnTo>
                    <a:pt x="196" y="485"/>
                  </a:lnTo>
                  <a:cubicBezTo>
                    <a:pt x="216" y="499"/>
                    <a:pt x="237" y="511"/>
                    <a:pt x="260" y="519"/>
                  </a:cubicBezTo>
                  <a:lnTo>
                    <a:pt x="308" y="388"/>
                  </a:lnTo>
                  <a:cubicBezTo>
                    <a:pt x="321" y="392"/>
                    <a:pt x="333" y="394"/>
                    <a:pt x="347" y="394"/>
                  </a:cubicBezTo>
                  <a:cubicBezTo>
                    <a:pt x="361" y="394"/>
                    <a:pt x="373" y="392"/>
                    <a:pt x="386" y="388"/>
                  </a:cubicBezTo>
                  <a:lnTo>
                    <a:pt x="459" y="586"/>
                  </a:lnTo>
                  <a:cubicBezTo>
                    <a:pt x="423" y="599"/>
                    <a:pt x="386" y="607"/>
                    <a:pt x="347" y="607"/>
                  </a:cubicBezTo>
                  <a:cubicBezTo>
                    <a:pt x="233" y="607"/>
                    <a:pt x="130" y="549"/>
                    <a:pt x="72" y="453"/>
                  </a:cubicBezTo>
                  <a:cubicBezTo>
                    <a:pt x="63" y="438"/>
                    <a:pt x="43" y="432"/>
                    <a:pt x="26" y="440"/>
                  </a:cubicBezTo>
                  <a:cubicBezTo>
                    <a:pt x="7" y="449"/>
                    <a:pt x="0" y="473"/>
                    <a:pt x="11" y="491"/>
                  </a:cubicBezTo>
                  <a:cubicBezTo>
                    <a:pt x="45" y="547"/>
                    <a:pt x="92" y="591"/>
                    <a:pt x="145" y="623"/>
                  </a:cubicBezTo>
                  <a:lnTo>
                    <a:pt x="96" y="752"/>
                  </a:lnTo>
                  <a:lnTo>
                    <a:pt x="134" y="860"/>
                  </a:lnTo>
                  <a:lnTo>
                    <a:pt x="210" y="654"/>
                  </a:lnTo>
                  <a:cubicBezTo>
                    <a:pt x="253" y="670"/>
                    <a:pt x="299" y="679"/>
                    <a:pt x="347" y="679"/>
                  </a:cubicBezTo>
                  <a:cubicBezTo>
                    <a:pt x="394" y="679"/>
                    <a:pt x="440" y="669"/>
                    <a:pt x="483" y="653"/>
                  </a:cubicBezTo>
                  <a:lnTo>
                    <a:pt x="560" y="860"/>
                  </a:lnTo>
                  <a:lnTo>
                    <a:pt x="598" y="75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5" name="Freeform 52"/>
            <p:cNvSpPr>
              <a:spLocks noEditPoints="1"/>
            </p:cNvSpPr>
            <p:nvPr/>
          </p:nvSpPr>
          <p:spPr bwMode="auto">
            <a:xfrm>
              <a:off x="8704053" y="2417306"/>
              <a:ext cx="264672" cy="272813"/>
            </a:xfrm>
            <a:custGeom>
              <a:avLst/>
              <a:gdLst>
                <a:gd name="T0" fmla="*/ 179 w 839"/>
                <a:gd name="T1" fmla="*/ 143 h 860"/>
                <a:gd name="T2" fmla="*/ 609 w 839"/>
                <a:gd name="T3" fmla="*/ 143 h 860"/>
                <a:gd name="T4" fmla="*/ 609 w 839"/>
                <a:gd name="T5" fmla="*/ 269 h 860"/>
                <a:gd name="T6" fmla="*/ 474 w 839"/>
                <a:gd name="T7" fmla="*/ 383 h 860"/>
                <a:gd name="T8" fmla="*/ 526 w 839"/>
                <a:gd name="T9" fmla="*/ 440 h 860"/>
                <a:gd name="T10" fmla="*/ 839 w 839"/>
                <a:gd name="T11" fmla="*/ 208 h 860"/>
                <a:gd name="T12" fmla="*/ 781 w 839"/>
                <a:gd name="T13" fmla="*/ 151 h 860"/>
                <a:gd name="T14" fmla="*/ 680 w 839"/>
                <a:gd name="T15" fmla="*/ 215 h 860"/>
                <a:gd name="T16" fmla="*/ 680 w 839"/>
                <a:gd name="T17" fmla="*/ 72 h 860"/>
                <a:gd name="T18" fmla="*/ 430 w 839"/>
                <a:gd name="T19" fmla="*/ 72 h 860"/>
                <a:gd name="T20" fmla="*/ 430 w 839"/>
                <a:gd name="T21" fmla="*/ 0 h 860"/>
                <a:gd name="T22" fmla="*/ 358 w 839"/>
                <a:gd name="T23" fmla="*/ 0 h 860"/>
                <a:gd name="T24" fmla="*/ 358 w 839"/>
                <a:gd name="T25" fmla="*/ 72 h 860"/>
                <a:gd name="T26" fmla="*/ 107 w 839"/>
                <a:gd name="T27" fmla="*/ 72 h 860"/>
                <a:gd name="T28" fmla="*/ 107 w 839"/>
                <a:gd name="T29" fmla="*/ 537 h 860"/>
                <a:gd name="T30" fmla="*/ 179 w 839"/>
                <a:gd name="T31" fmla="*/ 537 h 860"/>
                <a:gd name="T32" fmla="*/ 179 w 839"/>
                <a:gd name="T33" fmla="*/ 143 h 860"/>
                <a:gd name="T34" fmla="*/ 680 w 839"/>
                <a:gd name="T35" fmla="*/ 537 h 860"/>
                <a:gd name="T36" fmla="*/ 680 w 839"/>
                <a:gd name="T37" fmla="*/ 393 h 860"/>
                <a:gd name="T38" fmla="*/ 609 w 839"/>
                <a:gd name="T39" fmla="*/ 447 h 860"/>
                <a:gd name="T40" fmla="*/ 609 w 839"/>
                <a:gd name="T41" fmla="*/ 537 h 860"/>
                <a:gd name="T42" fmla="*/ 680 w 839"/>
                <a:gd name="T43" fmla="*/ 537 h 860"/>
                <a:gd name="T44" fmla="*/ 371 w 839"/>
                <a:gd name="T45" fmla="*/ 473 h 860"/>
                <a:gd name="T46" fmla="*/ 414 w 839"/>
                <a:gd name="T47" fmla="*/ 530 h 860"/>
                <a:gd name="T48" fmla="*/ 506 w 839"/>
                <a:gd name="T49" fmla="*/ 461 h 860"/>
                <a:gd name="T50" fmla="*/ 463 w 839"/>
                <a:gd name="T51" fmla="*/ 404 h 860"/>
                <a:gd name="T52" fmla="*/ 371 w 839"/>
                <a:gd name="T53" fmla="*/ 473 h 860"/>
                <a:gd name="T54" fmla="*/ 0 w 839"/>
                <a:gd name="T55" fmla="*/ 681 h 860"/>
                <a:gd name="T56" fmla="*/ 233 w 839"/>
                <a:gd name="T57" fmla="*/ 681 h 860"/>
                <a:gd name="T58" fmla="*/ 166 w 839"/>
                <a:gd name="T59" fmla="*/ 860 h 860"/>
                <a:gd name="T60" fmla="*/ 243 w 839"/>
                <a:gd name="T61" fmla="*/ 860 h 860"/>
                <a:gd name="T62" fmla="*/ 310 w 839"/>
                <a:gd name="T63" fmla="*/ 681 h 860"/>
                <a:gd name="T64" fmla="*/ 358 w 839"/>
                <a:gd name="T65" fmla="*/ 681 h 860"/>
                <a:gd name="T66" fmla="*/ 358 w 839"/>
                <a:gd name="T67" fmla="*/ 860 h 860"/>
                <a:gd name="T68" fmla="*/ 430 w 839"/>
                <a:gd name="T69" fmla="*/ 860 h 860"/>
                <a:gd name="T70" fmla="*/ 430 w 839"/>
                <a:gd name="T71" fmla="*/ 681 h 860"/>
                <a:gd name="T72" fmla="*/ 547 w 839"/>
                <a:gd name="T73" fmla="*/ 681 h 860"/>
                <a:gd name="T74" fmla="*/ 614 w 839"/>
                <a:gd name="T75" fmla="*/ 860 h 860"/>
                <a:gd name="T76" fmla="*/ 690 w 839"/>
                <a:gd name="T77" fmla="*/ 860 h 860"/>
                <a:gd name="T78" fmla="*/ 623 w 839"/>
                <a:gd name="T79" fmla="*/ 681 h 860"/>
                <a:gd name="T80" fmla="*/ 788 w 839"/>
                <a:gd name="T81" fmla="*/ 681 h 860"/>
                <a:gd name="T82" fmla="*/ 788 w 839"/>
                <a:gd name="T83" fmla="*/ 609 h 860"/>
                <a:gd name="T84" fmla="*/ 0 w 839"/>
                <a:gd name="T85" fmla="*/ 609 h 860"/>
                <a:gd name="T86" fmla="*/ 0 w 839"/>
                <a:gd name="T87" fmla="*/ 681 h 8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839" h="860">
                  <a:moveTo>
                    <a:pt x="179" y="143"/>
                  </a:moveTo>
                  <a:lnTo>
                    <a:pt x="609" y="143"/>
                  </a:lnTo>
                  <a:lnTo>
                    <a:pt x="609" y="269"/>
                  </a:lnTo>
                  <a:lnTo>
                    <a:pt x="474" y="383"/>
                  </a:lnTo>
                  <a:lnTo>
                    <a:pt x="526" y="440"/>
                  </a:lnTo>
                  <a:lnTo>
                    <a:pt x="839" y="208"/>
                  </a:lnTo>
                  <a:lnTo>
                    <a:pt x="781" y="151"/>
                  </a:lnTo>
                  <a:lnTo>
                    <a:pt x="680" y="215"/>
                  </a:lnTo>
                  <a:lnTo>
                    <a:pt x="680" y="72"/>
                  </a:lnTo>
                  <a:lnTo>
                    <a:pt x="430" y="72"/>
                  </a:lnTo>
                  <a:lnTo>
                    <a:pt x="430" y="0"/>
                  </a:lnTo>
                  <a:lnTo>
                    <a:pt x="358" y="0"/>
                  </a:lnTo>
                  <a:lnTo>
                    <a:pt x="358" y="72"/>
                  </a:lnTo>
                  <a:lnTo>
                    <a:pt x="107" y="72"/>
                  </a:lnTo>
                  <a:lnTo>
                    <a:pt x="107" y="537"/>
                  </a:lnTo>
                  <a:lnTo>
                    <a:pt x="179" y="537"/>
                  </a:lnTo>
                  <a:lnTo>
                    <a:pt x="179" y="143"/>
                  </a:lnTo>
                  <a:close/>
                  <a:moveTo>
                    <a:pt x="680" y="537"/>
                  </a:moveTo>
                  <a:lnTo>
                    <a:pt x="680" y="393"/>
                  </a:lnTo>
                  <a:lnTo>
                    <a:pt x="609" y="447"/>
                  </a:lnTo>
                  <a:lnTo>
                    <a:pt x="609" y="537"/>
                  </a:lnTo>
                  <a:lnTo>
                    <a:pt x="680" y="537"/>
                  </a:lnTo>
                  <a:close/>
                  <a:moveTo>
                    <a:pt x="371" y="473"/>
                  </a:moveTo>
                  <a:lnTo>
                    <a:pt x="414" y="530"/>
                  </a:lnTo>
                  <a:lnTo>
                    <a:pt x="506" y="461"/>
                  </a:lnTo>
                  <a:lnTo>
                    <a:pt x="463" y="404"/>
                  </a:lnTo>
                  <a:lnTo>
                    <a:pt x="371" y="473"/>
                  </a:lnTo>
                  <a:close/>
                  <a:moveTo>
                    <a:pt x="0" y="681"/>
                  </a:moveTo>
                  <a:lnTo>
                    <a:pt x="233" y="681"/>
                  </a:lnTo>
                  <a:lnTo>
                    <a:pt x="166" y="860"/>
                  </a:lnTo>
                  <a:lnTo>
                    <a:pt x="243" y="860"/>
                  </a:lnTo>
                  <a:lnTo>
                    <a:pt x="310" y="681"/>
                  </a:lnTo>
                  <a:lnTo>
                    <a:pt x="358" y="681"/>
                  </a:lnTo>
                  <a:lnTo>
                    <a:pt x="358" y="860"/>
                  </a:lnTo>
                  <a:lnTo>
                    <a:pt x="430" y="860"/>
                  </a:lnTo>
                  <a:lnTo>
                    <a:pt x="430" y="681"/>
                  </a:lnTo>
                  <a:lnTo>
                    <a:pt x="547" y="681"/>
                  </a:lnTo>
                  <a:lnTo>
                    <a:pt x="614" y="860"/>
                  </a:lnTo>
                  <a:lnTo>
                    <a:pt x="690" y="860"/>
                  </a:lnTo>
                  <a:lnTo>
                    <a:pt x="623" y="681"/>
                  </a:lnTo>
                  <a:lnTo>
                    <a:pt x="788" y="681"/>
                  </a:lnTo>
                  <a:lnTo>
                    <a:pt x="788" y="609"/>
                  </a:lnTo>
                  <a:lnTo>
                    <a:pt x="0" y="609"/>
                  </a:lnTo>
                  <a:lnTo>
                    <a:pt x="0" y="68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6" name="Freeform 53"/>
            <p:cNvSpPr>
              <a:spLocks noEditPoints="1"/>
            </p:cNvSpPr>
            <p:nvPr/>
          </p:nvSpPr>
          <p:spPr bwMode="auto">
            <a:xfrm>
              <a:off x="8695782" y="4695336"/>
              <a:ext cx="281214" cy="245254"/>
            </a:xfrm>
            <a:custGeom>
              <a:avLst/>
              <a:gdLst>
                <a:gd name="T0" fmla="*/ 408 w 888"/>
                <a:gd name="T1" fmla="*/ 61 h 777"/>
                <a:gd name="T2" fmla="*/ 337 w 888"/>
                <a:gd name="T3" fmla="*/ 61 h 777"/>
                <a:gd name="T4" fmla="*/ 337 w 888"/>
                <a:gd name="T5" fmla="*/ 539 h 777"/>
                <a:gd name="T6" fmla="*/ 408 w 888"/>
                <a:gd name="T7" fmla="*/ 556 h 777"/>
                <a:gd name="T8" fmla="*/ 408 w 888"/>
                <a:gd name="T9" fmla="*/ 61 h 777"/>
                <a:gd name="T10" fmla="*/ 552 w 888"/>
                <a:gd name="T11" fmla="*/ 61 h 777"/>
                <a:gd name="T12" fmla="*/ 480 w 888"/>
                <a:gd name="T13" fmla="*/ 61 h 777"/>
                <a:gd name="T14" fmla="*/ 480 w 888"/>
                <a:gd name="T15" fmla="*/ 556 h 777"/>
                <a:gd name="T16" fmla="*/ 552 w 888"/>
                <a:gd name="T17" fmla="*/ 539 h 777"/>
                <a:gd name="T18" fmla="*/ 552 w 888"/>
                <a:gd name="T19" fmla="*/ 61 h 777"/>
                <a:gd name="T20" fmla="*/ 829 w 888"/>
                <a:gd name="T21" fmla="*/ 27 h 777"/>
                <a:gd name="T22" fmla="*/ 734 w 888"/>
                <a:gd name="T23" fmla="*/ 5 h 777"/>
                <a:gd name="T24" fmla="*/ 652 w 888"/>
                <a:gd name="T25" fmla="*/ 56 h 777"/>
                <a:gd name="T26" fmla="*/ 696 w 888"/>
                <a:gd name="T27" fmla="*/ 357 h 777"/>
                <a:gd name="T28" fmla="*/ 634 w 888"/>
                <a:gd name="T29" fmla="*/ 526 h 777"/>
                <a:gd name="T30" fmla="*/ 444 w 888"/>
                <a:gd name="T31" fmla="*/ 595 h 777"/>
                <a:gd name="T32" fmla="*/ 254 w 888"/>
                <a:gd name="T33" fmla="*/ 526 h 777"/>
                <a:gd name="T34" fmla="*/ 193 w 888"/>
                <a:gd name="T35" fmla="*/ 357 h 777"/>
                <a:gd name="T36" fmla="*/ 237 w 888"/>
                <a:gd name="T37" fmla="*/ 57 h 777"/>
                <a:gd name="T38" fmla="*/ 155 w 888"/>
                <a:gd name="T39" fmla="*/ 5 h 777"/>
                <a:gd name="T40" fmla="*/ 60 w 888"/>
                <a:gd name="T41" fmla="*/ 27 h 777"/>
                <a:gd name="T42" fmla="*/ 35 w 888"/>
                <a:gd name="T43" fmla="*/ 179 h 777"/>
                <a:gd name="T44" fmla="*/ 92 w 888"/>
                <a:gd name="T45" fmla="*/ 216 h 777"/>
                <a:gd name="T46" fmla="*/ 134 w 888"/>
                <a:gd name="T47" fmla="*/ 189 h 777"/>
                <a:gd name="T48" fmla="*/ 107 w 888"/>
                <a:gd name="T49" fmla="*/ 146 h 777"/>
                <a:gd name="T50" fmla="*/ 93 w 888"/>
                <a:gd name="T51" fmla="*/ 137 h 777"/>
                <a:gd name="T52" fmla="*/ 102 w 888"/>
                <a:gd name="T53" fmla="*/ 85 h 777"/>
                <a:gd name="T54" fmla="*/ 143 w 888"/>
                <a:gd name="T55" fmla="*/ 76 h 777"/>
                <a:gd name="T56" fmla="*/ 179 w 888"/>
                <a:gd name="T57" fmla="*/ 99 h 777"/>
                <a:gd name="T58" fmla="*/ 130 w 888"/>
                <a:gd name="T59" fmla="*/ 321 h 777"/>
                <a:gd name="T60" fmla="*/ 122 w 888"/>
                <a:gd name="T61" fmla="*/ 330 h 777"/>
                <a:gd name="T62" fmla="*/ 122 w 888"/>
                <a:gd name="T63" fmla="*/ 341 h 777"/>
                <a:gd name="T64" fmla="*/ 202 w 888"/>
                <a:gd name="T65" fmla="*/ 575 h 777"/>
                <a:gd name="T66" fmla="*/ 445 w 888"/>
                <a:gd name="T67" fmla="*/ 666 h 777"/>
                <a:gd name="T68" fmla="*/ 687 w 888"/>
                <a:gd name="T69" fmla="*/ 575 h 777"/>
                <a:gd name="T70" fmla="*/ 767 w 888"/>
                <a:gd name="T71" fmla="*/ 341 h 777"/>
                <a:gd name="T72" fmla="*/ 766 w 888"/>
                <a:gd name="T73" fmla="*/ 330 h 777"/>
                <a:gd name="T74" fmla="*/ 759 w 888"/>
                <a:gd name="T75" fmla="*/ 321 h 777"/>
                <a:gd name="T76" fmla="*/ 710 w 888"/>
                <a:gd name="T77" fmla="*/ 98 h 777"/>
                <a:gd name="T78" fmla="*/ 746 w 888"/>
                <a:gd name="T79" fmla="*/ 76 h 777"/>
                <a:gd name="T80" fmla="*/ 787 w 888"/>
                <a:gd name="T81" fmla="*/ 85 h 777"/>
                <a:gd name="T82" fmla="*/ 795 w 888"/>
                <a:gd name="T83" fmla="*/ 137 h 777"/>
                <a:gd name="T84" fmla="*/ 782 w 888"/>
                <a:gd name="T85" fmla="*/ 146 h 777"/>
                <a:gd name="T86" fmla="*/ 754 w 888"/>
                <a:gd name="T87" fmla="*/ 189 h 777"/>
                <a:gd name="T88" fmla="*/ 797 w 888"/>
                <a:gd name="T89" fmla="*/ 216 h 777"/>
                <a:gd name="T90" fmla="*/ 854 w 888"/>
                <a:gd name="T91" fmla="*/ 179 h 777"/>
                <a:gd name="T92" fmla="*/ 829 w 888"/>
                <a:gd name="T93" fmla="*/ 27 h 777"/>
                <a:gd name="T94" fmla="*/ 301 w 888"/>
                <a:gd name="T95" fmla="*/ 777 h 777"/>
                <a:gd name="T96" fmla="*/ 587 w 888"/>
                <a:gd name="T97" fmla="*/ 777 h 777"/>
                <a:gd name="T98" fmla="*/ 587 w 888"/>
                <a:gd name="T99" fmla="*/ 705 h 777"/>
                <a:gd name="T100" fmla="*/ 301 w 888"/>
                <a:gd name="T101" fmla="*/ 705 h 777"/>
                <a:gd name="T102" fmla="*/ 301 w 888"/>
                <a:gd name="T103" fmla="*/ 777 h 7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888" h="777">
                  <a:moveTo>
                    <a:pt x="408" y="61"/>
                  </a:moveTo>
                  <a:lnTo>
                    <a:pt x="337" y="61"/>
                  </a:lnTo>
                  <a:lnTo>
                    <a:pt x="337" y="539"/>
                  </a:lnTo>
                  <a:cubicBezTo>
                    <a:pt x="372" y="548"/>
                    <a:pt x="372" y="554"/>
                    <a:pt x="408" y="556"/>
                  </a:cubicBezTo>
                  <a:lnTo>
                    <a:pt x="408" y="61"/>
                  </a:lnTo>
                  <a:close/>
                  <a:moveTo>
                    <a:pt x="552" y="61"/>
                  </a:moveTo>
                  <a:lnTo>
                    <a:pt x="480" y="61"/>
                  </a:lnTo>
                  <a:lnTo>
                    <a:pt x="480" y="556"/>
                  </a:lnTo>
                  <a:cubicBezTo>
                    <a:pt x="516" y="554"/>
                    <a:pt x="516" y="548"/>
                    <a:pt x="552" y="539"/>
                  </a:cubicBezTo>
                  <a:lnTo>
                    <a:pt x="552" y="61"/>
                  </a:lnTo>
                  <a:close/>
                  <a:moveTo>
                    <a:pt x="829" y="27"/>
                  </a:moveTo>
                  <a:cubicBezTo>
                    <a:pt x="801" y="8"/>
                    <a:pt x="768" y="0"/>
                    <a:pt x="734" y="5"/>
                  </a:cubicBezTo>
                  <a:cubicBezTo>
                    <a:pt x="700" y="11"/>
                    <a:pt x="671" y="29"/>
                    <a:pt x="652" y="56"/>
                  </a:cubicBezTo>
                  <a:cubicBezTo>
                    <a:pt x="591" y="139"/>
                    <a:pt x="637" y="279"/>
                    <a:pt x="696" y="357"/>
                  </a:cubicBezTo>
                  <a:cubicBezTo>
                    <a:pt x="695" y="386"/>
                    <a:pt x="689" y="468"/>
                    <a:pt x="634" y="526"/>
                  </a:cubicBezTo>
                  <a:cubicBezTo>
                    <a:pt x="592" y="572"/>
                    <a:pt x="528" y="595"/>
                    <a:pt x="444" y="595"/>
                  </a:cubicBezTo>
                  <a:cubicBezTo>
                    <a:pt x="361" y="595"/>
                    <a:pt x="297" y="572"/>
                    <a:pt x="254" y="526"/>
                  </a:cubicBezTo>
                  <a:cubicBezTo>
                    <a:pt x="199" y="468"/>
                    <a:pt x="193" y="385"/>
                    <a:pt x="193" y="357"/>
                  </a:cubicBezTo>
                  <a:cubicBezTo>
                    <a:pt x="252" y="279"/>
                    <a:pt x="298" y="139"/>
                    <a:pt x="237" y="57"/>
                  </a:cubicBezTo>
                  <a:cubicBezTo>
                    <a:pt x="217" y="29"/>
                    <a:pt x="188" y="11"/>
                    <a:pt x="155" y="5"/>
                  </a:cubicBezTo>
                  <a:cubicBezTo>
                    <a:pt x="121" y="0"/>
                    <a:pt x="87" y="8"/>
                    <a:pt x="60" y="27"/>
                  </a:cubicBezTo>
                  <a:cubicBezTo>
                    <a:pt x="11" y="63"/>
                    <a:pt x="0" y="130"/>
                    <a:pt x="35" y="179"/>
                  </a:cubicBezTo>
                  <a:cubicBezTo>
                    <a:pt x="49" y="198"/>
                    <a:pt x="69" y="212"/>
                    <a:pt x="92" y="216"/>
                  </a:cubicBezTo>
                  <a:cubicBezTo>
                    <a:pt x="111" y="220"/>
                    <a:pt x="130" y="208"/>
                    <a:pt x="134" y="189"/>
                  </a:cubicBezTo>
                  <a:cubicBezTo>
                    <a:pt x="138" y="169"/>
                    <a:pt x="126" y="150"/>
                    <a:pt x="107" y="146"/>
                  </a:cubicBezTo>
                  <a:cubicBezTo>
                    <a:pt x="101" y="145"/>
                    <a:pt x="96" y="142"/>
                    <a:pt x="93" y="137"/>
                  </a:cubicBezTo>
                  <a:cubicBezTo>
                    <a:pt x="81" y="121"/>
                    <a:pt x="85" y="97"/>
                    <a:pt x="102" y="85"/>
                  </a:cubicBezTo>
                  <a:cubicBezTo>
                    <a:pt x="114" y="77"/>
                    <a:pt x="128" y="73"/>
                    <a:pt x="143" y="76"/>
                  </a:cubicBezTo>
                  <a:cubicBezTo>
                    <a:pt x="157" y="78"/>
                    <a:pt x="170" y="86"/>
                    <a:pt x="179" y="99"/>
                  </a:cubicBezTo>
                  <a:cubicBezTo>
                    <a:pt x="215" y="148"/>
                    <a:pt x="182" y="259"/>
                    <a:pt x="130" y="321"/>
                  </a:cubicBezTo>
                  <a:lnTo>
                    <a:pt x="122" y="330"/>
                  </a:lnTo>
                  <a:lnTo>
                    <a:pt x="122" y="341"/>
                  </a:lnTo>
                  <a:cubicBezTo>
                    <a:pt x="121" y="347"/>
                    <a:pt x="113" y="480"/>
                    <a:pt x="202" y="575"/>
                  </a:cubicBezTo>
                  <a:cubicBezTo>
                    <a:pt x="258" y="636"/>
                    <a:pt x="340" y="666"/>
                    <a:pt x="445" y="666"/>
                  </a:cubicBezTo>
                  <a:cubicBezTo>
                    <a:pt x="549" y="666"/>
                    <a:pt x="630" y="636"/>
                    <a:pt x="687" y="575"/>
                  </a:cubicBezTo>
                  <a:cubicBezTo>
                    <a:pt x="775" y="480"/>
                    <a:pt x="767" y="347"/>
                    <a:pt x="767" y="341"/>
                  </a:cubicBezTo>
                  <a:lnTo>
                    <a:pt x="766" y="330"/>
                  </a:lnTo>
                  <a:lnTo>
                    <a:pt x="759" y="321"/>
                  </a:lnTo>
                  <a:cubicBezTo>
                    <a:pt x="706" y="259"/>
                    <a:pt x="673" y="148"/>
                    <a:pt x="710" y="98"/>
                  </a:cubicBezTo>
                  <a:cubicBezTo>
                    <a:pt x="718" y="86"/>
                    <a:pt x="731" y="78"/>
                    <a:pt x="746" y="76"/>
                  </a:cubicBezTo>
                  <a:cubicBezTo>
                    <a:pt x="760" y="73"/>
                    <a:pt x="775" y="77"/>
                    <a:pt x="787" y="85"/>
                  </a:cubicBezTo>
                  <a:cubicBezTo>
                    <a:pt x="803" y="97"/>
                    <a:pt x="807" y="121"/>
                    <a:pt x="795" y="137"/>
                  </a:cubicBezTo>
                  <a:cubicBezTo>
                    <a:pt x="792" y="142"/>
                    <a:pt x="787" y="145"/>
                    <a:pt x="782" y="146"/>
                  </a:cubicBezTo>
                  <a:cubicBezTo>
                    <a:pt x="762" y="150"/>
                    <a:pt x="750" y="169"/>
                    <a:pt x="754" y="189"/>
                  </a:cubicBezTo>
                  <a:cubicBezTo>
                    <a:pt x="758" y="208"/>
                    <a:pt x="777" y="220"/>
                    <a:pt x="797" y="216"/>
                  </a:cubicBezTo>
                  <a:cubicBezTo>
                    <a:pt x="820" y="212"/>
                    <a:pt x="840" y="198"/>
                    <a:pt x="854" y="179"/>
                  </a:cubicBezTo>
                  <a:cubicBezTo>
                    <a:pt x="888" y="130"/>
                    <a:pt x="877" y="63"/>
                    <a:pt x="829" y="27"/>
                  </a:cubicBezTo>
                  <a:close/>
                  <a:moveTo>
                    <a:pt x="301" y="777"/>
                  </a:moveTo>
                  <a:lnTo>
                    <a:pt x="587" y="777"/>
                  </a:lnTo>
                  <a:lnTo>
                    <a:pt x="587" y="705"/>
                  </a:lnTo>
                  <a:lnTo>
                    <a:pt x="301" y="705"/>
                  </a:lnTo>
                  <a:lnTo>
                    <a:pt x="301" y="77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115" name="AutoShape 4"/>
          <p:cNvSpPr>
            <a:spLocks noChangeAspect="1" noChangeArrowheads="1" noTextEdit="1"/>
          </p:cNvSpPr>
          <p:nvPr/>
        </p:nvSpPr>
        <p:spPr bwMode="auto">
          <a:xfrm>
            <a:off x="5844301" y="1808388"/>
            <a:ext cx="918665" cy="3170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16" name="Рисунок 115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185" name="TextBox 184"/>
          <p:cNvSpPr txBox="1"/>
          <p:nvPr/>
        </p:nvSpPr>
        <p:spPr>
          <a:xfrm>
            <a:off x="394574" y="1545718"/>
            <a:ext cx="6301256" cy="461665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lvl="0" algn="ctr"/>
            <a:r>
              <a:rPr lang="ru-RU" sz="2400" b="1" dirty="0">
                <a:solidFill>
                  <a:srgbClr val="002060"/>
                </a:solidFill>
                <a:latin typeface="Open Sans" pitchFamily="34" charset="0"/>
                <a:ea typeface="Open Sans" pitchFamily="34" charset="0"/>
                <a:cs typeface="Open Sans" pitchFamily="34" charset="0"/>
              </a:rPr>
              <a:t>УМК А.В. Грачева и др.</a:t>
            </a:r>
          </a:p>
        </p:txBody>
      </p:sp>
      <p:grpSp>
        <p:nvGrpSpPr>
          <p:cNvPr id="186" name="Группа 185"/>
          <p:cNvGrpSpPr/>
          <p:nvPr/>
        </p:nvGrpSpPr>
        <p:grpSpPr>
          <a:xfrm>
            <a:off x="339553" y="260649"/>
            <a:ext cx="1268960" cy="438775"/>
            <a:chOff x="254665" y="195486"/>
            <a:chExt cx="951720" cy="329081"/>
          </a:xfrm>
        </p:grpSpPr>
        <p:sp>
          <p:nvSpPr>
            <p:cNvPr id="187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8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9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0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1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2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3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4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5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6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7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8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9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0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pic>
        <p:nvPicPr>
          <p:cNvPr id="50" name="Picture 4" descr="K:\_for all\ИМО физики\Опаловский\Презентации 2019\УМК\Грачёв\7.jpg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275385" y="2553637"/>
            <a:ext cx="1696290" cy="2205176"/>
          </a:xfrm>
          <a:prstGeom prst="rect">
            <a:avLst/>
          </a:prstGeom>
          <a:noFill/>
        </p:spPr>
      </p:pic>
      <p:pic>
        <p:nvPicPr>
          <p:cNvPr id="51" name="Picture 5" descr="K:\_for all\ИМО физики\Опаловский\Презентации 2019\УМК\Грачёв\8.jpg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2612062" y="2553637"/>
            <a:ext cx="1694480" cy="2202822"/>
          </a:xfrm>
          <a:prstGeom prst="rect">
            <a:avLst/>
          </a:prstGeom>
          <a:noFill/>
        </p:spPr>
      </p:pic>
      <p:pic>
        <p:nvPicPr>
          <p:cNvPr id="53" name="Picture 3" descr="K:\_for all\ИМО физики\Опаловский\Презентации 2019\УМК\Грачёв\9.jpg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4949918" y="2552676"/>
            <a:ext cx="1695219" cy="2203783"/>
          </a:xfrm>
          <a:prstGeom prst="rect">
            <a:avLst/>
          </a:prstGeom>
          <a:noFill/>
        </p:spPr>
      </p:pic>
      <p:sp>
        <p:nvSpPr>
          <p:cNvPr id="54" name="Прямоугольник 53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335360" y="6516869"/>
            <a:ext cx="3411921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914377">
              <a:defRPr/>
            </a:pPr>
            <a:r>
              <a:rPr lang="ru-RU" sz="1200" dirty="0">
                <a:solidFill>
                  <a:prstClr val="white">
                    <a:lumMod val="65000"/>
                  </a:prstClr>
                </a:solidFill>
                <a:latin typeface="Calibri"/>
              </a:rPr>
              <a:t>© АО «Издательство «Просвещение», 20</a:t>
            </a:r>
            <a:r>
              <a:rPr lang="en-US" sz="1200" dirty="0" smtClean="0">
                <a:solidFill>
                  <a:prstClr val="white">
                    <a:lumMod val="65000"/>
                  </a:prstClr>
                </a:solidFill>
                <a:latin typeface="Calibri"/>
              </a:rPr>
              <a:t>21</a:t>
            </a:r>
            <a:endParaRPr lang="ru-RU" sz="1200" dirty="0">
              <a:solidFill>
                <a:prstClr val="white">
                  <a:lumMod val="6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5138251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Прямоугольник 53"/>
          <p:cNvSpPr/>
          <p:nvPr/>
        </p:nvSpPr>
        <p:spPr>
          <a:xfrm>
            <a:off x="-3051" y="862266"/>
            <a:ext cx="12192000" cy="3102506"/>
          </a:xfrm>
          <a:prstGeom prst="rect">
            <a:avLst/>
          </a:prstGeom>
          <a:solidFill>
            <a:srgbClr val="F0F8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grpSp>
        <p:nvGrpSpPr>
          <p:cNvPr id="4" name="Группа 3"/>
          <p:cNvGrpSpPr/>
          <p:nvPr/>
        </p:nvGrpSpPr>
        <p:grpSpPr>
          <a:xfrm>
            <a:off x="339553" y="260649"/>
            <a:ext cx="1268960" cy="438775"/>
            <a:chOff x="254665" y="195486"/>
            <a:chExt cx="951720" cy="329081"/>
          </a:xfrm>
        </p:grpSpPr>
        <p:sp>
          <p:nvSpPr>
            <p:cNvPr id="32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3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4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5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6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7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8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9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0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1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2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3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4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5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47" name="Прямая соединительная линия 46"/>
          <p:cNvCxnSpPr/>
          <p:nvPr/>
        </p:nvCxnSpPr>
        <p:spPr>
          <a:xfrm>
            <a:off x="1967541" y="0"/>
            <a:ext cx="0" cy="670171"/>
          </a:xfrm>
          <a:prstGeom prst="line">
            <a:avLst/>
          </a:prstGeom>
          <a:ln w="6350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29259" y="6432715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4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sp>
        <p:nvSpPr>
          <p:cNvPr id="21" name="Прямоугольник 20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335360" y="6516869"/>
            <a:ext cx="3411921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1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29" name="Picture 4" descr="K:\_for all\ИМО физики\Опаловский\Презентации 2019\УМК\Грачёв\7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14953" y="929450"/>
            <a:ext cx="1365887" cy="1775652"/>
          </a:xfrm>
          <a:prstGeom prst="rect">
            <a:avLst/>
          </a:prstGeom>
          <a:noFill/>
        </p:spPr>
      </p:pic>
      <p:sp>
        <p:nvSpPr>
          <p:cNvPr id="30" name="TextBox 29"/>
          <p:cNvSpPr txBox="1"/>
          <p:nvPr/>
        </p:nvSpPr>
        <p:spPr>
          <a:xfrm>
            <a:off x="6064005" y="4064258"/>
            <a:ext cx="1762730" cy="3277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Open Sans Condensed" pitchFamily="34" charset="0"/>
                <a:cs typeface="Open Sans Condensed" pitchFamily="34" charset="0"/>
              </a:rPr>
              <a:t>Состав УМК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Open Sans Condensed" pitchFamily="34" charset="0"/>
                <a:cs typeface="Open Sans Condensed" pitchFamily="34" charset="0"/>
              </a:rPr>
              <a:t>: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4903055" y="4425440"/>
            <a:ext cx="4534876" cy="12695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Open Sans Condensed" pitchFamily="34" charset="0"/>
                <a:cs typeface="Open Sans Condensed" pitchFamily="34" charset="0"/>
              </a:rPr>
              <a:t>Учебник </a:t>
            </a:r>
          </a:p>
          <a:p>
            <a:pPr marL="342900" marR="0" lvl="0" indent="-34290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Open Sans Condensed" pitchFamily="34" charset="0"/>
                <a:cs typeface="Open Sans Condensed" pitchFamily="34" charset="0"/>
              </a:rPr>
              <a:t>Рабочая программа</a:t>
            </a: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ea typeface="Open Sans Condensed" pitchFamily="34" charset="0"/>
              <a:cs typeface="Open Sans Condensed" pitchFamily="34" charset="0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Open Sans Condensed" pitchFamily="34" charset="0"/>
                <a:cs typeface="Open Sans Condensed" pitchFamily="34" charset="0"/>
              </a:rPr>
              <a:t>Проектирование учебного курса</a:t>
            </a:r>
          </a:p>
          <a:p>
            <a:pPr marL="342900" marR="0" lvl="0" indent="-34290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Open Sans Condensed" pitchFamily="34" charset="0"/>
                <a:cs typeface="Open Sans Condensed" pitchFamily="34" charset="0"/>
              </a:rPr>
              <a:t>Рабочие тетради</a:t>
            </a:r>
          </a:p>
          <a:p>
            <a:pPr marL="342900" marR="0" lvl="0" indent="-34290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Open Sans Condensed" pitchFamily="34" charset="0"/>
                <a:cs typeface="Open Sans Condensed" pitchFamily="34" charset="0"/>
              </a:rPr>
              <a:t>Тетради для лабораторных работ</a:t>
            </a:r>
          </a:p>
        </p:txBody>
      </p:sp>
      <p:pic>
        <p:nvPicPr>
          <p:cNvPr id="46" name="Рисунок 45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48717" y="4695703"/>
            <a:ext cx="615723" cy="287832"/>
          </a:xfrm>
          <a:prstGeom prst="rect">
            <a:avLst/>
          </a:prstGeom>
        </p:spPr>
      </p:pic>
      <p:pic>
        <p:nvPicPr>
          <p:cNvPr id="48" name="Рисунок 4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00809" y="4959725"/>
            <a:ext cx="615723" cy="287832"/>
          </a:xfrm>
          <a:prstGeom prst="rect">
            <a:avLst/>
          </a:prstGeom>
        </p:spPr>
      </p:pic>
      <p:sp>
        <p:nvSpPr>
          <p:cNvPr id="50" name="TextBox 49"/>
          <p:cNvSpPr txBox="1"/>
          <p:nvPr/>
        </p:nvSpPr>
        <p:spPr>
          <a:xfrm>
            <a:off x="3628686" y="670171"/>
            <a:ext cx="8583942" cy="28761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endParaRPr kumimoji="0" lang="ru-RU" sz="1800" b="0" i="0" u="none" strike="noStrike" kern="1200" cap="none" spc="0" normalizeH="0" baseline="0" noProof="0" dirty="0" smtClean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ea typeface="Open Sans Condensed" pitchFamily="34" charset="0"/>
              <a:cs typeface="Open Sans Condensed" pitchFamily="34" charset="0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ea typeface="Open Sans Condensed" pitchFamily="34" charset="0"/>
              <a:cs typeface="Open Sans Condensed" pitchFamily="34" charset="0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endParaRPr kumimoji="0" lang="ru-RU" sz="1800" b="0" i="0" u="none" strike="noStrike" kern="1200" cap="none" spc="0" normalizeH="0" baseline="0" noProof="0" dirty="0" smtClean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ea typeface="Open Sans Condensed" pitchFamily="34" charset="0"/>
              <a:cs typeface="Open Sans Condensed" pitchFamily="34" charset="0"/>
            </a:endParaRPr>
          </a:p>
          <a:p>
            <a:pPr marL="342900" lvl="0" indent="-342900">
              <a:lnSpc>
                <a:spcPct val="150000"/>
              </a:lnSpc>
              <a:buFont typeface="Wingdings" panose="05000000000000000000" pitchFamily="2" charset="2"/>
              <a:buChar char="ü"/>
              <a:defRPr/>
            </a:pPr>
            <a:r>
              <a:rPr lang="ru-RU" dirty="0">
                <a:solidFill>
                  <a:srgbClr val="002060"/>
                </a:solidFill>
                <a:ea typeface="Open Sans Condensed" pitchFamily="34" charset="0"/>
                <a:cs typeface="Open Sans Condensed" pitchFamily="34" charset="0"/>
              </a:rPr>
              <a:t>В авторский коллектив входят преподаватели и учёные МГУ им. М. В. Ломоносова</a:t>
            </a:r>
          </a:p>
          <a:p>
            <a:pPr marL="342900" lvl="0" indent="-342900">
              <a:lnSpc>
                <a:spcPct val="150000"/>
              </a:lnSpc>
              <a:buFont typeface="Wingdings" panose="05000000000000000000" pitchFamily="2" charset="2"/>
              <a:buChar char="ü"/>
              <a:defRPr/>
            </a:pPr>
            <a:r>
              <a:rPr lang="ru-RU" dirty="0" smtClean="0">
                <a:solidFill>
                  <a:srgbClr val="002060"/>
                </a:solidFill>
                <a:ea typeface="Open Sans Condensed" pitchFamily="34" charset="0"/>
                <a:cs typeface="Open Sans Condensed" pitchFamily="34" charset="0"/>
              </a:rPr>
              <a:t>Алгоритмический </a:t>
            </a:r>
            <a:r>
              <a:rPr lang="ru-RU" dirty="0">
                <a:solidFill>
                  <a:srgbClr val="002060"/>
                </a:solidFill>
                <a:ea typeface="Open Sans Condensed" pitchFamily="34" charset="0"/>
                <a:cs typeface="Open Sans Condensed" pitchFamily="34" charset="0"/>
              </a:rPr>
              <a:t>подход к решению задач </a:t>
            </a:r>
            <a:endParaRPr lang="ru-RU" dirty="0" smtClean="0">
              <a:solidFill>
                <a:srgbClr val="002060"/>
              </a:solidFill>
              <a:ea typeface="Open Sans Condensed" pitchFamily="34" charset="0"/>
              <a:cs typeface="Open Sans Condensed" pitchFamily="34" charset="0"/>
            </a:endParaRP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ü"/>
              <a:defRPr/>
            </a:pPr>
            <a:r>
              <a:rPr lang="ru-RU" dirty="0" smtClean="0">
                <a:solidFill>
                  <a:srgbClr val="002060"/>
                </a:solidFill>
                <a:ea typeface="Open Sans Condensed" pitchFamily="34" charset="0"/>
                <a:cs typeface="Open Sans Condensed" pitchFamily="34" charset="0"/>
              </a:rPr>
              <a:t>Формирование умения </a:t>
            </a:r>
            <a:r>
              <a:rPr lang="ru-RU" dirty="0">
                <a:solidFill>
                  <a:srgbClr val="002060"/>
                </a:solidFill>
                <a:ea typeface="Open Sans Condensed" pitchFamily="34" charset="0"/>
                <a:cs typeface="Open Sans Condensed" pitchFamily="34" charset="0"/>
              </a:rPr>
              <a:t>решать задачи всех уровней </a:t>
            </a:r>
            <a:r>
              <a:rPr lang="ru-RU" dirty="0" smtClean="0">
                <a:solidFill>
                  <a:srgbClr val="002060"/>
                </a:solidFill>
                <a:ea typeface="Open Sans Condensed" pitchFamily="34" charset="0"/>
                <a:cs typeface="Open Sans Condensed" pitchFamily="34" charset="0"/>
              </a:rPr>
              <a:t>сложности</a:t>
            </a:r>
            <a:endParaRPr lang="ru-RU" dirty="0">
              <a:solidFill>
                <a:srgbClr val="002060"/>
              </a:solidFill>
              <a:ea typeface="Open Sans Condensed" pitchFamily="34" charset="0"/>
              <a:cs typeface="Open Sans Condensed" pitchFamily="34" charset="0"/>
            </a:endParaRPr>
          </a:p>
          <a:p>
            <a:pPr marL="342900" lvl="0" indent="-342900">
              <a:lnSpc>
                <a:spcPct val="150000"/>
              </a:lnSpc>
              <a:buFont typeface="Wingdings" panose="05000000000000000000" pitchFamily="2" charset="2"/>
              <a:buChar char="ü"/>
              <a:defRPr/>
            </a:pPr>
            <a:r>
              <a:rPr lang="ru-RU" dirty="0" smtClean="0">
                <a:solidFill>
                  <a:srgbClr val="002060"/>
                </a:solidFill>
                <a:ea typeface="Open Sans Condensed" pitchFamily="34" charset="0"/>
                <a:cs typeface="Open Sans Condensed" pitchFamily="34" charset="0"/>
              </a:rPr>
              <a:t>Разъяснение </a:t>
            </a:r>
            <a:r>
              <a:rPr lang="ru-RU" dirty="0">
                <a:solidFill>
                  <a:srgbClr val="002060"/>
                </a:solidFill>
                <a:ea typeface="Open Sans Condensed" pitchFamily="34" charset="0"/>
                <a:cs typeface="Open Sans Condensed" pitchFamily="34" charset="0"/>
              </a:rPr>
              <a:t>трудных </a:t>
            </a:r>
            <a:r>
              <a:rPr lang="ru-RU" dirty="0" smtClean="0">
                <a:solidFill>
                  <a:srgbClr val="002060"/>
                </a:solidFill>
                <a:ea typeface="Open Sans Condensed" pitchFamily="34" charset="0"/>
                <a:cs typeface="Open Sans Condensed" pitchFamily="34" charset="0"/>
              </a:rPr>
              <a:t>вопросов </a:t>
            </a:r>
            <a:r>
              <a:rPr lang="ru-RU" dirty="0">
                <a:solidFill>
                  <a:srgbClr val="002060"/>
                </a:solidFill>
                <a:ea typeface="Open Sans Condensed" pitchFamily="34" charset="0"/>
                <a:cs typeface="Open Sans Condensed" pitchFamily="34" charset="0"/>
              </a:rPr>
              <a:t>физической теории</a:t>
            </a:r>
          </a:p>
          <a:p>
            <a:pPr marL="342900" lvl="0" indent="-342900">
              <a:lnSpc>
                <a:spcPct val="150000"/>
              </a:lnSpc>
              <a:buFont typeface="Wingdings" panose="05000000000000000000" pitchFamily="2" charset="2"/>
              <a:buChar char="ü"/>
              <a:defRPr/>
            </a:pPr>
            <a:r>
              <a:rPr lang="ru-RU" dirty="0" smtClean="0">
                <a:solidFill>
                  <a:srgbClr val="002060"/>
                </a:solidFill>
                <a:ea typeface="Open Sans Condensed" pitchFamily="34" charset="0"/>
                <a:cs typeface="Open Sans Condensed" pitchFamily="34" charset="0"/>
              </a:rPr>
              <a:t>Преемственность с УМК «Физика 10-11» тех же авторов</a:t>
            </a:r>
            <a:endParaRPr lang="ru-RU" dirty="0">
              <a:solidFill>
                <a:srgbClr val="002060"/>
              </a:solidFill>
              <a:ea typeface="Open Sans Condensed" pitchFamily="34" charset="0"/>
              <a:cs typeface="Open Sans Condensed" pitchFamily="34" charset="0"/>
            </a:endParaRPr>
          </a:p>
        </p:txBody>
      </p:sp>
      <p:pic>
        <p:nvPicPr>
          <p:cNvPr id="52" name="Picture 5" descr="K:\_for all\ИМО физики\Опаловский\Презентации 2019\УМК\Грачёв\8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873046" y="1543784"/>
            <a:ext cx="1366944" cy="1777026"/>
          </a:xfrm>
          <a:prstGeom prst="rect">
            <a:avLst/>
          </a:prstGeom>
          <a:noFill/>
        </p:spPr>
      </p:pic>
      <p:pic>
        <p:nvPicPr>
          <p:cNvPr id="53" name="Picture 3" descr="K:\_for all\ИМО физики\Опаловский\Презентации 2019\УМК\Грачёв\9.jp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1385644" y="2111340"/>
            <a:ext cx="1366944" cy="1777026"/>
          </a:xfrm>
          <a:prstGeom prst="rect">
            <a:avLst/>
          </a:prstGeom>
          <a:noFill/>
        </p:spPr>
      </p:pic>
      <p:pic>
        <p:nvPicPr>
          <p:cNvPr id="55" name="Picture 80">
            <a:extLst>
              <a:ext uri="{FF2B5EF4-FFF2-40B4-BE49-F238E27FC236}">
                <a16:creationId xmlns:a16="http://schemas.microsoft.com/office/drawing/2014/main" id="{F6B47E01-1B43-482F-A8CD-B3429C36599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27997" y="954984"/>
            <a:ext cx="627974" cy="6207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7" name="Прямоугольник 56"/>
          <p:cNvSpPr/>
          <p:nvPr/>
        </p:nvSpPr>
        <p:spPr>
          <a:xfrm>
            <a:off x="974033" y="4957334"/>
            <a:ext cx="1718649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mbria" panose="02040503050406030204" pitchFamily="18" charset="0"/>
                <a:ea typeface="Cambria" panose="02040503050406030204" pitchFamily="18" charset="0"/>
                <a:cs typeface="Calibri" panose="020F0502020204030204" pitchFamily="34" charset="0"/>
              </a:rPr>
              <a:t>В ФПУ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mbria" panose="02040503050406030204" pitchFamily="18" charset="0"/>
                <a:ea typeface="Cambria" panose="02040503050406030204" pitchFamily="18" charset="0"/>
                <a:cs typeface="Calibri" panose="020F0502020204030204" pitchFamily="34" charset="0"/>
              </a:rPr>
              <a:t>1.1.2.5.1.3.1</a:t>
            </a:r>
            <a:endParaRPr kumimoji="0" lang="ru-RU" sz="20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mbria" panose="02040503050406030204" pitchFamily="18" charset="0"/>
              <a:ea typeface="Cambria" panose="02040503050406030204" pitchFamily="18" charset="0"/>
              <a:cs typeface="Calibri" panose="020F050202020403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mbria" panose="02040503050406030204" pitchFamily="18" charset="0"/>
                <a:ea typeface="Cambria" panose="02040503050406030204" pitchFamily="18" charset="0"/>
                <a:cs typeface="Calibri" panose="020F0502020204030204" pitchFamily="34" charset="0"/>
              </a:rPr>
              <a:t>1.1.2.5.1.3.2</a:t>
            </a:r>
            <a:endParaRPr kumimoji="0" lang="ru-RU" sz="20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mbria" panose="02040503050406030204" pitchFamily="18" charset="0"/>
              <a:ea typeface="Cambria" panose="02040503050406030204" pitchFamily="18" charset="0"/>
              <a:cs typeface="Calibri" panose="020F050202020403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mbria" panose="02040503050406030204" pitchFamily="18" charset="0"/>
                <a:ea typeface="Cambria" panose="02040503050406030204" pitchFamily="18" charset="0"/>
                <a:cs typeface="Calibri" panose="020F0502020204030204" pitchFamily="34" charset="0"/>
              </a:rPr>
              <a:t>1.1.2.5.1.3.3</a:t>
            </a:r>
            <a:endParaRPr kumimoji="0" lang="ru-RU" sz="20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mbria" panose="02040503050406030204" pitchFamily="18" charset="0"/>
              <a:ea typeface="Cambria" panose="02040503050406030204" pitchFamily="18" charset="0"/>
              <a:cs typeface="Calibri" panose="020F0502020204030204" pitchFamily="34" charset="0"/>
            </a:endParaRPr>
          </a:p>
        </p:txBody>
      </p:sp>
      <p:sp>
        <p:nvSpPr>
          <p:cNvPr id="64" name="TextBox 63"/>
          <p:cNvSpPr txBox="1"/>
          <p:nvPr/>
        </p:nvSpPr>
        <p:spPr>
          <a:xfrm>
            <a:off x="2124175" y="182238"/>
            <a:ext cx="3505255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Линия УМК </a:t>
            </a: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А.В. Грачева и др.</a:t>
            </a:r>
            <a:endParaRPr kumimoji="0" lang="ru-RU" sz="20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3206882" y="929450"/>
            <a:ext cx="8288195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dirty="0">
                <a:solidFill>
                  <a:srgbClr val="FF0000"/>
                </a:solidFill>
              </a:rPr>
              <a:t>УМК ПО ФИЗИКЕ ДЛЯ ЭФФЕКТИВНОЙ ПОДГОТОВКИ УЧАЩИХСЯ</a:t>
            </a:r>
          </a:p>
          <a:p>
            <a:pPr algn="ctr"/>
            <a:r>
              <a:rPr lang="ru-RU" dirty="0">
                <a:solidFill>
                  <a:srgbClr val="FF0000"/>
                </a:solidFill>
              </a:rPr>
              <a:t>К ОЛИМПИАДАМ, ОГЭ И ЕГЭ</a:t>
            </a:r>
          </a:p>
        </p:txBody>
      </p:sp>
    </p:spTree>
    <p:extLst>
      <p:ext uri="{BB962C8B-B14F-4D97-AF65-F5344CB8AC3E}">
        <p14:creationId xmlns:p14="http://schemas.microsoft.com/office/powerpoint/2010/main" val="32262899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Прямоугольник 54"/>
          <p:cNvSpPr/>
          <p:nvPr/>
        </p:nvSpPr>
        <p:spPr>
          <a:xfrm>
            <a:off x="0" y="1574066"/>
            <a:ext cx="12192000" cy="3225353"/>
          </a:xfrm>
          <a:prstGeom prst="rect">
            <a:avLst/>
          </a:prstGeom>
          <a:solidFill>
            <a:srgbClr val="F0F8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grpSp>
        <p:nvGrpSpPr>
          <p:cNvPr id="4" name="Группа 3"/>
          <p:cNvGrpSpPr/>
          <p:nvPr/>
        </p:nvGrpSpPr>
        <p:grpSpPr>
          <a:xfrm>
            <a:off x="339553" y="260649"/>
            <a:ext cx="1268960" cy="438775"/>
            <a:chOff x="254665" y="195486"/>
            <a:chExt cx="951720" cy="329081"/>
          </a:xfrm>
        </p:grpSpPr>
        <p:sp>
          <p:nvSpPr>
            <p:cNvPr id="32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33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34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35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36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37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38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39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40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41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42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43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44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45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</p:grpSp>
      <p:cxnSp>
        <p:nvCxnSpPr>
          <p:cNvPr id="47" name="Прямая соединительная линия 46"/>
          <p:cNvCxnSpPr/>
          <p:nvPr/>
        </p:nvCxnSpPr>
        <p:spPr>
          <a:xfrm>
            <a:off x="1967541" y="0"/>
            <a:ext cx="0" cy="670171"/>
          </a:xfrm>
          <a:prstGeom prst="line">
            <a:avLst/>
          </a:prstGeom>
          <a:ln w="6350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29259" y="6432715"/>
            <a:ext cx="719403" cy="356659"/>
          </a:xfrm>
        </p:spPr>
        <p:txBody>
          <a:bodyPr/>
          <a:lstStyle/>
          <a:p>
            <a:fld id="{00000000-1234-1234-1234-123412341234}" type="slidenum">
              <a:rPr lang="en" sz="1600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</a:rPr>
              <a:pPr/>
              <a:t>45</a:t>
            </a:fld>
            <a:endParaRPr lang="en" sz="1600" dirty="0">
              <a:solidFill>
                <a:schemeClr val="tx1">
                  <a:lumMod val="75000"/>
                  <a:lumOff val="25000"/>
                </a:schemeClr>
              </a:solidFill>
              <a:latin typeface="Calibri" pitchFamily="34" charset="0"/>
            </a:endParaRPr>
          </a:p>
        </p:txBody>
      </p:sp>
      <p:sp>
        <p:nvSpPr>
          <p:cNvPr id="21" name="Прямоугольник 20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335360" y="6516869"/>
            <a:ext cx="3411921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914377">
              <a:defRPr/>
            </a:pPr>
            <a:r>
              <a:rPr lang="ru-RU" sz="1200" dirty="0">
                <a:solidFill>
                  <a:prstClr val="white">
                    <a:lumMod val="65000"/>
                  </a:prstClr>
                </a:solidFill>
                <a:latin typeface="Calibri"/>
              </a:rPr>
              <a:t>© АО «Издательство «Просвещение», 20</a:t>
            </a:r>
            <a:r>
              <a:rPr lang="en-US" sz="1200" dirty="0" smtClean="0">
                <a:solidFill>
                  <a:prstClr val="white">
                    <a:lumMod val="65000"/>
                  </a:prstClr>
                </a:solidFill>
                <a:latin typeface="Calibri"/>
              </a:rPr>
              <a:t>21</a:t>
            </a:r>
            <a:endParaRPr lang="ru-RU" sz="1200" dirty="0">
              <a:solidFill>
                <a:prstClr val="white">
                  <a:lumMod val="65000"/>
                </a:prstClr>
              </a:solidFill>
              <a:latin typeface="Calibri"/>
            </a:endParaRPr>
          </a:p>
        </p:txBody>
      </p:sp>
      <p:pic>
        <p:nvPicPr>
          <p:cNvPr id="22" name="Рисунок 2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3163" y="1778041"/>
            <a:ext cx="1677811" cy="2421082"/>
          </a:xfrm>
          <a:prstGeom prst="rect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23" name="Рисунок 2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99043" y="1754877"/>
            <a:ext cx="1786735" cy="2391880"/>
          </a:xfrm>
          <a:prstGeom prst="rect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24" name="Рисунок 23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23896" y="1774603"/>
            <a:ext cx="1725082" cy="2393783"/>
          </a:xfrm>
          <a:prstGeom prst="rect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25" name="Рисунок 24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41750" y="1806207"/>
            <a:ext cx="1799551" cy="2362179"/>
          </a:xfrm>
          <a:prstGeom prst="rect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6" name="TextBox 25"/>
          <p:cNvSpPr txBox="1"/>
          <p:nvPr/>
        </p:nvSpPr>
        <p:spPr>
          <a:xfrm>
            <a:off x="-10663" y="4288510"/>
            <a:ext cx="2673374" cy="5109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lnSpc>
                <a:spcPct val="85000"/>
              </a:lnSpc>
              <a:defRPr/>
            </a:pPr>
            <a:r>
              <a:rPr lang="ru-RU" sz="1600" dirty="0" smtClean="0">
                <a:solidFill>
                  <a:srgbClr val="002060"/>
                </a:solidFill>
                <a:ea typeface="Open Sans Condensed" pitchFamily="34" charset="0"/>
                <a:cs typeface="Open Sans Condensed" pitchFamily="34" charset="0"/>
              </a:rPr>
              <a:t>В.И. </a:t>
            </a:r>
            <a:r>
              <a:rPr lang="ru-RU" sz="1600" dirty="0" err="1" smtClean="0">
                <a:solidFill>
                  <a:srgbClr val="002060"/>
                </a:solidFill>
                <a:ea typeface="Open Sans Condensed" pitchFamily="34" charset="0"/>
                <a:cs typeface="Open Sans Condensed" pitchFamily="34" charset="0"/>
              </a:rPr>
              <a:t>Лукашик</a:t>
            </a:r>
            <a:endParaRPr lang="ru-RU" sz="1600" dirty="0" smtClean="0">
              <a:solidFill>
                <a:srgbClr val="002060"/>
              </a:solidFill>
              <a:ea typeface="Open Sans Condensed" pitchFamily="34" charset="0"/>
              <a:cs typeface="Open Sans Condensed" pitchFamily="34" charset="0"/>
            </a:endParaRPr>
          </a:p>
          <a:p>
            <a:pPr lvl="0" algn="ctr">
              <a:lnSpc>
                <a:spcPct val="85000"/>
              </a:lnSpc>
              <a:defRPr/>
            </a:pPr>
            <a:r>
              <a:rPr lang="ru-RU" sz="1600" dirty="0" smtClean="0">
                <a:solidFill>
                  <a:srgbClr val="002060"/>
                </a:solidFill>
                <a:ea typeface="Open Sans Condensed" pitchFamily="34" charset="0"/>
                <a:cs typeface="Open Sans Condensed" pitchFamily="34" charset="0"/>
              </a:rPr>
              <a:t>Е.В. Иванова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6904839" y="4303384"/>
            <a:ext cx="2673374" cy="5109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lnSpc>
                <a:spcPct val="85000"/>
              </a:lnSpc>
              <a:defRPr/>
            </a:pPr>
            <a:r>
              <a:rPr lang="ru-RU" sz="1600" dirty="0" smtClean="0">
                <a:solidFill>
                  <a:srgbClr val="002060"/>
                </a:solidFill>
                <a:ea typeface="Open Sans Condensed" pitchFamily="34" charset="0"/>
                <a:cs typeface="Open Sans Condensed" pitchFamily="34" charset="0"/>
              </a:rPr>
              <a:t>Д.А. Артеменков</a:t>
            </a:r>
          </a:p>
          <a:p>
            <a:pPr lvl="0" algn="ctr">
              <a:lnSpc>
                <a:spcPct val="85000"/>
              </a:lnSpc>
              <a:defRPr/>
            </a:pPr>
            <a:r>
              <a:rPr lang="ru-RU" sz="1600" dirty="0" smtClean="0">
                <a:solidFill>
                  <a:srgbClr val="002060"/>
                </a:solidFill>
                <a:ea typeface="Open Sans Condensed" pitchFamily="34" charset="0"/>
                <a:cs typeface="Open Sans Condensed" pitchFamily="34" charset="0"/>
              </a:rPr>
              <a:t>И.А. </a:t>
            </a:r>
            <a:r>
              <a:rPr lang="ru-RU" sz="1600" dirty="0" err="1" smtClean="0">
                <a:solidFill>
                  <a:srgbClr val="002060"/>
                </a:solidFill>
                <a:ea typeface="Open Sans Condensed" pitchFamily="34" charset="0"/>
                <a:cs typeface="Open Sans Condensed" pitchFamily="34" charset="0"/>
              </a:rPr>
              <a:t>Ломаченков</a:t>
            </a:r>
            <a:r>
              <a:rPr lang="ru-RU" sz="1600" dirty="0" smtClean="0">
                <a:solidFill>
                  <a:srgbClr val="002060"/>
                </a:solidFill>
                <a:ea typeface="Open Sans Condensed" pitchFamily="34" charset="0"/>
                <a:cs typeface="Open Sans Condensed" pitchFamily="34" charset="0"/>
              </a:rPr>
              <a:t> и др.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2008938" y="4396902"/>
            <a:ext cx="2673374" cy="3016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lnSpc>
                <a:spcPct val="85000"/>
              </a:lnSpc>
              <a:defRPr/>
            </a:pPr>
            <a:r>
              <a:rPr lang="ru-RU" sz="1600" dirty="0" smtClean="0">
                <a:solidFill>
                  <a:srgbClr val="002060"/>
                </a:solidFill>
                <a:ea typeface="Open Sans Condensed" pitchFamily="34" charset="0"/>
                <a:cs typeface="Open Sans Condensed" pitchFamily="34" charset="0"/>
              </a:rPr>
              <a:t>С.В. </a:t>
            </a:r>
            <a:r>
              <a:rPr lang="ru-RU" sz="1600" dirty="0" err="1" smtClean="0">
                <a:solidFill>
                  <a:srgbClr val="002060"/>
                </a:solidFill>
                <a:ea typeface="Open Sans Condensed" pitchFamily="34" charset="0"/>
                <a:cs typeface="Open Sans Condensed" pitchFamily="34" charset="0"/>
              </a:rPr>
              <a:t>Иванеско</a:t>
            </a:r>
            <a:r>
              <a:rPr lang="ru-RU" sz="1600" dirty="0">
                <a:solidFill>
                  <a:srgbClr val="002060"/>
                </a:solidFill>
                <a:ea typeface="Open Sans Condensed" pitchFamily="34" charset="0"/>
                <a:cs typeface="Open Sans Condensed" pitchFamily="34" charset="0"/>
              </a:rPr>
              <a:t> </a:t>
            </a:r>
            <a:r>
              <a:rPr lang="ru-RU" sz="1600" dirty="0" smtClean="0">
                <a:solidFill>
                  <a:srgbClr val="002060"/>
                </a:solidFill>
                <a:ea typeface="Open Sans Condensed" pitchFamily="34" charset="0"/>
                <a:cs typeface="Open Sans Condensed" pitchFamily="34" charset="0"/>
              </a:rPr>
              <a:t>и др.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4351676" y="4416279"/>
            <a:ext cx="2673374" cy="3016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lnSpc>
                <a:spcPct val="85000"/>
              </a:lnSpc>
              <a:defRPr/>
            </a:pPr>
            <a:r>
              <a:rPr lang="ru-RU" sz="1600" dirty="0" smtClean="0">
                <a:solidFill>
                  <a:srgbClr val="002060"/>
                </a:solidFill>
                <a:ea typeface="Open Sans Condensed" pitchFamily="34" charset="0"/>
                <a:cs typeface="Open Sans Condensed" pitchFamily="34" charset="0"/>
              </a:rPr>
              <a:t>под ред. С.В. </a:t>
            </a:r>
            <a:r>
              <a:rPr lang="ru-RU" sz="1600" dirty="0" err="1" smtClean="0">
                <a:solidFill>
                  <a:srgbClr val="002060"/>
                </a:solidFill>
                <a:ea typeface="Open Sans Condensed" pitchFamily="34" charset="0"/>
                <a:cs typeface="Open Sans Condensed" pitchFamily="34" charset="0"/>
              </a:rPr>
              <a:t>Лозовенко</a:t>
            </a:r>
            <a:endParaRPr lang="ru-RU" sz="1600" dirty="0" smtClean="0">
              <a:solidFill>
                <a:srgbClr val="002060"/>
              </a:solidFill>
              <a:ea typeface="Open Sans Condensed" pitchFamily="34" charset="0"/>
              <a:cs typeface="Open Sans Condensed" pitchFamily="34" charset="0"/>
            </a:endParaRPr>
          </a:p>
        </p:txBody>
      </p:sp>
      <p:pic>
        <p:nvPicPr>
          <p:cNvPr id="48" name="Picture 8" descr="https://www.pinclipart.com/picdir/big/288-2884575_sample-courses-clipart.png"/>
          <p:cNvPicPr>
            <a:picLocks noChangeAspect="1" noChangeArrowheads="1"/>
          </p:cNvPicPr>
          <p:nvPr/>
        </p:nvPicPr>
        <p:blipFill>
          <a:blip r:embed="rId7" cstate="print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4537425" y="5956274"/>
            <a:ext cx="402328" cy="4135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9" name="Прямоугольник 48"/>
          <p:cNvSpPr/>
          <p:nvPr/>
        </p:nvSpPr>
        <p:spPr>
          <a:xfrm>
            <a:off x="4844046" y="5616949"/>
            <a:ext cx="91512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 smtClean="0">
                <a:hlinkClick r:id="rId8"/>
              </a:rPr>
              <a:t>Купить:</a:t>
            </a:r>
            <a:endParaRPr lang="ru-RU" dirty="0"/>
          </a:p>
        </p:txBody>
      </p:sp>
      <p:sp>
        <p:nvSpPr>
          <p:cNvPr id="3" name="TextBox 2"/>
          <p:cNvSpPr txBox="1"/>
          <p:nvPr/>
        </p:nvSpPr>
        <p:spPr>
          <a:xfrm>
            <a:off x="1961968" y="45457"/>
            <a:ext cx="924888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dirty="0" smtClean="0">
                <a:solidFill>
                  <a:srgbClr val="002060"/>
                </a:solidFill>
              </a:rPr>
              <a:t>Универсальные учебные пособия для основной школы</a:t>
            </a:r>
          </a:p>
          <a:p>
            <a:r>
              <a:rPr lang="ru-RU" sz="2000" b="1" dirty="0" smtClean="0">
                <a:solidFill>
                  <a:srgbClr val="002060"/>
                </a:solidFill>
              </a:rPr>
              <a:t>Задачники</a:t>
            </a:r>
            <a:endParaRPr lang="ru-RU" sz="2000" b="1" dirty="0">
              <a:solidFill>
                <a:srgbClr val="002060"/>
              </a:solidFill>
            </a:endParaRPr>
          </a:p>
        </p:txBody>
      </p:sp>
      <p:sp>
        <p:nvSpPr>
          <p:cNvPr id="52" name="TextBox 51"/>
          <p:cNvSpPr txBox="1"/>
          <p:nvPr/>
        </p:nvSpPr>
        <p:spPr>
          <a:xfrm>
            <a:off x="9375288" y="4259941"/>
            <a:ext cx="2673374" cy="5109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lnSpc>
                <a:spcPct val="85000"/>
              </a:lnSpc>
              <a:defRPr/>
            </a:pPr>
            <a:r>
              <a:rPr lang="ru-RU" sz="1600" dirty="0" smtClean="0">
                <a:solidFill>
                  <a:srgbClr val="002060"/>
                </a:solidFill>
                <a:ea typeface="Open Sans Condensed" pitchFamily="34" charset="0"/>
                <a:cs typeface="Open Sans Condensed" pitchFamily="34" charset="0"/>
              </a:rPr>
              <a:t>А.Е. Марон</a:t>
            </a:r>
          </a:p>
          <a:p>
            <a:pPr lvl="0" algn="ctr">
              <a:lnSpc>
                <a:spcPct val="85000"/>
              </a:lnSpc>
              <a:defRPr/>
            </a:pPr>
            <a:r>
              <a:rPr lang="ru-RU" sz="1600" dirty="0" smtClean="0">
                <a:solidFill>
                  <a:srgbClr val="002060"/>
                </a:solidFill>
                <a:ea typeface="Open Sans Condensed" pitchFamily="34" charset="0"/>
                <a:cs typeface="Open Sans Condensed" pitchFamily="34" charset="0"/>
              </a:rPr>
              <a:t>Е.А. Марон и др.</a:t>
            </a:r>
          </a:p>
        </p:txBody>
      </p:sp>
      <p:pic>
        <p:nvPicPr>
          <p:cNvPr id="54" name="Рисунок 53"/>
          <p:cNvPicPr>
            <a:picLocks noChangeAspect="1"/>
          </p:cNvPicPr>
          <p:nvPr/>
        </p:nvPicPr>
        <p:blipFill>
          <a:blip r:embed="rId9" cstate="print"/>
          <a:stretch>
            <a:fillRect/>
          </a:stretch>
        </p:blipFill>
        <p:spPr>
          <a:xfrm>
            <a:off x="9834073" y="1772612"/>
            <a:ext cx="1559431" cy="2395774"/>
          </a:xfrm>
          <a:prstGeom prst="rect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09570" name="Picture 2" descr="http://qrcoder.ru/code/?https%3A%2F%2Fshop.prosv.ru%2Fkatalog%23%2Forderby%3D5%26sFilters%3D4%212304%3B2%211750%3B8%212506%3B&amp;8&amp;0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05380" y="5123034"/>
            <a:ext cx="1405311" cy="14053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900506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grpSp>
        <p:nvGrpSpPr>
          <p:cNvPr id="4" name="Группа 3"/>
          <p:cNvGrpSpPr/>
          <p:nvPr/>
        </p:nvGrpSpPr>
        <p:grpSpPr>
          <a:xfrm>
            <a:off x="339553" y="260649"/>
            <a:ext cx="1268960" cy="438775"/>
            <a:chOff x="254665" y="195486"/>
            <a:chExt cx="951720" cy="329081"/>
          </a:xfrm>
        </p:grpSpPr>
        <p:sp>
          <p:nvSpPr>
            <p:cNvPr id="32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33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34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35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36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37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38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39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40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41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42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43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44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  <p:sp>
          <p:nvSpPr>
            <p:cNvPr id="45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>
                <a:solidFill>
                  <a:schemeClr val="bg1"/>
                </a:solidFill>
              </a:endParaRPr>
            </a:p>
          </p:txBody>
        </p:sp>
      </p:grpSp>
      <p:cxnSp>
        <p:nvCxnSpPr>
          <p:cNvPr id="47" name="Прямая соединительная линия 46"/>
          <p:cNvCxnSpPr/>
          <p:nvPr/>
        </p:nvCxnSpPr>
        <p:spPr>
          <a:xfrm>
            <a:off x="1967541" y="0"/>
            <a:ext cx="0" cy="670171"/>
          </a:xfrm>
          <a:prstGeom prst="line">
            <a:avLst/>
          </a:prstGeom>
          <a:ln w="6350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29259" y="6432715"/>
            <a:ext cx="719403" cy="356659"/>
          </a:xfrm>
        </p:spPr>
        <p:txBody>
          <a:bodyPr/>
          <a:lstStyle/>
          <a:p>
            <a:fld id="{00000000-1234-1234-1234-123412341234}" type="slidenum">
              <a:rPr lang="en" sz="1600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</a:rPr>
              <a:pPr/>
              <a:t>46</a:t>
            </a:fld>
            <a:endParaRPr lang="en" sz="1600" dirty="0">
              <a:solidFill>
                <a:schemeClr val="tx1">
                  <a:lumMod val="75000"/>
                  <a:lumOff val="25000"/>
                </a:schemeClr>
              </a:solidFill>
              <a:latin typeface="Calibri" pitchFamily="34" charset="0"/>
            </a:endParaRPr>
          </a:p>
        </p:txBody>
      </p:sp>
      <p:sp>
        <p:nvSpPr>
          <p:cNvPr id="21" name="Прямоугольник 20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335360" y="6516869"/>
            <a:ext cx="3411921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914377">
              <a:defRPr/>
            </a:pPr>
            <a:r>
              <a:rPr lang="ru-RU" sz="1200" dirty="0">
                <a:solidFill>
                  <a:prstClr val="white">
                    <a:lumMod val="65000"/>
                  </a:prstClr>
                </a:solidFill>
                <a:latin typeface="Calibri"/>
              </a:rPr>
              <a:t>© АО «Издательство «Просвещение», 20</a:t>
            </a:r>
            <a:r>
              <a:rPr lang="en-US" sz="1200" dirty="0" smtClean="0">
                <a:solidFill>
                  <a:prstClr val="white">
                    <a:lumMod val="65000"/>
                  </a:prstClr>
                </a:solidFill>
                <a:latin typeface="Calibri"/>
              </a:rPr>
              <a:t>21</a:t>
            </a:r>
            <a:endParaRPr lang="ru-RU" sz="1200" dirty="0">
              <a:solidFill>
                <a:prstClr val="white">
                  <a:lumMod val="65000"/>
                </a:prstClr>
              </a:solidFill>
              <a:latin typeface="Calibri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3268191" y="152036"/>
            <a:ext cx="6096000" cy="64633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b="1" dirty="0">
                <a:solidFill>
                  <a:srgbClr val="002060"/>
                </a:solidFill>
              </a:rPr>
              <a:t>Серия «внеурочная деятельность» для 5-11 классов</a:t>
            </a:r>
          </a:p>
          <a:p>
            <a:r>
              <a:rPr lang="ru-RU" b="1" dirty="0">
                <a:solidFill>
                  <a:srgbClr val="002060"/>
                </a:solidFill>
              </a:rPr>
              <a:t>ГОТОВОЕ РЕШЕНИЕ – ЭКОНОМИЯ ВРЕМЕНИ УЧИТЕЛЯ </a:t>
            </a:r>
          </a:p>
        </p:txBody>
      </p:sp>
      <p:pic>
        <p:nvPicPr>
          <p:cNvPr id="46" name="Рисунок 4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47229" y="63608"/>
            <a:ext cx="828712" cy="823188"/>
          </a:xfrm>
          <a:prstGeom prst="rect">
            <a:avLst/>
          </a:prstGeom>
        </p:spPr>
      </p:pic>
      <p:sp>
        <p:nvSpPr>
          <p:cNvPr id="50" name="Прямоугольник 49"/>
          <p:cNvSpPr/>
          <p:nvPr/>
        </p:nvSpPr>
        <p:spPr>
          <a:xfrm>
            <a:off x="616050" y="1038749"/>
            <a:ext cx="11161240" cy="22852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lnSpc>
                <a:spcPts val="1800"/>
              </a:lnSpc>
              <a:spcBef>
                <a:spcPts val="600"/>
              </a:spcBef>
              <a:spcAft>
                <a:spcPts val="300"/>
              </a:spcAft>
              <a:buClr>
                <a:srgbClr val="0070C0"/>
              </a:buClr>
              <a:buSzPct val="100000"/>
              <a:buFont typeface="Wingdings" panose="05000000000000000000" pitchFamily="2" charset="2"/>
              <a:buChar char="ü"/>
              <a:tabLst>
                <a:tab pos="457200" algn="l"/>
              </a:tabLst>
              <a:defRPr/>
            </a:pPr>
            <a:r>
              <a:rPr lang="ru-RU" sz="1600" dirty="0">
                <a:solidFill>
                  <a:srgbClr val="002060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Позволяет развивать навыки проектной и исследовательской </a:t>
            </a:r>
            <a:r>
              <a:rPr lang="ru-RU" sz="1600" dirty="0" smtClean="0">
                <a:solidFill>
                  <a:srgbClr val="002060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деятельности</a:t>
            </a:r>
          </a:p>
          <a:p>
            <a:pPr marL="285750" indent="-285750">
              <a:lnSpc>
                <a:spcPts val="1800"/>
              </a:lnSpc>
              <a:spcBef>
                <a:spcPts val="600"/>
              </a:spcBef>
              <a:spcAft>
                <a:spcPts val="300"/>
              </a:spcAft>
              <a:buClr>
                <a:srgbClr val="0070C0"/>
              </a:buClr>
              <a:buSzPct val="100000"/>
              <a:buFont typeface="Wingdings" panose="05000000000000000000" pitchFamily="2" charset="2"/>
              <a:buChar char="ü"/>
              <a:tabLst>
                <a:tab pos="457200" algn="l"/>
              </a:tabLst>
              <a:defRPr/>
            </a:pPr>
            <a:r>
              <a:rPr lang="ru-RU" sz="1600" dirty="0" smtClean="0">
                <a:solidFill>
                  <a:srgbClr val="002060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Способствует </a:t>
            </a:r>
            <a:r>
              <a:rPr lang="ru-RU" sz="1600" dirty="0">
                <a:solidFill>
                  <a:srgbClr val="002060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формированию креативного </a:t>
            </a:r>
            <a:r>
              <a:rPr lang="ru-RU" sz="1600" dirty="0" smtClean="0">
                <a:solidFill>
                  <a:srgbClr val="002060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мышления</a:t>
            </a:r>
          </a:p>
          <a:p>
            <a:pPr marL="285750" lvl="0" indent="-285750">
              <a:lnSpc>
                <a:spcPts val="1800"/>
              </a:lnSpc>
              <a:spcBef>
                <a:spcPts val="600"/>
              </a:spcBef>
              <a:spcAft>
                <a:spcPts val="300"/>
              </a:spcAft>
              <a:buClr>
                <a:srgbClr val="0070C0"/>
              </a:buClr>
              <a:buSzPct val="100000"/>
              <a:buFont typeface="Wingdings" panose="05000000000000000000" pitchFamily="2" charset="2"/>
              <a:buChar char="ü"/>
              <a:tabLst>
                <a:tab pos="457200" algn="l"/>
              </a:tabLst>
              <a:defRPr/>
            </a:pPr>
            <a:r>
              <a:rPr lang="ru-RU" sz="1600" dirty="0" smtClean="0">
                <a:ea typeface="Open Sans Light" panose="020B0306030504020204" pitchFamily="34" charset="0"/>
                <a:cs typeface="Open Sans Light" panose="020B0306030504020204" pitchFamily="34" charset="0"/>
              </a:rPr>
              <a:t>Обеспечивает </a:t>
            </a:r>
            <a:r>
              <a:rPr lang="ru-RU" sz="1600" dirty="0">
                <a:ea typeface="Open Sans Light" panose="020B0306030504020204" pitchFamily="34" charset="0"/>
                <a:cs typeface="Open Sans Light" panose="020B0306030504020204" pitchFamily="34" charset="0"/>
              </a:rPr>
              <a:t>сопровождение образовательной деятельности учащихся в разных формах: учебное занятие, практическая работа, учебный проект, учебное исследование, </a:t>
            </a:r>
            <a:r>
              <a:rPr lang="ru-RU" sz="1600" dirty="0" smtClean="0">
                <a:ea typeface="Open Sans Light" panose="020B0306030504020204" pitchFamily="34" charset="0"/>
                <a:cs typeface="Open Sans Light" panose="020B0306030504020204" pitchFamily="34" charset="0"/>
              </a:rPr>
              <a:t>экскурсия</a:t>
            </a:r>
          </a:p>
          <a:p>
            <a:pPr marL="285750" indent="-285750">
              <a:lnSpc>
                <a:spcPts val="1800"/>
              </a:lnSpc>
              <a:spcBef>
                <a:spcPts val="600"/>
              </a:spcBef>
              <a:spcAft>
                <a:spcPts val="300"/>
              </a:spcAft>
              <a:buClr>
                <a:srgbClr val="0070C0"/>
              </a:buClr>
              <a:buSzPct val="100000"/>
              <a:buFont typeface="Wingdings" panose="05000000000000000000" pitchFamily="2" charset="2"/>
              <a:buChar char="ü"/>
              <a:tabLst>
                <a:tab pos="457200" algn="l"/>
              </a:tabLst>
              <a:defRPr/>
            </a:pPr>
            <a:r>
              <a:rPr lang="ru-RU" sz="1600" dirty="0" smtClean="0">
                <a:ea typeface="Open Sans Light" panose="020B0306030504020204" pitchFamily="34" charset="0"/>
                <a:cs typeface="Open Sans Light" panose="020B0306030504020204" pitchFamily="34" charset="0"/>
              </a:rPr>
              <a:t>Основана </a:t>
            </a:r>
            <a:r>
              <a:rPr lang="ru-RU" sz="1600" dirty="0">
                <a:ea typeface="Open Sans Light" panose="020B0306030504020204" pitchFamily="34" charset="0"/>
                <a:cs typeface="Open Sans Light" panose="020B0306030504020204" pitchFamily="34" charset="0"/>
              </a:rPr>
              <a:t>на практико-ориентированном </a:t>
            </a:r>
            <a:r>
              <a:rPr lang="ru-RU" sz="1600" dirty="0" smtClean="0">
                <a:ea typeface="Open Sans Light" panose="020B0306030504020204" pitchFamily="34" charset="0"/>
                <a:cs typeface="Open Sans Light" panose="020B0306030504020204" pitchFamily="34" charset="0"/>
              </a:rPr>
              <a:t>подходе</a:t>
            </a:r>
          </a:p>
          <a:p>
            <a:pPr marL="285750" indent="-285750">
              <a:lnSpc>
                <a:spcPts val="1800"/>
              </a:lnSpc>
              <a:spcBef>
                <a:spcPts val="600"/>
              </a:spcBef>
              <a:spcAft>
                <a:spcPts val="300"/>
              </a:spcAft>
              <a:buClr>
                <a:srgbClr val="0070C0"/>
              </a:buClr>
              <a:buSzPct val="100000"/>
              <a:buFont typeface="Wingdings" panose="05000000000000000000" pitchFamily="2" charset="2"/>
              <a:buChar char="ü"/>
              <a:tabLst>
                <a:tab pos="457200" algn="l"/>
              </a:tabLst>
              <a:defRPr/>
            </a:pPr>
            <a:r>
              <a:rPr lang="ru-RU" sz="1600" dirty="0" smtClean="0">
                <a:ea typeface="Open Sans Light" panose="020B0306030504020204" pitchFamily="34" charset="0"/>
                <a:cs typeface="Open Sans Light" panose="020B0306030504020204" pitchFamily="34" charset="0"/>
              </a:rPr>
              <a:t>Расширяет </a:t>
            </a:r>
            <a:r>
              <a:rPr lang="ru-RU" sz="1600" dirty="0">
                <a:ea typeface="Open Sans Light" panose="020B0306030504020204" pitchFamily="34" charset="0"/>
                <a:cs typeface="Open Sans Light" panose="020B0306030504020204" pitchFamily="34" charset="0"/>
              </a:rPr>
              <a:t>кругозор учащихся, способствует углублению знаний по изучаемым </a:t>
            </a:r>
            <a:r>
              <a:rPr lang="ru-RU" sz="1600" dirty="0" smtClean="0">
                <a:ea typeface="Open Sans Light" panose="020B0306030504020204" pitchFamily="34" charset="0"/>
                <a:cs typeface="Open Sans Light" panose="020B0306030504020204" pitchFamily="34" charset="0"/>
              </a:rPr>
              <a:t>предметам</a:t>
            </a:r>
          </a:p>
          <a:p>
            <a:pPr marL="285750" indent="-285750">
              <a:lnSpc>
                <a:spcPts val="1800"/>
              </a:lnSpc>
              <a:spcBef>
                <a:spcPts val="600"/>
              </a:spcBef>
              <a:spcAft>
                <a:spcPts val="300"/>
              </a:spcAft>
              <a:buClr>
                <a:srgbClr val="0070C0"/>
              </a:buClr>
              <a:buSzPct val="100000"/>
              <a:buFont typeface="Wingdings" panose="05000000000000000000" pitchFamily="2" charset="2"/>
              <a:buChar char="ü"/>
              <a:tabLst>
                <a:tab pos="457200" algn="l"/>
              </a:tabLst>
              <a:defRPr/>
            </a:pPr>
            <a:r>
              <a:rPr lang="ru-RU" sz="1600" dirty="0" smtClean="0">
                <a:ea typeface="Open Sans Light" panose="020B0306030504020204" pitchFamily="34" charset="0"/>
                <a:cs typeface="Open Sans Light" panose="020B0306030504020204" pitchFamily="34" charset="0"/>
              </a:rPr>
              <a:t>Сборник примерных рабочих программ в свободном доступе на </a:t>
            </a:r>
            <a:r>
              <a:rPr lang="ru-RU" sz="1600" dirty="0" smtClean="0">
                <a:ea typeface="Open Sans Light" panose="020B0306030504020204" pitchFamily="34" charset="0"/>
                <a:cs typeface="Open Sans Light" panose="020B0306030504020204" pitchFamily="34" charset="0"/>
                <a:hlinkClick r:id="rId4"/>
              </a:rPr>
              <a:t>сайте</a:t>
            </a:r>
            <a:endParaRPr lang="ru-RU" sz="1600" dirty="0"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pic>
        <p:nvPicPr>
          <p:cNvPr id="53" name="Picture 9" descr="Изображение Проектная мастерская. 5-9 классы.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774" y="3399927"/>
            <a:ext cx="1620000" cy="2120290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6" name="Рисунок 55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09979" y="3397143"/>
            <a:ext cx="1581690" cy="2123074"/>
          </a:xfrm>
          <a:prstGeom prst="rect">
            <a:avLst/>
          </a:prstGeom>
          <a:ln>
            <a:solidFill>
              <a:schemeClr val="bg1">
                <a:lumMod val="8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57" name="Picture 63" descr="Изображение Веб-дизайн. Уровень 1 : учебное пособие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67671" y="3392700"/>
            <a:ext cx="1602342" cy="2127517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8" name="Рисунок 57"/>
          <p:cNvPicPr/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44776" y="3397143"/>
            <a:ext cx="1589201" cy="2123074"/>
          </a:xfrm>
          <a:prstGeom prst="rect">
            <a:avLst/>
          </a:prstGeom>
          <a:ln w="6350">
            <a:solidFill>
              <a:schemeClr val="bg1">
                <a:lumMod val="8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59" name="Picture 6" descr="http://qrcoder.ru/code/?https%3A%2F%2Fshop.prosv.ru%2Fkatalog%23%2Forderby%3D5%26sFilters%3D4%212304%3B13%2117879%3B&amp;8&amp;0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92271" y="5197076"/>
            <a:ext cx="958493" cy="9584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0" name="Прямоугольник 59"/>
          <p:cNvSpPr/>
          <p:nvPr/>
        </p:nvSpPr>
        <p:spPr>
          <a:xfrm>
            <a:off x="9500183" y="5564616"/>
            <a:ext cx="2376384" cy="32637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1800"/>
              </a:lnSpc>
              <a:spcBef>
                <a:spcPts val="600"/>
              </a:spcBef>
              <a:spcAft>
                <a:spcPts val="300"/>
              </a:spcAft>
              <a:buClr>
                <a:srgbClr val="0070C0"/>
              </a:buClr>
              <a:buSzPct val="100000"/>
              <a:tabLst>
                <a:tab pos="457200" algn="l"/>
              </a:tabLst>
              <a:defRPr/>
            </a:pPr>
            <a:r>
              <a:rPr lang="ru-RU" sz="1600" dirty="0" smtClean="0">
                <a:ea typeface="Open Sans Light" panose="020B0306030504020204" pitchFamily="34" charset="0"/>
                <a:cs typeface="Open Sans Light" panose="020B0306030504020204" pitchFamily="34" charset="0"/>
                <a:hlinkClick r:id="rId10"/>
              </a:rPr>
              <a:t>Купить</a:t>
            </a:r>
            <a:r>
              <a:rPr lang="ru-RU" sz="1600" dirty="0" smtClean="0">
                <a:ea typeface="Open Sans Light" panose="020B0306030504020204" pitchFamily="34" charset="0"/>
                <a:cs typeface="Open Sans Light" panose="020B0306030504020204" pitchFamily="34" charset="0"/>
              </a:rPr>
              <a:t>:</a:t>
            </a:r>
            <a:endParaRPr lang="ru-RU" sz="1600" dirty="0"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pic>
        <p:nvPicPr>
          <p:cNvPr id="61" name="Picture 8" descr="https://www.pinclipart.com/picdir/big/288-2884575_sample-courses-clipart.png"/>
          <p:cNvPicPr>
            <a:picLocks noChangeAspect="1" noChangeArrowheads="1"/>
          </p:cNvPicPr>
          <p:nvPr/>
        </p:nvPicPr>
        <p:blipFill>
          <a:blip r:embed="rId11" cstate="print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9090473" y="5684553"/>
            <a:ext cx="432048" cy="4440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21051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grpSp>
        <p:nvGrpSpPr>
          <p:cNvPr id="4" name="Группа 3"/>
          <p:cNvGrpSpPr/>
          <p:nvPr/>
        </p:nvGrpSpPr>
        <p:grpSpPr>
          <a:xfrm>
            <a:off x="339553" y="260649"/>
            <a:ext cx="1268960" cy="438775"/>
            <a:chOff x="254665" y="195486"/>
            <a:chExt cx="951720" cy="329081"/>
          </a:xfrm>
        </p:grpSpPr>
        <p:sp>
          <p:nvSpPr>
            <p:cNvPr id="32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3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4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5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6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7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8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9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0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1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2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3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4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5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47" name="Прямая соединительная линия 46"/>
          <p:cNvCxnSpPr/>
          <p:nvPr/>
        </p:nvCxnSpPr>
        <p:spPr>
          <a:xfrm>
            <a:off x="1967541" y="0"/>
            <a:ext cx="0" cy="670171"/>
          </a:xfrm>
          <a:prstGeom prst="line">
            <a:avLst/>
          </a:prstGeom>
          <a:ln w="6350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29259" y="6432715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7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sp>
        <p:nvSpPr>
          <p:cNvPr id="21" name="Прямоугольник 20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335360" y="6516869"/>
            <a:ext cx="3411921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1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2950602" y="34159"/>
            <a:ext cx="6096000" cy="707886"/>
          </a:xfrm>
          <a:prstGeom prst="rect">
            <a:avLst/>
          </a:prstGeom>
        </p:spPr>
        <p:txBody>
          <a:bodyPr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ШИРОКИЙ ВЫБОР УЧЕБНЫХ ПОСОБИЙ ПО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ФУНКЦИОНАЛЬНОЙ ГРАМОТНОСТИ</a:t>
            </a:r>
          </a:p>
        </p:txBody>
      </p:sp>
      <p:pic>
        <p:nvPicPr>
          <p:cNvPr id="31" name="Рисунок 3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06926" y="102381"/>
            <a:ext cx="728841" cy="728841"/>
          </a:xfrm>
          <a:prstGeom prst="rect">
            <a:avLst/>
          </a:prstGeom>
        </p:spPr>
      </p:pic>
      <p:sp>
        <p:nvSpPr>
          <p:cNvPr id="48" name="Прямоугольник 47"/>
          <p:cNvSpPr/>
          <p:nvPr/>
        </p:nvSpPr>
        <p:spPr>
          <a:xfrm>
            <a:off x="-3051" y="1029097"/>
            <a:ext cx="5983721" cy="791465"/>
          </a:xfrm>
          <a:prstGeom prst="rect">
            <a:avLst/>
          </a:prstGeom>
          <a:solidFill>
            <a:srgbClr val="40A7E1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9" name="TextBox 48"/>
          <p:cNvSpPr txBox="1"/>
          <p:nvPr/>
        </p:nvSpPr>
        <p:spPr>
          <a:xfrm>
            <a:off x="1753355" y="1212463"/>
            <a:ext cx="2053398" cy="4025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Calibri"/>
                <a:ea typeface="Open Sans" pitchFamily="34" charset="0"/>
                <a:cs typeface="Open Sans" pitchFamily="34" charset="0"/>
              </a:rPr>
              <a:t>Печатные пособия</a:t>
            </a:r>
          </a:p>
        </p:txBody>
      </p:sp>
      <p:sp>
        <p:nvSpPr>
          <p:cNvPr id="52" name="Прямоугольник 51"/>
          <p:cNvSpPr/>
          <p:nvPr/>
        </p:nvSpPr>
        <p:spPr>
          <a:xfrm>
            <a:off x="6227805" y="1029097"/>
            <a:ext cx="5967246" cy="791465"/>
          </a:xfrm>
          <a:prstGeom prst="rect">
            <a:avLst/>
          </a:prstGeom>
          <a:solidFill>
            <a:srgbClr val="40A7E1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4" name="TextBox 53"/>
          <p:cNvSpPr txBox="1"/>
          <p:nvPr/>
        </p:nvSpPr>
        <p:spPr>
          <a:xfrm>
            <a:off x="7737873" y="1212463"/>
            <a:ext cx="3348338" cy="4025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Calibri"/>
                <a:ea typeface="Open Sans" pitchFamily="34" charset="0"/>
                <a:cs typeface="Open Sans" pitchFamily="34" charset="0"/>
              </a:rPr>
              <a:t>Электронный БАНК ЗАДАНИЙ</a:t>
            </a:r>
          </a:p>
        </p:txBody>
      </p:sp>
      <p:sp>
        <p:nvSpPr>
          <p:cNvPr id="55" name="Прямоугольник 54"/>
          <p:cNvSpPr/>
          <p:nvPr/>
        </p:nvSpPr>
        <p:spPr>
          <a:xfrm>
            <a:off x="1315702" y="2330030"/>
            <a:ext cx="4664968" cy="2834622"/>
          </a:xfrm>
          <a:prstGeom prst="rect">
            <a:avLst/>
          </a:prstGeom>
        </p:spPr>
        <p:txBody>
          <a:bodyPr wrap="square" lIns="0" tIns="45720" rIns="91440" bIns="45720">
            <a:spAutoFit/>
          </a:bodyPr>
          <a:lstStyle/>
          <a:p>
            <a:pPr marL="285750" marR="0" lvl="0" indent="-285750" algn="just" defTabSz="914377" rtl="0" eaLnBrk="1" fontAlgn="auto" latinLnBrk="0" hangingPunct="1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Clr>
                <a:srgbClr val="0073B8"/>
              </a:buClr>
              <a:buSzPct val="66000"/>
              <a:buFont typeface="Franklin Gothic Book" pitchFamily="34" charset="0"/>
              <a:buChar char="►"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Open Sans" pitchFamily="34" charset="0"/>
                <a:cs typeface="Open Sans" pitchFamily="34" charset="0"/>
                <a:hlinkClick r:id="rId4"/>
              </a:rPr>
              <a:t>Серия «Функциональная грамотность. Учимся для жизни (5-9)»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Open Sans" pitchFamily="34" charset="0"/>
                <a:cs typeface="Open Sans" pitchFamily="34" charset="0"/>
              </a:rPr>
              <a:t> (Выпуск 2 – Новинка 2021)</a:t>
            </a:r>
          </a:p>
          <a:p>
            <a:pPr marL="285750" marR="0" lvl="0" indent="-285750" algn="just" defTabSz="914377" rtl="0" eaLnBrk="1" fontAlgn="auto" latinLnBrk="0" hangingPunct="1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Clr>
                <a:srgbClr val="0073B8"/>
              </a:buClr>
              <a:buSzPct val="66000"/>
              <a:buFont typeface="Franklin Gothic Book" pitchFamily="34" charset="0"/>
              <a:buChar char="►"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Open Sans" pitchFamily="34" charset="0"/>
              <a:cs typeface="Open Sans" pitchFamily="34" charset="0"/>
            </a:endParaRPr>
          </a:p>
          <a:p>
            <a:pPr marL="285750" marR="0" lvl="0" indent="-285750" algn="just" defTabSz="914377" rtl="0" eaLnBrk="1" fontAlgn="auto" latinLnBrk="0" hangingPunct="1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Clr>
                <a:srgbClr val="0073B8"/>
              </a:buClr>
              <a:buSzPct val="66000"/>
              <a:buFont typeface="Franklin Gothic Book" pitchFamily="34" charset="0"/>
              <a:buChar char="►"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Open Sans" pitchFamily="34" charset="0"/>
                <a:cs typeface="Open Sans" pitchFamily="34" charset="0"/>
                <a:hlinkClick r:id="rId5"/>
              </a:rPr>
              <a:t>Серия «Функциональная грамотность. Тренажеры (5-9)»</a:t>
            </a:r>
            <a:endParaRPr kumimoji="0" lang="ru-RU" sz="14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Open Sans" pitchFamily="34" charset="0"/>
              <a:cs typeface="Open Sans" pitchFamily="34" charset="0"/>
            </a:endParaRPr>
          </a:p>
          <a:p>
            <a:pPr marL="285750" marR="0" lvl="0" indent="-285750" algn="just" defTabSz="914377" rtl="0" eaLnBrk="1" fontAlgn="auto" latinLnBrk="0" hangingPunct="1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Clr>
                <a:srgbClr val="0073B8"/>
              </a:buClr>
              <a:buSzPct val="66000"/>
              <a:buFont typeface="Franklin Gothic Book" pitchFamily="34" charset="0"/>
              <a:buChar char="►"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Open Sans" pitchFamily="34" charset="0"/>
              <a:cs typeface="Open Sans" pitchFamily="34" charset="0"/>
            </a:endParaRPr>
          </a:p>
          <a:p>
            <a:pPr marL="285750" marR="0" lvl="0" indent="-285750" algn="just" defTabSz="914377" rtl="0" eaLnBrk="1" fontAlgn="auto" latinLnBrk="0" hangingPunct="1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Clr>
                <a:srgbClr val="0073B8"/>
              </a:buClr>
              <a:buSzPct val="66000"/>
              <a:buFont typeface="Franklin Gothic Book" pitchFamily="34" charset="0"/>
              <a:buChar char="►"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Open Sans" pitchFamily="34" charset="0"/>
                <a:cs typeface="Open Sans" pitchFamily="34" charset="0"/>
                <a:hlinkClick r:id="rId6"/>
              </a:rPr>
              <a:t>Серия «Задачник»</a:t>
            </a:r>
            <a:endParaRPr kumimoji="0" lang="ru-RU" sz="14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Open Sans" pitchFamily="34" charset="0"/>
              <a:cs typeface="Open Sans" pitchFamily="34" charset="0"/>
            </a:endParaRPr>
          </a:p>
          <a:p>
            <a:pPr marL="285750" marR="0" lvl="0" indent="-285750" algn="just" defTabSz="914377" rtl="0" eaLnBrk="1" fontAlgn="auto" latinLnBrk="0" hangingPunct="1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Clr>
                <a:srgbClr val="0073B8"/>
              </a:buClr>
              <a:buSzPct val="66000"/>
              <a:buFont typeface="Franklin Gothic Book" pitchFamily="34" charset="0"/>
              <a:buChar char="►"/>
              <a:tabLst/>
              <a:defRPr/>
            </a:pPr>
            <a:endParaRPr kumimoji="0" lang="ru-RU" sz="14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Open Sans" pitchFamily="34" charset="0"/>
              <a:cs typeface="Open Sans" pitchFamily="34" charset="0"/>
            </a:endParaRPr>
          </a:p>
          <a:p>
            <a:pPr marL="285750" marR="0" lvl="0" indent="-285750" algn="just" defTabSz="914377" rtl="0" eaLnBrk="1" fontAlgn="auto" latinLnBrk="0" hangingPunct="1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Clr>
                <a:srgbClr val="0073B8"/>
              </a:buClr>
              <a:buSzPct val="66000"/>
              <a:buFont typeface="Franklin Gothic Book" pitchFamily="34" charset="0"/>
              <a:buChar char="►"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Open Sans" pitchFamily="34" charset="0"/>
                <a:cs typeface="Open Sans" pitchFamily="34" charset="0"/>
                <a:hlinkClick r:id="rId7"/>
              </a:rPr>
              <a:t>Серия «ФГОС. Оценка образовательных достижений»</a:t>
            </a:r>
            <a:endParaRPr kumimoji="0" lang="ru-RU" sz="14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Open Sans" pitchFamily="34" charset="0"/>
              <a:cs typeface="Open Sans" pitchFamily="34" charset="0"/>
            </a:endParaRPr>
          </a:p>
        </p:txBody>
      </p:sp>
      <p:pic>
        <p:nvPicPr>
          <p:cNvPr id="62" name="Рисунок 6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1897" y="2239330"/>
            <a:ext cx="728841" cy="728841"/>
          </a:xfrm>
          <a:prstGeom prst="rect">
            <a:avLst/>
          </a:prstGeom>
        </p:spPr>
      </p:pic>
      <p:pic>
        <p:nvPicPr>
          <p:cNvPr id="63" name="Рисунок 62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5254" y="3119792"/>
            <a:ext cx="726248" cy="698047"/>
          </a:xfrm>
          <a:prstGeom prst="rect">
            <a:avLst/>
          </a:prstGeom>
        </p:spPr>
      </p:pic>
      <p:pic>
        <p:nvPicPr>
          <p:cNvPr id="64" name="Рисунок 63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0740" y="3962502"/>
            <a:ext cx="626204" cy="623577"/>
          </a:xfrm>
          <a:prstGeom prst="rect">
            <a:avLst/>
          </a:prstGeom>
        </p:spPr>
      </p:pic>
      <p:pic>
        <p:nvPicPr>
          <p:cNvPr id="65" name="Рисунок 64"/>
          <p:cNvPicPr>
            <a:picLocks noChangeAspect="1"/>
          </p:cNvPicPr>
          <p:nvPr/>
        </p:nvPicPr>
        <p:blipFill rotWithShape="1">
          <a:blip r:embed="rId10"/>
          <a:srcRect l="14692" t="20657" r="22083" b="16289"/>
          <a:stretch/>
        </p:blipFill>
        <p:spPr>
          <a:xfrm>
            <a:off x="213651" y="4752344"/>
            <a:ext cx="1057109" cy="478690"/>
          </a:xfrm>
          <a:prstGeom prst="rect">
            <a:avLst/>
          </a:prstGeom>
        </p:spPr>
      </p:pic>
      <p:sp>
        <p:nvSpPr>
          <p:cNvPr id="66" name="Прямоугольник 65"/>
          <p:cNvSpPr/>
          <p:nvPr/>
        </p:nvSpPr>
        <p:spPr>
          <a:xfrm>
            <a:off x="6595960" y="2316495"/>
            <a:ext cx="4673141" cy="8032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marR="0" lvl="0" indent="-285750" algn="just" defTabSz="914377" rtl="0" eaLnBrk="1" fontAlgn="auto" latinLnBrk="0" hangingPunct="1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Clr>
                <a:srgbClr val="0073B8"/>
              </a:buClr>
              <a:buSzPct val="66000"/>
              <a:buFont typeface="Franklin Gothic Book" pitchFamily="34" charset="0"/>
              <a:buChar char="►"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Open Sans" pitchFamily="34" charset="0"/>
                <a:cs typeface="Open Sans" pitchFamily="34" charset="0"/>
              </a:rPr>
              <a:t>Полнофункциональный цифровой тренажер, который имитирует задания </a:t>
            </a: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Open Sans" pitchFamily="34" charset="0"/>
                <a:cs typeface="Open Sans" pitchFamily="34" charset="0"/>
              </a:rPr>
              <a:t>PISA 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Open Sans" pitchFamily="34" charset="0"/>
                <a:cs typeface="Open Sans" pitchFamily="34" charset="0"/>
              </a:rPr>
              <a:t> для начальной и основной школы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Open Sans" pitchFamily="34" charset="0"/>
              <a:cs typeface="Open Sans" pitchFamily="34" charset="0"/>
            </a:endParaRPr>
          </a:p>
        </p:txBody>
      </p:sp>
      <p:pic>
        <p:nvPicPr>
          <p:cNvPr id="67" name="Picture 11" descr="A picture containing text, different, items, various&#10;&#10;Description automatically generated">
            <a:extLst>
              <a:ext uri="{FF2B5EF4-FFF2-40B4-BE49-F238E27FC236}">
                <a16:creationId xmlns:a16="http://schemas.microsoft.com/office/drawing/2014/main" id="{C1CD9805-53F6-334B-B7D2-59AA05C5E8AA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6667186" y="3197697"/>
            <a:ext cx="4634242" cy="2317122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68" name="Прямоугольник 67">
            <a:hlinkClick r:id="rId12"/>
          </p:cNvPr>
          <p:cNvSpPr/>
          <p:nvPr/>
        </p:nvSpPr>
        <p:spPr>
          <a:xfrm>
            <a:off x="8328248" y="5706436"/>
            <a:ext cx="1577436" cy="586990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Открыть Банк заданий</a:t>
            </a: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9" name="TextBox 68"/>
          <p:cNvSpPr txBox="1"/>
          <p:nvPr/>
        </p:nvSpPr>
        <p:spPr>
          <a:xfrm>
            <a:off x="1532960" y="5851954"/>
            <a:ext cx="2463281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  <a:hlinkClick r:id="rId13"/>
              </a:rPr>
              <a:t>Узнать больше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  <a:hlinkClick r:id="rId13"/>
              </a:rPr>
              <a:t>и купить</a:t>
            </a:r>
            <a:endParaRPr kumimoji="0" lang="ru-RU" sz="16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70" name="Picture 8" descr="https://www.pinclipart.com/picdir/big/288-2884575_sample-courses-clipart.png"/>
          <p:cNvPicPr>
            <a:picLocks noChangeAspect="1" noChangeArrowheads="1"/>
          </p:cNvPicPr>
          <p:nvPr/>
        </p:nvPicPr>
        <p:blipFill>
          <a:blip r:embed="rId14" cstate="print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1607405" y="6011463"/>
            <a:ext cx="432048" cy="4440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" name="Picture 8" descr="http://qrcoder.ru/code/?https%3A%2F%2Fprosv.ru%2Fpages%2Fpisa.html&amp;4&amp;0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81496" y="5594681"/>
            <a:ext cx="972000" cy="97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2" name="Picture 8" descr="https://www.pinclipart.com/picdir/big/288-2884575_sample-courses-clipart.png"/>
          <p:cNvPicPr>
            <a:picLocks noChangeAspect="1" noChangeArrowheads="1"/>
          </p:cNvPicPr>
          <p:nvPr/>
        </p:nvPicPr>
        <p:blipFill>
          <a:blip r:embed="rId14" cstate="print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7824192" y="5949280"/>
            <a:ext cx="432048" cy="4440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221820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grpSp>
        <p:nvGrpSpPr>
          <p:cNvPr id="4" name="Группа 3"/>
          <p:cNvGrpSpPr/>
          <p:nvPr/>
        </p:nvGrpSpPr>
        <p:grpSpPr>
          <a:xfrm>
            <a:off x="339553" y="260649"/>
            <a:ext cx="1268960" cy="438775"/>
            <a:chOff x="254665" y="195486"/>
            <a:chExt cx="951720" cy="329081"/>
          </a:xfrm>
        </p:grpSpPr>
        <p:sp>
          <p:nvSpPr>
            <p:cNvPr id="32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3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4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5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6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7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8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9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0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1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2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3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4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5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47" name="Прямая соединительная линия 46"/>
          <p:cNvCxnSpPr/>
          <p:nvPr/>
        </p:nvCxnSpPr>
        <p:spPr>
          <a:xfrm>
            <a:off x="1967541" y="0"/>
            <a:ext cx="0" cy="670171"/>
          </a:xfrm>
          <a:prstGeom prst="line">
            <a:avLst/>
          </a:prstGeom>
          <a:ln w="6350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29259" y="6432715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8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sp>
        <p:nvSpPr>
          <p:cNvPr id="21" name="Прямоугольник 20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335360" y="6516869"/>
            <a:ext cx="3411921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1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3268191" y="146951"/>
            <a:ext cx="4886979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«Новая реальность» в школах</a:t>
            </a:r>
            <a:endParaRPr kumimoji="0" lang="ru-RU" sz="28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164598" y="1068405"/>
            <a:ext cx="2876685" cy="400110"/>
          </a:xfrm>
          <a:prstGeom prst="rect">
            <a:avLst/>
          </a:prstGeom>
          <a:noFill/>
          <a:ln>
            <a:solidFill>
              <a:srgbClr val="002060"/>
            </a:solidFill>
          </a:ln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. Смешанное обучение</a:t>
            </a:r>
            <a:endParaRPr kumimoji="0" lang="ru-RU" sz="20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3" name="TextBox 52"/>
          <p:cNvSpPr txBox="1"/>
          <p:nvPr/>
        </p:nvSpPr>
        <p:spPr>
          <a:xfrm>
            <a:off x="8283910" y="1068405"/>
            <a:ext cx="3620543" cy="400110"/>
          </a:xfrm>
          <a:prstGeom prst="rect">
            <a:avLst/>
          </a:prstGeom>
          <a:noFill/>
          <a:ln>
            <a:solidFill>
              <a:srgbClr val="002060"/>
            </a:solidFill>
          </a:ln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3. Новые технологии обучения</a:t>
            </a:r>
            <a:endParaRPr kumimoji="0" lang="ru-RU" sz="20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3170023" y="1068405"/>
            <a:ext cx="4985147" cy="400110"/>
          </a:xfrm>
          <a:prstGeom prst="rect">
            <a:avLst/>
          </a:prstGeom>
          <a:noFill/>
          <a:ln>
            <a:solidFill>
              <a:srgbClr val="002060"/>
            </a:solidFill>
          </a:ln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</a:t>
            </a: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. Временные затраты на отбор материала</a:t>
            </a:r>
            <a:endParaRPr kumimoji="0" lang="ru-RU" sz="20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9" name="Прямая соединительная линия 8"/>
          <p:cNvCxnSpPr>
            <a:stCxn id="6" idx="2"/>
          </p:cNvCxnSpPr>
          <p:nvPr/>
        </p:nvCxnSpPr>
        <p:spPr>
          <a:xfrm>
            <a:off x="1602941" y="1468515"/>
            <a:ext cx="4108739" cy="552849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Прямая соединительная линия 10"/>
          <p:cNvCxnSpPr>
            <a:stCxn id="7" idx="2"/>
          </p:cNvCxnSpPr>
          <p:nvPr/>
        </p:nvCxnSpPr>
        <p:spPr>
          <a:xfrm flipH="1">
            <a:off x="5662596" y="1468515"/>
            <a:ext cx="1" cy="558589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Прямая соединительная линия 12"/>
          <p:cNvCxnSpPr>
            <a:stCxn id="53" idx="2"/>
          </p:cNvCxnSpPr>
          <p:nvPr/>
        </p:nvCxnSpPr>
        <p:spPr>
          <a:xfrm flipH="1">
            <a:off x="5662596" y="1468515"/>
            <a:ext cx="4431586" cy="558589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Скругленный прямоугольник 53"/>
          <p:cNvSpPr/>
          <p:nvPr/>
        </p:nvSpPr>
        <p:spPr>
          <a:xfrm>
            <a:off x="350465" y="1682673"/>
            <a:ext cx="2070357" cy="710819"/>
          </a:xfrm>
          <a:prstGeom prst="roundRect">
            <a:avLst/>
          </a:prstGeom>
          <a:solidFill>
            <a:schemeClr val="accent5">
              <a:lumMod val="60000"/>
              <a:lumOff val="40000"/>
              <a:alpha val="34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Остаются ВПР </a:t>
            </a:r>
            <a:endParaRPr kumimoji="0" lang="ru-RU" sz="20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5" name="Скругленный прямоугольник 54"/>
          <p:cNvSpPr/>
          <p:nvPr/>
        </p:nvSpPr>
        <p:spPr>
          <a:xfrm>
            <a:off x="9426528" y="1682673"/>
            <a:ext cx="2070357" cy="710819"/>
          </a:xfrm>
          <a:prstGeom prst="roundRect">
            <a:avLst/>
          </a:prstGeom>
          <a:solidFill>
            <a:schemeClr val="accent5">
              <a:lumMod val="60000"/>
              <a:lumOff val="40000"/>
              <a:alpha val="34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Остаётся ЕГЭ </a:t>
            </a:r>
            <a:endParaRPr kumimoji="0" lang="ru-RU" sz="20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7" name="TextBox 56"/>
          <p:cNvSpPr txBox="1"/>
          <p:nvPr/>
        </p:nvSpPr>
        <p:spPr>
          <a:xfrm>
            <a:off x="2968455" y="2266859"/>
            <a:ext cx="547823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Необходим ресурс, который поможет учителю</a:t>
            </a:r>
            <a:endParaRPr kumimoji="0" lang="ru-RU" sz="20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8" name="TextBox 57"/>
          <p:cNvSpPr txBox="1"/>
          <p:nvPr/>
        </p:nvSpPr>
        <p:spPr>
          <a:xfrm>
            <a:off x="3077074" y="2839467"/>
            <a:ext cx="5260992" cy="369332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. Получить доступ к верифицированному контенту</a:t>
            </a: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9" name="TextBox 58"/>
          <p:cNvSpPr txBox="1"/>
          <p:nvPr/>
        </p:nvSpPr>
        <p:spPr>
          <a:xfrm>
            <a:off x="2673245" y="3423867"/>
            <a:ext cx="6068649" cy="369332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</a:t>
            </a: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. Получить инструмент, контролирующий знания учеников</a:t>
            </a: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0" name="TextBox 59"/>
          <p:cNvSpPr txBox="1"/>
          <p:nvPr/>
        </p:nvSpPr>
        <p:spPr>
          <a:xfrm>
            <a:off x="3300435" y="4033940"/>
            <a:ext cx="4814267" cy="369332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3. Получить инструмент с лёгким интерфейсом</a:t>
            </a: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1" name="TextBox 60"/>
          <p:cNvSpPr txBox="1"/>
          <p:nvPr/>
        </p:nvSpPr>
        <p:spPr>
          <a:xfrm>
            <a:off x="1886947" y="4632166"/>
            <a:ext cx="7551298" cy="369332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4. Получить инструмент, который можно использовать на всех устройствах</a:t>
            </a: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2" name="Стрелка вниз 61"/>
          <p:cNvSpPr/>
          <p:nvPr/>
        </p:nvSpPr>
        <p:spPr>
          <a:xfrm>
            <a:off x="5343181" y="5177928"/>
            <a:ext cx="1024568" cy="440674"/>
          </a:xfrm>
          <a:prstGeom prst="downArrow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63" name="Рисунок 6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11229" y="5262289"/>
            <a:ext cx="6502734" cy="1460575"/>
          </a:xfrm>
          <a:prstGeom prst="rect">
            <a:avLst/>
          </a:prstGeom>
        </p:spPr>
      </p:pic>
      <p:sp>
        <p:nvSpPr>
          <p:cNvPr id="64" name="Прямоугольник 63"/>
          <p:cNvSpPr/>
          <p:nvPr/>
        </p:nvSpPr>
        <p:spPr>
          <a:xfrm>
            <a:off x="9076306" y="5798522"/>
            <a:ext cx="2828147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  <a:hlinkClick r:id="rId4"/>
              </a:rPr>
              <a:t>https://edu.skysmart.ru</a:t>
            </a:r>
            <a:r>
              <a:rPr kumimoji="0" lang="en-US" sz="2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  <a:hlinkClick r:id="rId4"/>
              </a:rPr>
              <a:t>/</a:t>
            </a:r>
            <a:r>
              <a:rPr kumimoji="0" lang="ru-RU" sz="2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endParaRPr kumimoji="0" lang="ru-RU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65" name="Picture 8" descr="https://www.pinclipart.com/picdir/big/288-2884575_sample-courses-clipart.png"/>
          <p:cNvPicPr>
            <a:picLocks noChangeAspect="1" noChangeArrowheads="1"/>
          </p:cNvPicPr>
          <p:nvPr/>
        </p:nvPicPr>
        <p:blipFill>
          <a:blip r:embed="rId5" cstate="print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8884327" y="6118350"/>
            <a:ext cx="383958" cy="3946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493847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grpSp>
        <p:nvGrpSpPr>
          <p:cNvPr id="4" name="Группа 3"/>
          <p:cNvGrpSpPr/>
          <p:nvPr/>
        </p:nvGrpSpPr>
        <p:grpSpPr>
          <a:xfrm>
            <a:off x="339553" y="260649"/>
            <a:ext cx="1268960" cy="438775"/>
            <a:chOff x="254665" y="195486"/>
            <a:chExt cx="951720" cy="329081"/>
          </a:xfrm>
        </p:grpSpPr>
        <p:sp>
          <p:nvSpPr>
            <p:cNvPr id="32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3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4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5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6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7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8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9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0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1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2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3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4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5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47" name="Прямая соединительная линия 46"/>
          <p:cNvCxnSpPr/>
          <p:nvPr/>
        </p:nvCxnSpPr>
        <p:spPr>
          <a:xfrm>
            <a:off x="1967541" y="0"/>
            <a:ext cx="0" cy="670171"/>
          </a:xfrm>
          <a:prstGeom prst="line">
            <a:avLst/>
          </a:prstGeom>
          <a:ln w="6350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29259" y="6432715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9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sp>
        <p:nvSpPr>
          <p:cNvPr id="21" name="Прямоугольник 20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335360" y="6516869"/>
            <a:ext cx="3411921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1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2066438" y="126492"/>
            <a:ext cx="3267498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Стартовая страница</a:t>
            </a:r>
            <a:endParaRPr kumimoji="0" lang="ru-RU" sz="28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8756" y="788810"/>
            <a:ext cx="10270359" cy="4458493"/>
          </a:xfrm>
          <a:prstGeom prst="rect">
            <a:avLst/>
          </a:prstGeom>
        </p:spPr>
      </p:pic>
      <p:sp>
        <p:nvSpPr>
          <p:cNvPr id="6" name="Выноска 1 5"/>
          <p:cNvSpPr/>
          <p:nvPr/>
        </p:nvSpPr>
        <p:spPr>
          <a:xfrm>
            <a:off x="134955" y="1426164"/>
            <a:ext cx="2354945" cy="787625"/>
          </a:xfrm>
          <a:prstGeom prst="borderCallout1">
            <a:avLst>
              <a:gd name="adj1" fmla="val 41130"/>
              <a:gd name="adj2" fmla="val 105299"/>
              <a:gd name="adj3" fmla="val -45558"/>
              <a:gd name="adj4" fmla="val 177520"/>
            </a:avLst>
          </a:prstGeom>
          <a:solidFill>
            <a:schemeClr val="accent1">
              <a:lumMod val="60000"/>
              <a:lumOff val="40000"/>
              <a:alpha val="54000"/>
            </a:schemeClr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Две формы учётной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записи – «Учитель»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и «Ученик»</a:t>
            </a:r>
          </a:p>
        </p:txBody>
      </p:sp>
      <p:sp>
        <p:nvSpPr>
          <p:cNvPr id="24" name="Выноска 1 23"/>
          <p:cNvSpPr/>
          <p:nvPr/>
        </p:nvSpPr>
        <p:spPr>
          <a:xfrm>
            <a:off x="134955" y="3483355"/>
            <a:ext cx="2317161" cy="1384973"/>
          </a:xfrm>
          <a:prstGeom prst="borderCallout1">
            <a:avLst>
              <a:gd name="adj1" fmla="val 41130"/>
              <a:gd name="adj2" fmla="val 105299"/>
              <a:gd name="adj3" fmla="val 41164"/>
              <a:gd name="adj4" fmla="val 117614"/>
            </a:avLst>
          </a:prstGeom>
          <a:solidFill>
            <a:schemeClr val="accent1">
              <a:lumMod val="60000"/>
              <a:lumOff val="40000"/>
              <a:alpha val="54000"/>
            </a:schemeClr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Все предметы школьной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программы для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5-11 классов</a:t>
            </a:r>
          </a:p>
        </p:txBody>
      </p:sp>
      <p:cxnSp>
        <p:nvCxnSpPr>
          <p:cNvPr id="8" name="Прямая соединительная линия 7"/>
          <p:cNvCxnSpPr/>
          <p:nvPr/>
        </p:nvCxnSpPr>
        <p:spPr>
          <a:xfrm>
            <a:off x="10245687" y="1145754"/>
            <a:ext cx="11017" cy="106803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Прямоугольник 8"/>
          <p:cNvSpPr/>
          <p:nvPr/>
        </p:nvSpPr>
        <p:spPr>
          <a:xfrm>
            <a:off x="8725359" y="2213789"/>
            <a:ext cx="3062689" cy="1269566"/>
          </a:xfrm>
          <a:prstGeom prst="rect">
            <a:avLst/>
          </a:prstGeom>
          <a:solidFill>
            <a:schemeClr val="accent1">
              <a:lumMod val="60000"/>
              <a:lumOff val="40000"/>
              <a:alpha val="53000"/>
            </a:schemeClr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Для того, чтобы начать пользоваться ресурсом, нажимаем на кнопку «Войти»</a:t>
            </a: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253846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48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cxnSp>
        <p:nvCxnSpPr>
          <p:cNvPr id="68" name="Прямая соединительная линия 67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Freeform 8"/>
          <p:cNvSpPr>
            <a:spLocks/>
          </p:cNvSpPr>
          <p:nvPr/>
        </p:nvSpPr>
        <p:spPr bwMode="auto">
          <a:xfrm>
            <a:off x="7596965" y="3958541"/>
            <a:ext cx="391642" cy="348126"/>
          </a:xfrm>
          <a:custGeom>
            <a:avLst/>
            <a:gdLst>
              <a:gd name="T0" fmla="*/ 860 w 860"/>
              <a:gd name="T1" fmla="*/ 251 h 752"/>
              <a:gd name="T2" fmla="*/ 430 w 860"/>
              <a:gd name="T3" fmla="*/ 0 h 752"/>
              <a:gd name="T4" fmla="*/ 0 w 860"/>
              <a:gd name="T5" fmla="*/ 251 h 752"/>
              <a:gd name="T6" fmla="*/ 144 w 860"/>
              <a:gd name="T7" fmla="*/ 335 h 752"/>
              <a:gd name="T8" fmla="*/ 144 w 860"/>
              <a:gd name="T9" fmla="*/ 476 h 752"/>
              <a:gd name="T10" fmla="*/ 149 w 860"/>
              <a:gd name="T11" fmla="*/ 484 h 752"/>
              <a:gd name="T12" fmla="*/ 430 w 860"/>
              <a:gd name="T13" fmla="*/ 645 h 752"/>
              <a:gd name="T14" fmla="*/ 573 w 860"/>
              <a:gd name="T15" fmla="*/ 611 h 752"/>
              <a:gd name="T16" fmla="*/ 573 w 860"/>
              <a:gd name="T17" fmla="*/ 528 h 752"/>
              <a:gd name="T18" fmla="*/ 430 w 860"/>
              <a:gd name="T19" fmla="*/ 573 h 752"/>
              <a:gd name="T20" fmla="*/ 215 w 860"/>
              <a:gd name="T21" fmla="*/ 456 h 752"/>
              <a:gd name="T22" fmla="*/ 215 w 860"/>
              <a:gd name="T23" fmla="*/ 376 h 752"/>
              <a:gd name="T24" fmla="*/ 430 w 860"/>
              <a:gd name="T25" fmla="*/ 502 h 752"/>
              <a:gd name="T26" fmla="*/ 553 w 860"/>
              <a:gd name="T27" fmla="*/ 430 h 752"/>
              <a:gd name="T28" fmla="*/ 483 w 860"/>
              <a:gd name="T29" fmla="*/ 388 h 752"/>
              <a:gd name="T30" fmla="*/ 430 w 860"/>
              <a:gd name="T31" fmla="*/ 419 h 752"/>
              <a:gd name="T32" fmla="*/ 143 w 860"/>
              <a:gd name="T33" fmla="*/ 251 h 752"/>
              <a:gd name="T34" fmla="*/ 430 w 860"/>
              <a:gd name="T35" fmla="*/ 83 h 752"/>
              <a:gd name="T36" fmla="*/ 718 w 860"/>
              <a:gd name="T37" fmla="*/ 251 h 752"/>
              <a:gd name="T38" fmla="*/ 624 w 860"/>
              <a:gd name="T39" fmla="*/ 306 h 752"/>
              <a:gd name="T40" fmla="*/ 454 w 860"/>
              <a:gd name="T41" fmla="*/ 205 h 752"/>
              <a:gd name="T42" fmla="*/ 391 w 860"/>
              <a:gd name="T43" fmla="*/ 247 h 752"/>
              <a:gd name="T44" fmla="*/ 390 w 860"/>
              <a:gd name="T45" fmla="*/ 250 h 752"/>
              <a:gd name="T46" fmla="*/ 645 w 860"/>
              <a:gd name="T47" fmla="*/ 401 h 752"/>
              <a:gd name="T48" fmla="*/ 645 w 860"/>
              <a:gd name="T49" fmla="*/ 752 h 752"/>
              <a:gd name="T50" fmla="*/ 717 w 860"/>
              <a:gd name="T51" fmla="*/ 752 h 752"/>
              <a:gd name="T52" fmla="*/ 717 w 860"/>
              <a:gd name="T53" fmla="*/ 361 h 752"/>
              <a:gd name="T54" fmla="*/ 694 w 860"/>
              <a:gd name="T55" fmla="*/ 347 h 752"/>
              <a:gd name="T56" fmla="*/ 860 w 860"/>
              <a:gd name="T57" fmla="*/ 25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860" h="752">
                <a:moveTo>
                  <a:pt x="860" y="251"/>
                </a:moveTo>
                <a:lnTo>
                  <a:pt x="430" y="0"/>
                </a:lnTo>
                <a:lnTo>
                  <a:pt x="0" y="251"/>
                </a:lnTo>
                <a:lnTo>
                  <a:pt x="144" y="335"/>
                </a:lnTo>
                <a:lnTo>
                  <a:pt x="144" y="476"/>
                </a:lnTo>
                <a:lnTo>
                  <a:pt x="149" y="484"/>
                </a:lnTo>
                <a:cubicBezTo>
                  <a:pt x="207" y="583"/>
                  <a:pt x="315" y="645"/>
                  <a:pt x="430" y="645"/>
                </a:cubicBezTo>
                <a:cubicBezTo>
                  <a:pt x="481" y="645"/>
                  <a:pt x="529" y="632"/>
                  <a:pt x="573" y="611"/>
                </a:cubicBezTo>
                <a:lnTo>
                  <a:pt x="573" y="528"/>
                </a:lnTo>
                <a:cubicBezTo>
                  <a:pt x="532" y="557"/>
                  <a:pt x="482" y="573"/>
                  <a:pt x="430" y="573"/>
                </a:cubicBezTo>
                <a:cubicBezTo>
                  <a:pt x="343" y="573"/>
                  <a:pt x="262" y="528"/>
                  <a:pt x="215" y="456"/>
                </a:cubicBezTo>
                <a:lnTo>
                  <a:pt x="215" y="376"/>
                </a:lnTo>
                <a:lnTo>
                  <a:pt x="430" y="502"/>
                </a:lnTo>
                <a:lnTo>
                  <a:pt x="553" y="430"/>
                </a:lnTo>
                <a:lnTo>
                  <a:pt x="483" y="388"/>
                </a:lnTo>
                <a:lnTo>
                  <a:pt x="430" y="419"/>
                </a:lnTo>
                <a:lnTo>
                  <a:pt x="143" y="251"/>
                </a:lnTo>
                <a:lnTo>
                  <a:pt x="430" y="83"/>
                </a:lnTo>
                <a:lnTo>
                  <a:pt x="718" y="251"/>
                </a:lnTo>
                <a:lnTo>
                  <a:pt x="624" y="306"/>
                </a:lnTo>
                <a:lnTo>
                  <a:pt x="454" y="205"/>
                </a:lnTo>
                <a:lnTo>
                  <a:pt x="391" y="247"/>
                </a:lnTo>
                <a:lnTo>
                  <a:pt x="390" y="250"/>
                </a:lnTo>
                <a:lnTo>
                  <a:pt x="645" y="401"/>
                </a:lnTo>
                <a:lnTo>
                  <a:pt x="645" y="752"/>
                </a:lnTo>
                <a:lnTo>
                  <a:pt x="717" y="752"/>
                </a:lnTo>
                <a:lnTo>
                  <a:pt x="717" y="361"/>
                </a:lnTo>
                <a:lnTo>
                  <a:pt x="694" y="347"/>
                </a:lnTo>
                <a:lnTo>
                  <a:pt x="860" y="25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7" name="Freeform 10"/>
          <p:cNvSpPr>
            <a:spLocks noEditPoints="1"/>
          </p:cNvSpPr>
          <p:nvPr/>
        </p:nvSpPr>
        <p:spPr bwMode="auto">
          <a:xfrm>
            <a:off x="7614768" y="2782742"/>
            <a:ext cx="391642" cy="346149"/>
          </a:xfrm>
          <a:custGeom>
            <a:avLst/>
            <a:gdLst>
              <a:gd name="T0" fmla="*/ 608 w 859"/>
              <a:gd name="T1" fmla="*/ 0 h 752"/>
              <a:gd name="T2" fmla="*/ 250 w 859"/>
              <a:gd name="T3" fmla="*/ 0 h 752"/>
              <a:gd name="T4" fmla="*/ 250 w 859"/>
              <a:gd name="T5" fmla="*/ 72 h 752"/>
              <a:gd name="T6" fmla="*/ 608 w 859"/>
              <a:gd name="T7" fmla="*/ 72 h 752"/>
              <a:gd name="T8" fmla="*/ 608 w 859"/>
              <a:gd name="T9" fmla="*/ 0 h 752"/>
              <a:gd name="T10" fmla="*/ 608 w 859"/>
              <a:gd name="T11" fmla="*/ 394 h 752"/>
              <a:gd name="T12" fmla="*/ 608 w 859"/>
              <a:gd name="T13" fmla="*/ 322 h 752"/>
              <a:gd name="T14" fmla="*/ 537 w 859"/>
              <a:gd name="T15" fmla="*/ 322 h 752"/>
              <a:gd name="T16" fmla="*/ 537 w 859"/>
              <a:gd name="T17" fmla="*/ 394 h 752"/>
              <a:gd name="T18" fmla="*/ 322 w 859"/>
              <a:gd name="T19" fmla="*/ 394 h 752"/>
              <a:gd name="T20" fmla="*/ 322 w 859"/>
              <a:gd name="T21" fmla="*/ 322 h 752"/>
              <a:gd name="T22" fmla="*/ 250 w 859"/>
              <a:gd name="T23" fmla="*/ 322 h 752"/>
              <a:gd name="T24" fmla="*/ 250 w 859"/>
              <a:gd name="T25" fmla="*/ 394 h 752"/>
              <a:gd name="T26" fmla="*/ 71 w 859"/>
              <a:gd name="T27" fmla="*/ 394 h 752"/>
              <a:gd name="T28" fmla="*/ 71 w 859"/>
              <a:gd name="T29" fmla="*/ 215 h 752"/>
              <a:gd name="T30" fmla="*/ 787 w 859"/>
              <a:gd name="T31" fmla="*/ 215 h 752"/>
              <a:gd name="T32" fmla="*/ 787 w 859"/>
              <a:gd name="T33" fmla="*/ 394 h 752"/>
              <a:gd name="T34" fmla="*/ 608 w 859"/>
              <a:gd name="T35" fmla="*/ 394 h 752"/>
              <a:gd name="T36" fmla="*/ 0 w 859"/>
              <a:gd name="T37" fmla="*/ 143 h 752"/>
              <a:gd name="T38" fmla="*/ 0 w 859"/>
              <a:gd name="T39" fmla="*/ 376 h 752"/>
              <a:gd name="T40" fmla="*/ 71 w 859"/>
              <a:gd name="T41" fmla="*/ 466 h 752"/>
              <a:gd name="T42" fmla="*/ 250 w 859"/>
              <a:gd name="T43" fmla="*/ 466 h 752"/>
              <a:gd name="T44" fmla="*/ 250 w 859"/>
              <a:gd name="T45" fmla="*/ 537 h 752"/>
              <a:gd name="T46" fmla="*/ 322 w 859"/>
              <a:gd name="T47" fmla="*/ 537 h 752"/>
              <a:gd name="T48" fmla="*/ 322 w 859"/>
              <a:gd name="T49" fmla="*/ 466 h 752"/>
              <a:gd name="T50" fmla="*/ 537 w 859"/>
              <a:gd name="T51" fmla="*/ 466 h 752"/>
              <a:gd name="T52" fmla="*/ 537 w 859"/>
              <a:gd name="T53" fmla="*/ 537 h 752"/>
              <a:gd name="T54" fmla="*/ 608 w 859"/>
              <a:gd name="T55" fmla="*/ 537 h 752"/>
              <a:gd name="T56" fmla="*/ 608 w 859"/>
              <a:gd name="T57" fmla="*/ 466 h 752"/>
              <a:gd name="T58" fmla="*/ 788 w 859"/>
              <a:gd name="T59" fmla="*/ 466 h 752"/>
              <a:gd name="T60" fmla="*/ 859 w 859"/>
              <a:gd name="T61" fmla="*/ 376 h 752"/>
              <a:gd name="T62" fmla="*/ 859 w 859"/>
              <a:gd name="T63" fmla="*/ 143 h 752"/>
              <a:gd name="T64" fmla="*/ 0 w 859"/>
              <a:gd name="T65" fmla="*/ 143 h 752"/>
              <a:gd name="T66" fmla="*/ 716 w 859"/>
              <a:gd name="T67" fmla="*/ 681 h 752"/>
              <a:gd name="T68" fmla="*/ 143 w 859"/>
              <a:gd name="T69" fmla="*/ 681 h 752"/>
              <a:gd name="T70" fmla="*/ 143 w 859"/>
              <a:gd name="T71" fmla="*/ 502 h 752"/>
              <a:gd name="T72" fmla="*/ 71 w 859"/>
              <a:gd name="T73" fmla="*/ 502 h 752"/>
              <a:gd name="T74" fmla="*/ 71 w 859"/>
              <a:gd name="T75" fmla="*/ 668 h 752"/>
              <a:gd name="T76" fmla="*/ 143 w 859"/>
              <a:gd name="T77" fmla="*/ 752 h 752"/>
              <a:gd name="T78" fmla="*/ 716 w 859"/>
              <a:gd name="T79" fmla="*/ 752 h 752"/>
              <a:gd name="T80" fmla="*/ 787 w 859"/>
              <a:gd name="T81" fmla="*/ 668 h 752"/>
              <a:gd name="T82" fmla="*/ 787 w 859"/>
              <a:gd name="T83" fmla="*/ 502 h 752"/>
              <a:gd name="T84" fmla="*/ 716 w 859"/>
              <a:gd name="T85" fmla="*/ 502 h 752"/>
              <a:gd name="T86" fmla="*/ 716 w 859"/>
              <a:gd name="T87" fmla="*/ 68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859" h="752">
                <a:moveTo>
                  <a:pt x="608" y="0"/>
                </a:moveTo>
                <a:lnTo>
                  <a:pt x="250" y="0"/>
                </a:lnTo>
                <a:lnTo>
                  <a:pt x="250" y="72"/>
                </a:lnTo>
                <a:lnTo>
                  <a:pt x="608" y="72"/>
                </a:lnTo>
                <a:lnTo>
                  <a:pt x="608" y="0"/>
                </a:lnTo>
                <a:close/>
                <a:moveTo>
                  <a:pt x="608" y="394"/>
                </a:moveTo>
                <a:lnTo>
                  <a:pt x="608" y="322"/>
                </a:lnTo>
                <a:lnTo>
                  <a:pt x="537" y="322"/>
                </a:lnTo>
                <a:lnTo>
                  <a:pt x="537" y="394"/>
                </a:lnTo>
                <a:lnTo>
                  <a:pt x="322" y="394"/>
                </a:lnTo>
                <a:lnTo>
                  <a:pt x="322" y="322"/>
                </a:lnTo>
                <a:lnTo>
                  <a:pt x="250" y="322"/>
                </a:lnTo>
                <a:lnTo>
                  <a:pt x="250" y="394"/>
                </a:lnTo>
                <a:lnTo>
                  <a:pt x="71" y="394"/>
                </a:lnTo>
                <a:lnTo>
                  <a:pt x="71" y="215"/>
                </a:lnTo>
                <a:lnTo>
                  <a:pt x="787" y="215"/>
                </a:lnTo>
                <a:lnTo>
                  <a:pt x="787" y="394"/>
                </a:lnTo>
                <a:lnTo>
                  <a:pt x="608" y="394"/>
                </a:lnTo>
                <a:close/>
                <a:moveTo>
                  <a:pt x="0" y="143"/>
                </a:moveTo>
                <a:lnTo>
                  <a:pt x="0" y="376"/>
                </a:lnTo>
                <a:cubicBezTo>
                  <a:pt x="0" y="416"/>
                  <a:pt x="32" y="466"/>
                  <a:pt x="71" y="466"/>
                </a:cubicBezTo>
                <a:lnTo>
                  <a:pt x="250" y="466"/>
                </a:lnTo>
                <a:lnTo>
                  <a:pt x="250" y="537"/>
                </a:lnTo>
                <a:lnTo>
                  <a:pt x="322" y="537"/>
                </a:lnTo>
                <a:lnTo>
                  <a:pt x="322" y="466"/>
                </a:lnTo>
                <a:lnTo>
                  <a:pt x="537" y="466"/>
                </a:lnTo>
                <a:lnTo>
                  <a:pt x="537" y="537"/>
                </a:lnTo>
                <a:lnTo>
                  <a:pt x="608" y="537"/>
                </a:lnTo>
                <a:lnTo>
                  <a:pt x="608" y="466"/>
                </a:lnTo>
                <a:lnTo>
                  <a:pt x="788" y="466"/>
                </a:lnTo>
                <a:cubicBezTo>
                  <a:pt x="827" y="466"/>
                  <a:pt x="859" y="416"/>
                  <a:pt x="859" y="376"/>
                </a:cubicBezTo>
                <a:lnTo>
                  <a:pt x="859" y="143"/>
                </a:lnTo>
                <a:lnTo>
                  <a:pt x="0" y="143"/>
                </a:lnTo>
                <a:close/>
                <a:moveTo>
                  <a:pt x="716" y="681"/>
                </a:moveTo>
                <a:lnTo>
                  <a:pt x="143" y="681"/>
                </a:lnTo>
                <a:lnTo>
                  <a:pt x="143" y="502"/>
                </a:lnTo>
                <a:lnTo>
                  <a:pt x="71" y="502"/>
                </a:lnTo>
                <a:lnTo>
                  <a:pt x="71" y="668"/>
                </a:lnTo>
                <a:cubicBezTo>
                  <a:pt x="71" y="704"/>
                  <a:pt x="104" y="752"/>
                  <a:pt x="143" y="752"/>
                </a:cubicBezTo>
                <a:lnTo>
                  <a:pt x="716" y="752"/>
                </a:lnTo>
                <a:cubicBezTo>
                  <a:pt x="755" y="752"/>
                  <a:pt x="787" y="704"/>
                  <a:pt x="787" y="668"/>
                </a:cubicBezTo>
                <a:lnTo>
                  <a:pt x="787" y="502"/>
                </a:lnTo>
                <a:lnTo>
                  <a:pt x="716" y="502"/>
                </a:lnTo>
                <a:lnTo>
                  <a:pt x="716" y="68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4" name="Прямоугольник 23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0" y="6516869"/>
            <a:ext cx="12192000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ГК «Просвещение», 2021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948970" y="108504"/>
            <a:ext cx="493455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ОГЭ 2021 физика (Краткие выводы)</a:t>
            </a:r>
            <a:endParaRPr kumimoji="0" lang="ru-RU" sz="24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" name="Скругленный прямоугольник 2"/>
          <p:cNvSpPr/>
          <p:nvPr/>
        </p:nvSpPr>
        <p:spPr>
          <a:xfrm>
            <a:off x="825909" y="806245"/>
            <a:ext cx="4748981" cy="550606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25400"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. ОГЭ по физике проводиться не будет</a:t>
            </a:r>
            <a:endParaRPr kumimoji="0" lang="ru-RU" sz="18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825909" y="1446237"/>
            <a:ext cx="99905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Постановление правительства РФ № 256 от 26.02.2021. Познакомиться с документом можно </a:t>
            </a: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  <a:hlinkClick r:id="rId4"/>
              </a:rPr>
              <a:t>здесь</a:t>
            </a: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. </a:t>
            </a: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3" name="Скругленный прямоугольник 22"/>
          <p:cNvSpPr/>
          <p:nvPr/>
        </p:nvSpPr>
        <p:spPr>
          <a:xfrm>
            <a:off x="825908" y="1904955"/>
            <a:ext cx="9202995" cy="550606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25400"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. Экзамен пройдёт в формате контрольной работы, созданной на основе модели ОГЭ  </a:t>
            </a:r>
            <a:endParaRPr kumimoji="0" lang="ru-RU" sz="18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825909" y="2534820"/>
            <a:ext cx="891785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Разъяснение порядка проведения контрольных работ озвучены </a:t>
            </a:r>
            <a:r>
              <a:rPr kumimoji="0" lang="ru-RU" sz="18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Рособрнадзором</a:t>
            </a: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Познакомиться с выступлением </a:t>
            </a:r>
            <a:r>
              <a:rPr kumimoji="0" lang="ru-RU" sz="18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Рособрнадзора</a:t>
            </a: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можно </a:t>
            </a: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  <a:hlinkClick r:id="rId5"/>
              </a:rPr>
              <a:t>здесь</a:t>
            </a: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. </a:t>
            </a: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5312533" y="3181151"/>
            <a:ext cx="249805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ОБРАТИТЕ ВНИМАНИЕ!</a:t>
            </a:r>
            <a:endParaRPr kumimoji="0" lang="ru-RU" sz="18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2898282" y="3455203"/>
            <a:ext cx="732655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Нормативно-правовые акты в настоящее время готовятся к публикации!</a:t>
            </a: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6" name="Скругленный прямоугольник 25"/>
          <p:cNvSpPr/>
          <p:nvPr/>
        </p:nvSpPr>
        <p:spPr>
          <a:xfrm>
            <a:off x="825908" y="3890916"/>
            <a:ext cx="9763434" cy="550606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25400"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3. Контрольную работу пишут только те учащиеся, кто выбрал физику как предмет для сдачи</a:t>
            </a:r>
            <a:endParaRPr kumimoji="0" lang="ru-RU" sz="18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8" name="Скругленный прямоугольник 27"/>
          <p:cNvSpPr/>
          <p:nvPr/>
        </p:nvSpPr>
        <p:spPr>
          <a:xfrm>
            <a:off x="825908" y="4692569"/>
            <a:ext cx="7285705" cy="550606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25400"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4. Наличие экспериментального задания зависит от выбора региона</a:t>
            </a:r>
            <a:endParaRPr kumimoji="0" lang="ru-RU" sz="18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810201" y="5349346"/>
            <a:ext cx="11022718" cy="1077218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В ОГЭ по ряду предметов есть экспериментальная часть. Поскольку это все-таки контрольная работа, то здесь у субъекта РФ есть возможность оставить всю работу целиком или исключить из нее выполнение каких-то отдельных заданий. Какие-то субъекты пойдут на исключение экспериментальной части из контрольной работы, исходя из собственных возможностей и </a:t>
            </a: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целесообразности.</a:t>
            </a: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3285626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2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2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3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35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40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45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5" grpId="0"/>
      <p:bldP spid="23" grpId="0" animBg="1"/>
      <p:bldP spid="25" grpId="0"/>
      <p:bldP spid="6" grpId="0"/>
      <p:bldP spid="7" grpId="0"/>
      <p:bldP spid="26" grpId="0" animBg="1"/>
      <p:bldP spid="28" grpId="0" animBg="1"/>
      <p:bldP spid="8" grpId="0" animBg="1"/>
    </p:bld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grpSp>
        <p:nvGrpSpPr>
          <p:cNvPr id="4" name="Группа 3"/>
          <p:cNvGrpSpPr/>
          <p:nvPr/>
        </p:nvGrpSpPr>
        <p:grpSpPr>
          <a:xfrm>
            <a:off x="339553" y="260649"/>
            <a:ext cx="1268960" cy="438775"/>
            <a:chOff x="254665" y="195486"/>
            <a:chExt cx="951720" cy="329081"/>
          </a:xfrm>
        </p:grpSpPr>
        <p:sp>
          <p:nvSpPr>
            <p:cNvPr id="32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3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4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5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6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7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8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9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0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1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2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3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4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5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47" name="Прямая соединительная линия 46"/>
          <p:cNvCxnSpPr/>
          <p:nvPr/>
        </p:nvCxnSpPr>
        <p:spPr>
          <a:xfrm>
            <a:off x="1967541" y="0"/>
            <a:ext cx="0" cy="670171"/>
          </a:xfrm>
          <a:prstGeom prst="line">
            <a:avLst/>
          </a:prstGeom>
          <a:ln w="6350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29259" y="6432715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0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sp>
        <p:nvSpPr>
          <p:cNvPr id="21" name="Прямоугольник 20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335360" y="6516869"/>
            <a:ext cx="3411921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1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2010723" y="126492"/>
            <a:ext cx="212276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Регистрация</a:t>
            </a:r>
            <a:endParaRPr kumimoji="0" lang="ru-RU" sz="28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8118" y="916791"/>
            <a:ext cx="11769662" cy="4335864"/>
          </a:xfrm>
          <a:prstGeom prst="rect">
            <a:avLst/>
          </a:prstGeom>
        </p:spPr>
      </p:pic>
      <p:sp>
        <p:nvSpPr>
          <p:cNvPr id="5" name="Выноска 1 4"/>
          <p:cNvSpPr/>
          <p:nvPr/>
        </p:nvSpPr>
        <p:spPr>
          <a:xfrm>
            <a:off x="335360" y="2655065"/>
            <a:ext cx="2837498" cy="1465243"/>
          </a:xfrm>
          <a:prstGeom prst="borderCallout1">
            <a:avLst>
              <a:gd name="adj1" fmla="val 18750"/>
              <a:gd name="adj2" fmla="val 106204"/>
              <a:gd name="adj3" fmla="val 39286"/>
              <a:gd name="adj4" fmla="val 117359"/>
            </a:avLst>
          </a:prstGeom>
          <a:solidFill>
            <a:schemeClr val="accent1">
              <a:lumMod val="60000"/>
              <a:lumOff val="40000"/>
            </a:schemeClr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Если у Вас уже пройдена регистрация, то просто вводим </a:t>
            </a:r>
            <a:r>
              <a:rPr kumimoji="0" lang="en-US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-mail</a:t>
            </a: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указанный при регистрации и пароль</a:t>
            </a: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7" name="Прямая соединительная линия 6"/>
          <p:cNvCxnSpPr/>
          <p:nvPr/>
        </p:nvCxnSpPr>
        <p:spPr>
          <a:xfrm>
            <a:off x="11127036" y="1222872"/>
            <a:ext cx="33051" cy="1861851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Прямоугольник 7"/>
          <p:cNvSpPr/>
          <p:nvPr/>
        </p:nvSpPr>
        <p:spPr>
          <a:xfrm>
            <a:off x="8251634" y="2930486"/>
            <a:ext cx="3448279" cy="1516385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Если не зарегистрированы, то нужно нажать кнопку «Зарегистрироваться» и пройти стандартную процедуру регистрации</a:t>
            </a: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015197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grpSp>
        <p:nvGrpSpPr>
          <p:cNvPr id="4" name="Группа 3"/>
          <p:cNvGrpSpPr/>
          <p:nvPr/>
        </p:nvGrpSpPr>
        <p:grpSpPr>
          <a:xfrm>
            <a:off x="339553" y="260649"/>
            <a:ext cx="1268960" cy="438775"/>
            <a:chOff x="254665" y="195486"/>
            <a:chExt cx="951720" cy="329081"/>
          </a:xfrm>
        </p:grpSpPr>
        <p:sp>
          <p:nvSpPr>
            <p:cNvPr id="32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3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4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5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6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7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8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9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0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1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2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3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4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5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47" name="Прямая соединительная линия 46"/>
          <p:cNvCxnSpPr/>
          <p:nvPr/>
        </p:nvCxnSpPr>
        <p:spPr>
          <a:xfrm>
            <a:off x="1967541" y="0"/>
            <a:ext cx="0" cy="670171"/>
          </a:xfrm>
          <a:prstGeom prst="line">
            <a:avLst/>
          </a:prstGeom>
          <a:ln w="6350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29259" y="6432715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1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sp>
        <p:nvSpPr>
          <p:cNvPr id="21" name="Прямоугольник 20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335360" y="6516869"/>
            <a:ext cx="3411921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1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2041320" y="126492"/>
            <a:ext cx="2921570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Главная страница</a:t>
            </a:r>
            <a:endParaRPr kumimoji="0" lang="ru-RU" sz="28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6869" y="759557"/>
            <a:ext cx="11678905" cy="5709274"/>
          </a:xfrm>
          <a:prstGeom prst="rect">
            <a:avLst/>
          </a:prstGeom>
        </p:spPr>
      </p:pic>
      <p:sp>
        <p:nvSpPr>
          <p:cNvPr id="9" name="Выноска 1 8"/>
          <p:cNvSpPr/>
          <p:nvPr/>
        </p:nvSpPr>
        <p:spPr>
          <a:xfrm>
            <a:off x="9227702" y="3108960"/>
            <a:ext cx="2618072" cy="1241659"/>
          </a:xfrm>
          <a:prstGeom prst="borderCallout1">
            <a:avLst>
              <a:gd name="adj1" fmla="val 18750"/>
              <a:gd name="adj2" fmla="val -8333"/>
              <a:gd name="adj3" fmla="val 18952"/>
              <a:gd name="adj4" fmla="val -16274"/>
            </a:avLst>
          </a:prstGeom>
          <a:solidFill>
            <a:schemeClr val="accent1">
              <a:lumMod val="40000"/>
              <a:lumOff val="60000"/>
            </a:schemeClr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Поле, в котором отображаются результаты с созданными заданиями</a:t>
            </a: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" name="Выноска 1 9"/>
          <p:cNvSpPr/>
          <p:nvPr/>
        </p:nvSpPr>
        <p:spPr>
          <a:xfrm>
            <a:off x="392283" y="3108960"/>
            <a:ext cx="2421316" cy="933651"/>
          </a:xfrm>
          <a:prstGeom prst="borderCallout1">
            <a:avLst>
              <a:gd name="adj1" fmla="val 20032"/>
              <a:gd name="adj2" fmla="val 103371"/>
              <a:gd name="adj3" fmla="val 20192"/>
              <a:gd name="adj4" fmla="val 129421"/>
            </a:avLst>
          </a:prstGeom>
          <a:solidFill>
            <a:schemeClr val="accent1">
              <a:lumMod val="40000"/>
              <a:lumOff val="60000"/>
            </a:schemeClr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Поле, в котором отображаются все созданные задания</a:t>
            </a: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" name="Выноска 1 10"/>
          <p:cNvSpPr/>
          <p:nvPr/>
        </p:nvSpPr>
        <p:spPr>
          <a:xfrm>
            <a:off x="9952522" y="1395243"/>
            <a:ext cx="1893252" cy="539015"/>
          </a:xfrm>
          <a:prstGeom prst="borderCallout1">
            <a:avLst>
              <a:gd name="adj1" fmla="val -6740"/>
              <a:gd name="adj2" fmla="val 92770"/>
              <a:gd name="adj3" fmla="val -56066"/>
              <a:gd name="adj4" fmla="val 92917"/>
            </a:avLst>
          </a:prstGeom>
          <a:solidFill>
            <a:schemeClr val="accent1">
              <a:lumMod val="40000"/>
              <a:lumOff val="60000"/>
            </a:schemeClr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Личный кабинет</a:t>
            </a: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0" name="Выноска 1 29"/>
          <p:cNvSpPr/>
          <p:nvPr/>
        </p:nvSpPr>
        <p:spPr>
          <a:xfrm>
            <a:off x="392283" y="1189650"/>
            <a:ext cx="2421316" cy="539015"/>
          </a:xfrm>
          <a:prstGeom prst="borderCallout1">
            <a:avLst>
              <a:gd name="adj1" fmla="val 46831"/>
              <a:gd name="adj2" fmla="val 102938"/>
              <a:gd name="adj3" fmla="val 45719"/>
              <a:gd name="adj4" fmla="val 111958"/>
            </a:avLst>
          </a:prstGeom>
          <a:solidFill>
            <a:schemeClr val="accent1">
              <a:lumMod val="40000"/>
              <a:lumOff val="60000"/>
            </a:schemeClr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Кнопка «Добавить задание»</a:t>
            </a: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776666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grpSp>
        <p:nvGrpSpPr>
          <p:cNvPr id="4" name="Группа 3"/>
          <p:cNvGrpSpPr/>
          <p:nvPr/>
        </p:nvGrpSpPr>
        <p:grpSpPr>
          <a:xfrm>
            <a:off x="339553" y="260649"/>
            <a:ext cx="1268960" cy="438775"/>
            <a:chOff x="254665" y="195486"/>
            <a:chExt cx="951720" cy="329081"/>
          </a:xfrm>
        </p:grpSpPr>
        <p:sp>
          <p:nvSpPr>
            <p:cNvPr id="32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3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4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5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6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7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8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9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0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1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2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3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4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5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47" name="Прямая соединительная линия 46"/>
          <p:cNvCxnSpPr/>
          <p:nvPr/>
        </p:nvCxnSpPr>
        <p:spPr>
          <a:xfrm>
            <a:off x="1967541" y="0"/>
            <a:ext cx="0" cy="670171"/>
          </a:xfrm>
          <a:prstGeom prst="line">
            <a:avLst/>
          </a:prstGeom>
          <a:ln w="6350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29259" y="6432715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2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sp>
        <p:nvSpPr>
          <p:cNvPr id="21" name="Прямоугольник 20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335360" y="6516869"/>
            <a:ext cx="3411921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1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49" name="Picture 8" descr="https://www.pinclipart.com/picdir/big/288-2884575_sample-courses-clipart.png"/>
          <p:cNvPicPr>
            <a:picLocks noChangeAspect="1" noChangeArrowheads="1"/>
          </p:cNvPicPr>
          <p:nvPr/>
        </p:nvPicPr>
        <p:blipFill>
          <a:blip r:embed="rId3" cstate="print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4443280" y="2700227"/>
            <a:ext cx="402328" cy="4135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9" name="TextBox 58"/>
          <p:cNvSpPr txBox="1"/>
          <p:nvPr/>
        </p:nvSpPr>
        <p:spPr>
          <a:xfrm>
            <a:off x="1719947" y="102007"/>
            <a:ext cx="924888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ПРИГЛАШАЕМ НА КОНФЕРЕНЦИЮ</a:t>
            </a:r>
            <a:endParaRPr kumimoji="0" lang="ru-RU" sz="24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338058" y="573868"/>
            <a:ext cx="8009537" cy="1954598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5" name="Прямоугольник 4"/>
          <p:cNvSpPr/>
          <p:nvPr/>
        </p:nvSpPr>
        <p:spPr>
          <a:xfrm>
            <a:off x="4575098" y="2515561"/>
            <a:ext cx="358835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  <a:hlinkClick r:id="rId5"/>
              </a:rPr>
              <a:t>https://uchitel.club/subject-week1</a:t>
            </a:r>
            <a:r>
              <a:rPr kumimoji="0" lang="en-US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  <a:hlinkClick r:id="rId5"/>
              </a:rPr>
              <a:t>/</a:t>
            </a: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164169" y="3115178"/>
            <a:ext cx="3108277" cy="2819880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600914" y="3113755"/>
            <a:ext cx="3986946" cy="2821303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27001515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grpSp>
        <p:nvGrpSpPr>
          <p:cNvPr id="4" name="Группа 3"/>
          <p:cNvGrpSpPr/>
          <p:nvPr/>
        </p:nvGrpSpPr>
        <p:grpSpPr>
          <a:xfrm>
            <a:off x="339553" y="260649"/>
            <a:ext cx="1268960" cy="438775"/>
            <a:chOff x="254665" y="195486"/>
            <a:chExt cx="951720" cy="329081"/>
          </a:xfrm>
        </p:grpSpPr>
        <p:sp>
          <p:nvSpPr>
            <p:cNvPr id="32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3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4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5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6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7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8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9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0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1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2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3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4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5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47" name="Прямая соединительная линия 46"/>
          <p:cNvCxnSpPr/>
          <p:nvPr/>
        </p:nvCxnSpPr>
        <p:spPr>
          <a:xfrm>
            <a:off x="1967541" y="0"/>
            <a:ext cx="0" cy="670171"/>
          </a:xfrm>
          <a:prstGeom prst="line">
            <a:avLst/>
          </a:prstGeom>
          <a:ln w="6350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29259" y="6432715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3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sp>
        <p:nvSpPr>
          <p:cNvPr id="21" name="Прямоугольник 20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335360" y="6516869"/>
            <a:ext cx="3411921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1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49" name="Picture 8" descr="https://www.pinclipart.com/picdir/big/288-2884575_sample-courses-clipart.png"/>
          <p:cNvPicPr>
            <a:picLocks noChangeAspect="1" noChangeArrowheads="1"/>
          </p:cNvPicPr>
          <p:nvPr/>
        </p:nvPicPr>
        <p:blipFill>
          <a:blip r:embed="rId3" cstate="print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8008522" y="6270893"/>
            <a:ext cx="402328" cy="4135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9" name="TextBox 58"/>
          <p:cNvSpPr txBox="1"/>
          <p:nvPr/>
        </p:nvSpPr>
        <p:spPr>
          <a:xfrm>
            <a:off x="1719947" y="102007"/>
            <a:ext cx="924888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ПРИГЛАШАЕМ НА КОНФЕРЕНЦИЮ</a:t>
            </a:r>
            <a:endParaRPr kumimoji="0" lang="ru-RU" sz="24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8206819" y="6062610"/>
            <a:ext cx="358835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  <a:hlinkClick r:id="rId4"/>
              </a:rPr>
              <a:t>https://uchitel.club/subject-week1</a:t>
            </a:r>
            <a:r>
              <a:rPr kumimoji="0" lang="en-US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  <a:hlinkClick r:id="rId4"/>
              </a:rPr>
              <a:t>/</a:t>
            </a: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5" name="Рисунок 1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375323" y="812115"/>
            <a:ext cx="7435251" cy="43802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60946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Номер слайда 2"/>
          <p:cNvSpPr txBox="1">
            <a:spLocks/>
          </p:cNvSpPr>
          <p:nvPr/>
        </p:nvSpPr>
        <p:spPr>
          <a:xfrm>
            <a:off x="11312783" y="161008"/>
            <a:ext cx="719403" cy="356659"/>
          </a:xfrm>
          <a:prstGeom prst="rect">
            <a:avLst/>
          </a:prstGeom>
        </p:spPr>
        <p:txBody>
          <a:bodyPr vert="horz" lIns="91425" tIns="91425" rIns="91425" bIns="91425" rtlCol="0" anchor="ctr" anchorCtr="0">
            <a:no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 smtClean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4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grpSp>
        <p:nvGrpSpPr>
          <p:cNvPr id="54" name="Группа 53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55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6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8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0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1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2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3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4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5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6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7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8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9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0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71" name="Прямая соединительная линия 70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Прямая соединительная линия 72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40" name="TextBox 39"/>
          <p:cNvSpPr txBox="1"/>
          <p:nvPr/>
        </p:nvSpPr>
        <p:spPr>
          <a:xfrm>
            <a:off x="9493058" y="1677982"/>
            <a:ext cx="2459970" cy="3562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lvl="0">
              <a:lnSpc>
                <a:spcPct val="85000"/>
              </a:lnSpc>
              <a:defRPr b="1">
                <a:solidFill>
                  <a:srgbClr val="2D2B8D"/>
                </a:solidFill>
                <a:latin typeface="Open Sans Condensed" pitchFamily="34" charset="0"/>
                <a:ea typeface="Open Sans Condensed" pitchFamily="34" charset="0"/>
                <a:cs typeface="Open Sans Condensed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/>
                <a:hlinkClick r:id="rId3"/>
              </a:rPr>
              <a:t>https://uchitel.club/</a:t>
            </a:r>
            <a:endParaRPr kumimoji="0" lang="ru-RU" sz="2000" b="1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/>
            </a:endParaRPr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 rotWithShape="1">
          <a:blip r:embed="rId4"/>
          <a:srcRect t="4558"/>
          <a:stretch/>
        </p:blipFill>
        <p:spPr>
          <a:xfrm>
            <a:off x="295718" y="1011115"/>
            <a:ext cx="8637878" cy="4956907"/>
          </a:xfrm>
          <a:prstGeom prst="rect">
            <a:avLst/>
          </a:prstGeom>
        </p:spPr>
      </p:pic>
      <p:sp>
        <p:nvSpPr>
          <p:cNvPr id="34" name="TextBox 33"/>
          <p:cNvSpPr txBox="1"/>
          <p:nvPr/>
        </p:nvSpPr>
        <p:spPr>
          <a:xfrm>
            <a:off x="1796537" y="183750"/>
            <a:ext cx="9697077" cy="3562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lvl="0">
              <a:lnSpc>
                <a:spcPct val="85000"/>
              </a:lnSpc>
              <a:defRPr b="1">
                <a:solidFill>
                  <a:srgbClr val="2D2B8D"/>
                </a:solidFill>
                <a:latin typeface="Open Sans Condensed" pitchFamily="34" charset="0"/>
                <a:ea typeface="Open Sans Condensed" pitchFamily="34" charset="0"/>
                <a:cs typeface="Open Sans Condensed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/>
              </a:rPr>
              <a:t>Просвещение. Поддержка</a:t>
            </a:r>
            <a:endParaRPr kumimoji="0" lang="ru-RU" sz="2000" b="1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8098889" y="3650701"/>
            <a:ext cx="3854139" cy="24929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marL="285750" lvl="0" indent="-285750">
              <a:spcBef>
                <a:spcPts val="1800"/>
              </a:spcBef>
              <a:buClr>
                <a:srgbClr val="0073B8"/>
              </a:buClr>
              <a:buSzPct val="66000"/>
              <a:buFont typeface="Franklin Gothic Book" pitchFamily="34" charset="0"/>
              <a:buChar char="►"/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ea typeface="Open Sans" pitchFamily="34" charset="0"/>
                <a:cs typeface="Open Sans" pitchFamily="34" charset="0"/>
              </a:defRPr>
            </a:lvl1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73B8"/>
              </a:buClr>
              <a:buSzPct val="66000"/>
              <a:buFont typeface="Franklin Gothic Book" pitchFamily="34" charset="0"/>
              <a:buChar char="►"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</a:rPr>
              <a:t>Портал, на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</a:rPr>
              <a:t>котором 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</a:rPr>
              <a:t>собраны материалы в  помощь учителям и родителям для организации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</a:rPr>
              <a:t>обучения </a:t>
            </a:r>
            <a:endParaRPr kumimoji="0" lang="ru-RU" sz="1400" b="0" i="0" u="none" strike="noStrike" kern="1200" cap="none" spc="0" normalizeH="0" baseline="0" noProof="0" dirty="0" smtClean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73B8"/>
              </a:buClr>
              <a:buSzPct val="66000"/>
              <a:buFont typeface="Franklin Gothic Book" pitchFamily="34" charset="0"/>
              <a:buChar char="►"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</a:rPr>
              <a:t>Консультации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</a:rPr>
              <a:t>при выполнении домашних заданий в </a:t>
            </a:r>
            <a:r>
              <a:rPr kumimoji="0" lang="ru-RU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</a:rPr>
              <a:t>видеоформате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</a:rPr>
              <a:t> </a:t>
            </a:r>
            <a:endParaRPr kumimoji="0" lang="ru-RU" sz="1400" b="0" i="0" u="none" strike="noStrike" kern="1200" cap="none" spc="0" normalizeH="0" baseline="0" noProof="0" dirty="0" smtClean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73B8"/>
              </a:buClr>
              <a:buSzPct val="66000"/>
              <a:buFont typeface="Franklin Gothic Book" pitchFamily="34" charset="0"/>
              <a:buChar char="►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</a:rPr>
              <a:t> 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</a:rPr>
              <a:t>Обмен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</a:rPr>
              <a:t>лучшими практиками, их апробация и распространение в сотрудничестве с органами управления 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</a:rPr>
              <a:t>образованием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</a:rPr>
              <a:t/>
            </a:r>
            <a:b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</a:rPr>
            </a:b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</a:endParaRPr>
          </a:p>
        </p:txBody>
      </p:sp>
      <p:pic>
        <p:nvPicPr>
          <p:cNvPr id="28" name="Picture 8" descr="https://www.pinclipart.com/picdir/big/288-2884575_sample-courses-clipart.png"/>
          <p:cNvPicPr>
            <a:picLocks noChangeAspect="1" noChangeArrowheads="1"/>
          </p:cNvPicPr>
          <p:nvPr/>
        </p:nvPicPr>
        <p:blipFill>
          <a:blip r:embed="rId5" cstate="print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9129038" y="1771118"/>
            <a:ext cx="432048" cy="4440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9" name="Прямоугольник 28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335360" y="6516869"/>
            <a:ext cx="3411921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1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986290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5"/>
          <p:cNvSpPr>
            <a:spLocks noChangeArrowheads="1"/>
          </p:cNvSpPr>
          <p:nvPr/>
        </p:nvSpPr>
        <p:spPr bwMode="auto">
          <a:xfrm>
            <a:off x="-1" y="8533"/>
            <a:ext cx="12192001" cy="6849467"/>
          </a:xfrm>
          <a:prstGeom prst="rect">
            <a:avLst/>
          </a:prstGeom>
          <a:solidFill>
            <a:srgbClr val="F0F8F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9" name="Rectangle 7"/>
          <p:cNvSpPr>
            <a:spLocks noChangeArrowheads="1"/>
          </p:cNvSpPr>
          <p:nvPr/>
        </p:nvSpPr>
        <p:spPr bwMode="auto">
          <a:xfrm>
            <a:off x="7573456" y="202455"/>
            <a:ext cx="1477453" cy="1233124"/>
          </a:xfrm>
          <a:prstGeom prst="rect">
            <a:avLst/>
          </a:prstGeom>
          <a:solidFill>
            <a:srgbClr val="9ED44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0" name="Rectangle 8"/>
          <p:cNvSpPr>
            <a:spLocks noChangeArrowheads="1"/>
          </p:cNvSpPr>
          <p:nvPr/>
        </p:nvSpPr>
        <p:spPr bwMode="auto">
          <a:xfrm>
            <a:off x="4618544" y="203634"/>
            <a:ext cx="1477453" cy="1233124"/>
          </a:xfrm>
          <a:prstGeom prst="rect">
            <a:avLst/>
          </a:prstGeom>
          <a:solidFill>
            <a:srgbClr val="9ED44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2" name="Rectangle 10"/>
          <p:cNvSpPr>
            <a:spLocks noChangeArrowheads="1"/>
          </p:cNvSpPr>
          <p:nvPr/>
        </p:nvSpPr>
        <p:spPr bwMode="auto">
          <a:xfrm>
            <a:off x="7573456" y="1436758"/>
            <a:ext cx="1477453" cy="1233124"/>
          </a:xfrm>
          <a:prstGeom prst="rect">
            <a:avLst/>
          </a:prstGeom>
          <a:solidFill>
            <a:srgbClr val="40A7E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3" name="Rectangle 11"/>
          <p:cNvSpPr>
            <a:spLocks noChangeArrowheads="1"/>
          </p:cNvSpPr>
          <p:nvPr/>
        </p:nvSpPr>
        <p:spPr bwMode="auto">
          <a:xfrm>
            <a:off x="3141092" y="203634"/>
            <a:ext cx="1477453" cy="1233124"/>
          </a:xfrm>
          <a:prstGeom prst="rect">
            <a:avLst/>
          </a:prstGeom>
          <a:solidFill>
            <a:srgbClr val="5471A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4" name="Rectangle 12"/>
          <p:cNvSpPr>
            <a:spLocks noChangeArrowheads="1"/>
          </p:cNvSpPr>
          <p:nvPr/>
        </p:nvSpPr>
        <p:spPr bwMode="auto">
          <a:xfrm>
            <a:off x="6096003" y="203634"/>
            <a:ext cx="1477453" cy="1233124"/>
          </a:xfrm>
          <a:prstGeom prst="rect">
            <a:avLst/>
          </a:prstGeom>
          <a:solidFill>
            <a:srgbClr val="4383D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5" name="Rectangle 13"/>
          <p:cNvSpPr>
            <a:spLocks noChangeArrowheads="1"/>
          </p:cNvSpPr>
          <p:nvPr/>
        </p:nvSpPr>
        <p:spPr bwMode="auto">
          <a:xfrm>
            <a:off x="10528364" y="203634"/>
            <a:ext cx="1477453" cy="1233124"/>
          </a:xfrm>
          <a:prstGeom prst="rect">
            <a:avLst/>
          </a:prstGeom>
          <a:solidFill>
            <a:srgbClr val="43D1A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6" name="Rectangle 14"/>
          <p:cNvSpPr>
            <a:spLocks noChangeArrowheads="1"/>
          </p:cNvSpPr>
          <p:nvPr/>
        </p:nvSpPr>
        <p:spPr bwMode="auto">
          <a:xfrm>
            <a:off x="9050908" y="1436758"/>
            <a:ext cx="1477453" cy="1233124"/>
          </a:xfrm>
          <a:prstGeom prst="rect">
            <a:avLst/>
          </a:prstGeom>
          <a:solidFill>
            <a:srgbClr val="5471A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7" name="Rectangle 15"/>
          <p:cNvSpPr>
            <a:spLocks noChangeArrowheads="1"/>
          </p:cNvSpPr>
          <p:nvPr/>
        </p:nvSpPr>
        <p:spPr bwMode="auto">
          <a:xfrm>
            <a:off x="186184" y="203634"/>
            <a:ext cx="1477453" cy="1233124"/>
          </a:xfrm>
          <a:prstGeom prst="rect">
            <a:avLst/>
          </a:prstGeom>
          <a:solidFill>
            <a:srgbClr val="43D1A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9" name="Rectangle 17"/>
          <p:cNvSpPr>
            <a:spLocks noChangeArrowheads="1"/>
          </p:cNvSpPr>
          <p:nvPr/>
        </p:nvSpPr>
        <p:spPr bwMode="auto">
          <a:xfrm>
            <a:off x="9050911" y="202455"/>
            <a:ext cx="1477453" cy="1233124"/>
          </a:xfrm>
          <a:prstGeom prst="rect">
            <a:avLst/>
          </a:prstGeom>
          <a:solidFill>
            <a:srgbClr val="F5B14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1" name="Rectangle 19"/>
          <p:cNvSpPr>
            <a:spLocks noChangeArrowheads="1"/>
          </p:cNvSpPr>
          <p:nvPr/>
        </p:nvSpPr>
        <p:spPr bwMode="auto">
          <a:xfrm>
            <a:off x="6096003" y="1436758"/>
            <a:ext cx="1477453" cy="1233124"/>
          </a:xfrm>
          <a:prstGeom prst="rect">
            <a:avLst/>
          </a:prstGeom>
          <a:solidFill>
            <a:srgbClr val="40D4E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2" name="Rectangle 20"/>
          <p:cNvSpPr>
            <a:spLocks noChangeArrowheads="1"/>
          </p:cNvSpPr>
          <p:nvPr/>
        </p:nvSpPr>
        <p:spPr bwMode="auto">
          <a:xfrm>
            <a:off x="10528364" y="1436758"/>
            <a:ext cx="1477453" cy="1233124"/>
          </a:xfrm>
          <a:prstGeom prst="rect">
            <a:avLst/>
          </a:prstGeom>
          <a:solidFill>
            <a:srgbClr val="F5B14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3" name="Rectangle 21"/>
          <p:cNvSpPr>
            <a:spLocks noChangeArrowheads="1"/>
          </p:cNvSpPr>
          <p:nvPr/>
        </p:nvSpPr>
        <p:spPr bwMode="auto">
          <a:xfrm>
            <a:off x="4618544" y="1436758"/>
            <a:ext cx="1477453" cy="1233124"/>
          </a:xfrm>
          <a:prstGeom prst="rect">
            <a:avLst/>
          </a:prstGeom>
          <a:solidFill>
            <a:srgbClr val="40A7E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4" name="Rectangle 22"/>
          <p:cNvSpPr>
            <a:spLocks noChangeArrowheads="1"/>
          </p:cNvSpPr>
          <p:nvPr/>
        </p:nvSpPr>
        <p:spPr bwMode="auto">
          <a:xfrm>
            <a:off x="3141092" y="1436758"/>
            <a:ext cx="1477453" cy="1233124"/>
          </a:xfrm>
          <a:prstGeom prst="rect">
            <a:avLst/>
          </a:prstGeom>
          <a:solidFill>
            <a:srgbClr val="43D1A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6" name="Rectangle 24"/>
          <p:cNvSpPr>
            <a:spLocks noChangeArrowheads="1"/>
          </p:cNvSpPr>
          <p:nvPr/>
        </p:nvSpPr>
        <p:spPr bwMode="auto">
          <a:xfrm>
            <a:off x="1663636" y="203634"/>
            <a:ext cx="1477453" cy="1233124"/>
          </a:xfrm>
          <a:prstGeom prst="rect">
            <a:avLst/>
          </a:prstGeom>
          <a:solidFill>
            <a:srgbClr val="F5B14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7" name="Rectangle 25"/>
          <p:cNvSpPr>
            <a:spLocks noChangeArrowheads="1"/>
          </p:cNvSpPr>
          <p:nvPr/>
        </p:nvSpPr>
        <p:spPr bwMode="auto">
          <a:xfrm>
            <a:off x="1663636" y="1436758"/>
            <a:ext cx="1477453" cy="1233124"/>
          </a:xfrm>
          <a:prstGeom prst="rect">
            <a:avLst/>
          </a:prstGeom>
          <a:solidFill>
            <a:srgbClr val="4383D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1" name="Rectangle 29"/>
          <p:cNvSpPr>
            <a:spLocks noChangeArrowheads="1"/>
          </p:cNvSpPr>
          <p:nvPr/>
        </p:nvSpPr>
        <p:spPr bwMode="auto">
          <a:xfrm>
            <a:off x="186184" y="1436758"/>
            <a:ext cx="1477453" cy="1233124"/>
          </a:xfrm>
          <a:prstGeom prst="rect">
            <a:avLst/>
          </a:prstGeom>
          <a:solidFill>
            <a:srgbClr val="9ED44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4" name="Freeform 32"/>
          <p:cNvSpPr>
            <a:spLocks noEditPoints="1"/>
          </p:cNvSpPr>
          <p:nvPr/>
        </p:nvSpPr>
        <p:spPr bwMode="auto">
          <a:xfrm>
            <a:off x="8017892" y="1855717"/>
            <a:ext cx="591581" cy="444227"/>
          </a:xfrm>
          <a:custGeom>
            <a:avLst/>
            <a:gdLst>
              <a:gd name="T0" fmla="*/ 787 w 859"/>
              <a:gd name="T1" fmla="*/ 107 h 644"/>
              <a:gd name="T2" fmla="*/ 787 w 859"/>
              <a:gd name="T3" fmla="*/ 573 h 644"/>
              <a:gd name="T4" fmla="*/ 537 w 859"/>
              <a:gd name="T5" fmla="*/ 573 h 644"/>
              <a:gd name="T6" fmla="*/ 465 w 859"/>
              <a:gd name="T7" fmla="*/ 644 h 644"/>
              <a:gd name="T8" fmla="*/ 859 w 859"/>
              <a:gd name="T9" fmla="*/ 644 h 644"/>
              <a:gd name="T10" fmla="*/ 859 w 859"/>
              <a:gd name="T11" fmla="*/ 107 h 644"/>
              <a:gd name="T12" fmla="*/ 787 w 859"/>
              <a:gd name="T13" fmla="*/ 107 h 644"/>
              <a:gd name="T14" fmla="*/ 476 w 859"/>
              <a:gd name="T15" fmla="*/ 476 h 644"/>
              <a:gd name="T16" fmla="*/ 383 w 859"/>
              <a:gd name="T17" fmla="*/ 476 h 644"/>
              <a:gd name="T18" fmla="*/ 373 w 859"/>
              <a:gd name="T19" fmla="*/ 465 h 644"/>
              <a:gd name="T20" fmla="*/ 179 w 859"/>
              <a:gd name="T21" fmla="*/ 465 h 644"/>
              <a:gd name="T22" fmla="*/ 179 w 859"/>
              <a:gd name="T23" fmla="*/ 71 h 644"/>
              <a:gd name="T24" fmla="*/ 344 w 859"/>
              <a:gd name="T25" fmla="*/ 71 h 644"/>
              <a:gd name="T26" fmla="*/ 393 w 859"/>
              <a:gd name="T27" fmla="*/ 96 h 644"/>
              <a:gd name="T28" fmla="*/ 393 w 859"/>
              <a:gd name="T29" fmla="*/ 358 h 644"/>
              <a:gd name="T30" fmla="*/ 465 w 859"/>
              <a:gd name="T31" fmla="*/ 358 h 644"/>
              <a:gd name="T32" fmla="*/ 465 w 859"/>
              <a:gd name="T33" fmla="*/ 96 h 644"/>
              <a:gd name="T34" fmla="*/ 515 w 859"/>
              <a:gd name="T35" fmla="*/ 71 h 644"/>
              <a:gd name="T36" fmla="*/ 680 w 859"/>
              <a:gd name="T37" fmla="*/ 71 h 644"/>
              <a:gd name="T38" fmla="*/ 680 w 859"/>
              <a:gd name="T39" fmla="*/ 465 h 644"/>
              <a:gd name="T40" fmla="*/ 486 w 859"/>
              <a:gd name="T41" fmla="*/ 465 h 644"/>
              <a:gd name="T42" fmla="*/ 476 w 859"/>
              <a:gd name="T43" fmla="*/ 476 h 644"/>
              <a:gd name="T44" fmla="*/ 752 w 859"/>
              <a:gd name="T45" fmla="*/ 537 h 644"/>
              <a:gd name="T46" fmla="*/ 752 w 859"/>
              <a:gd name="T47" fmla="*/ 0 h 644"/>
              <a:gd name="T48" fmla="*/ 486 w 859"/>
              <a:gd name="T49" fmla="*/ 0 h 644"/>
              <a:gd name="T50" fmla="*/ 476 w 859"/>
              <a:gd name="T51" fmla="*/ 10 h 644"/>
              <a:gd name="T52" fmla="*/ 383 w 859"/>
              <a:gd name="T53" fmla="*/ 10 h 644"/>
              <a:gd name="T54" fmla="*/ 373 w 859"/>
              <a:gd name="T55" fmla="*/ 0 h 644"/>
              <a:gd name="T56" fmla="*/ 107 w 859"/>
              <a:gd name="T57" fmla="*/ 0 h 644"/>
              <a:gd name="T58" fmla="*/ 107 w 859"/>
              <a:gd name="T59" fmla="*/ 537 h 644"/>
              <a:gd name="T60" fmla="*/ 344 w 859"/>
              <a:gd name="T61" fmla="*/ 537 h 644"/>
              <a:gd name="T62" fmla="*/ 429 w 859"/>
              <a:gd name="T63" fmla="*/ 566 h 644"/>
              <a:gd name="T64" fmla="*/ 515 w 859"/>
              <a:gd name="T65" fmla="*/ 537 h 644"/>
              <a:gd name="T66" fmla="*/ 752 w 859"/>
              <a:gd name="T67" fmla="*/ 537 h 644"/>
              <a:gd name="T68" fmla="*/ 71 w 859"/>
              <a:gd name="T69" fmla="*/ 573 h 644"/>
              <a:gd name="T70" fmla="*/ 71 w 859"/>
              <a:gd name="T71" fmla="*/ 107 h 644"/>
              <a:gd name="T72" fmla="*/ 0 w 859"/>
              <a:gd name="T73" fmla="*/ 107 h 644"/>
              <a:gd name="T74" fmla="*/ 0 w 859"/>
              <a:gd name="T75" fmla="*/ 644 h 644"/>
              <a:gd name="T76" fmla="*/ 394 w 859"/>
              <a:gd name="T77" fmla="*/ 644 h 644"/>
              <a:gd name="T78" fmla="*/ 322 w 859"/>
              <a:gd name="T79" fmla="*/ 573 h 644"/>
              <a:gd name="T80" fmla="*/ 71 w 859"/>
              <a:gd name="T81" fmla="*/ 573 h 6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859" h="644">
                <a:moveTo>
                  <a:pt x="787" y="107"/>
                </a:moveTo>
                <a:lnTo>
                  <a:pt x="787" y="573"/>
                </a:lnTo>
                <a:lnTo>
                  <a:pt x="537" y="573"/>
                </a:lnTo>
                <a:lnTo>
                  <a:pt x="465" y="644"/>
                </a:lnTo>
                <a:lnTo>
                  <a:pt x="859" y="644"/>
                </a:lnTo>
                <a:lnTo>
                  <a:pt x="859" y="107"/>
                </a:lnTo>
                <a:lnTo>
                  <a:pt x="787" y="107"/>
                </a:lnTo>
                <a:close/>
                <a:moveTo>
                  <a:pt x="476" y="476"/>
                </a:moveTo>
                <a:cubicBezTo>
                  <a:pt x="450" y="501"/>
                  <a:pt x="409" y="501"/>
                  <a:pt x="383" y="476"/>
                </a:cubicBezTo>
                <a:lnTo>
                  <a:pt x="373" y="465"/>
                </a:lnTo>
                <a:lnTo>
                  <a:pt x="179" y="465"/>
                </a:lnTo>
                <a:lnTo>
                  <a:pt x="179" y="71"/>
                </a:lnTo>
                <a:lnTo>
                  <a:pt x="344" y="71"/>
                </a:lnTo>
                <a:cubicBezTo>
                  <a:pt x="359" y="71"/>
                  <a:pt x="393" y="91"/>
                  <a:pt x="393" y="96"/>
                </a:cubicBezTo>
                <a:lnTo>
                  <a:pt x="393" y="358"/>
                </a:lnTo>
                <a:lnTo>
                  <a:pt x="465" y="358"/>
                </a:lnTo>
                <a:lnTo>
                  <a:pt x="465" y="96"/>
                </a:lnTo>
                <a:cubicBezTo>
                  <a:pt x="465" y="91"/>
                  <a:pt x="500" y="71"/>
                  <a:pt x="515" y="71"/>
                </a:cubicBezTo>
                <a:lnTo>
                  <a:pt x="680" y="71"/>
                </a:lnTo>
                <a:lnTo>
                  <a:pt x="680" y="465"/>
                </a:lnTo>
                <a:lnTo>
                  <a:pt x="486" y="465"/>
                </a:lnTo>
                <a:lnTo>
                  <a:pt x="476" y="476"/>
                </a:lnTo>
                <a:close/>
                <a:moveTo>
                  <a:pt x="752" y="537"/>
                </a:moveTo>
                <a:lnTo>
                  <a:pt x="752" y="0"/>
                </a:lnTo>
                <a:lnTo>
                  <a:pt x="486" y="0"/>
                </a:lnTo>
                <a:lnTo>
                  <a:pt x="476" y="10"/>
                </a:lnTo>
                <a:cubicBezTo>
                  <a:pt x="450" y="36"/>
                  <a:pt x="409" y="36"/>
                  <a:pt x="383" y="10"/>
                </a:cubicBezTo>
                <a:lnTo>
                  <a:pt x="373" y="0"/>
                </a:lnTo>
                <a:lnTo>
                  <a:pt x="107" y="0"/>
                </a:lnTo>
                <a:lnTo>
                  <a:pt x="107" y="537"/>
                </a:lnTo>
                <a:lnTo>
                  <a:pt x="344" y="537"/>
                </a:lnTo>
                <a:cubicBezTo>
                  <a:pt x="369" y="573"/>
                  <a:pt x="399" y="566"/>
                  <a:pt x="429" y="566"/>
                </a:cubicBezTo>
                <a:cubicBezTo>
                  <a:pt x="460" y="566"/>
                  <a:pt x="490" y="573"/>
                  <a:pt x="515" y="537"/>
                </a:cubicBezTo>
                <a:lnTo>
                  <a:pt x="752" y="537"/>
                </a:lnTo>
                <a:close/>
                <a:moveTo>
                  <a:pt x="71" y="573"/>
                </a:moveTo>
                <a:lnTo>
                  <a:pt x="71" y="107"/>
                </a:lnTo>
                <a:lnTo>
                  <a:pt x="0" y="107"/>
                </a:lnTo>
                <a:lnTo>
                  <a:pt x="0" y="644"/>
                </a:lnTo>
                <a:lnTo>
                  <a:pt x="394" y="644"/>
                </a:lnTo>
                <a:lnTo>
                  <a:pt x="322" y="573"/>
                </a:lnTo>
                <a:lnTo>
                  <a:pt x="71" y="573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5" name="Freeform 33"/>
          <p:cNvSpPr>
            <a:spLocks noEditPoints="1"/>
          </p:cNvSpPr>
          <p:nvPr/>
        </p:nvSpPr>
        <p:spPr bwMode="auto">
          <a:xfrm>
            <a:off x="8017892" y="610324"/>
            <a:ext cx="591581" cy="543275"/>
          </a:xfrm>
          <a:custGeom>
            <a:avLst/>
            <a:gdLst>
              <a:gd name="T0" fmla="*/ 143 w 859"/>
              <a:gd name="T1" fmla="*/ 645 h 788"/>
              <a:gd name="T2" fmla="*/ 143 w 859"/>
              <a:gd name="T3" fmla="*/ 430 h 788"/>
              <a:gd name="T4" fmla="*/ 716 w 859"/>
              <a:gd name="T5" fmla="*/ 430 h 788"/>
              <a:gd name="T6" fmla="*/ 716 w 859"/>
              <a:gd name="T7" fmla="*/ 645 h 788"/>
              <a:gd name="T8" fmla="*/ 143 w 859"/>
              <a:gd name="T9" fmla="*/ 645 h 788"/>
              <a:gd name="T10" fmla="*/ 179 w 859"/>
              <a:gd name="T11" fmla="*/ 72 h 788"/>
              <a:gd name="T12" fmla="*/ 680 w 859"/>
              <a:gd name="T13" fmla="*/ 72 h 788"/>
              <a:gd name="T14" fmla="*/ 716 w 859"/>
              <a:gd name="T15" fmla="*/ 108 h 788"/>
              <a:gd name="T16" fmla="*/ 716 w 859"/>
              <a:gd name="T17" fmla="*/ 358 h 788"/>
              <a:gd name="T18" fmla="*/ 465 w 859"/>
              <a:gd name="T19" fmla="*/ 358 h 788"/>
              <a:gd name="T20" fmla="*/ 465 w 859"/>
              <a:gd name="T21" fmla="*/ 108 h 788"/>
              <a:gd name="T22" fmla="*/ 393 w 859"/>
              <a:gd name="T23" fmla="*/ 108 h 788"/>
              <a:gd name="T24" fmla="*/ 393 w 859"/>
              <a:gd name="T25" fmla="*/ 358 h 788"/>
              <a:gd name="T26" fmla="*/ 143 w 859"/>
              <a:gd name="T27" fmla="*/ 358 h 788"/>
              <a:gd name="T28" fmla="*/ 143 w 859"/>
              <a:gd name="T29" fmla="*/ 108 h 788"/>
              <a:gd name="T30" fmla="*/ 179 w 859"/>
              <a:gd name="T31" fmla="*/ 72 h 788"/>
              <a:gd name="T32" fmla="*/ 787 w 859"/>
              <a:gd name="T33" fmla="*/ 179 h 788"/>
              <a:gd name="T34" fmla="*/ 787 w 859"/>
              <a:gd name="T35" fmla="*/ 108 h 788"/>
              <a:gd name="T36" fmla="*/ 680 w 859"/>
              <a:gd name="T37" fmla="*/ 0 h 788"/>
              <a:gd name="T38" fmla="*/ 179 w 859"/>
              <a:gd name="T39" fmla="*/ 0 h 788"/>
              <a:gd name="T40" fmla="*/ 71 w 859"/>
              <a:gd name="T41" fmla="*/ 108 h 788"/>
              <a:gd name="T42" fmla="*/ 71 w 859"/>
              <a:gd name="T43" fmla="*/ 179 h 788"/>
              <a:gd name="T44" fmla="*/ 0 w 859"/>
              <a:gd name="T45" fmla="*/ 179 h 788"/>
              <a:gd name="T46" fmla="*/ 0 w 859"/>
              <a:gd name="T47" fmla="*/ 358 h 788"/>
              <a:gd name="T48" fmla="*/ 71 w 859"/>
              <a:gd name="T49" fmla="*/ 358 h 788"/>
              <a:gd name="T50" fmla="*/ 71 w 859"/>
              <a:gd name="T51" fmla="*/ 716 h 788"/>
              <a:gd name="T52" fmla="*/ 143 w 859"/>
              <a:gd name="T53" fmla="*/ 716 h 788"/>
              <a:gd name="T54" fmla="*/ 143 w 859"/>
              <a:gd name="T55" fmla="*/ 788 h 788"/>
              <a:gd name="T56" fmla="*/ 214 w 859"/>
              <a:gd name="T57" fmla="*/ 788 h 788"/>
              <a:gd name="T58" fmla="*/ 214 w 859"/>
              <a:gd name="T59" fmla="*/ 716 h 788"/>
              <a:gd name="T60" fmla="*/ 644 w 859"/>
              <a:gd name="T61" fmla="*/ 716 h 788"/>
              <a:gd name="T62" fmla="*/ 644 w 859"/>
              <a:gd name="T63" fmla="*/ 788 h 788"/>
              <a:gd name="T64" fmla="*/ 716 w 859"/>
              <a:gd name="T65" fmla="*/ 788 h 788"/>
              <a:gd name="T66" fmla="*/ 716 w 859"/>
              <a:gd name="T67" fmla="*/ 716 h 788"/>
              <a:gd name="T68" fmla="*/ 787 w 859"/>
              <a:gd name="T69" fmla="*/ 716 h 788"/>
              <a:gd name="T70" fmla="*/ 787 w 859"/>
              <a:gd name="T71" fmla="*/ 358 h 788"/>
              <a:gd name="T72" fmla="*/ 859 w 859"/>
              <a:gd name="T73" fmla="*/ 358 h 788"/>
              <a:gd name="T74" fmla="*/ 859 w 859"/>
              <a:gd name="T75" fmla="*/ 179 h 788"/>
              <a:gd name="T76" fmla="*/ 787 w 859"/>
              <a:gd name="T77" fmla="*/ 179 h 7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859" h="788">
                <a:moveTo>
                  <a:pt x="143" y="645"/>
                </a:moveTo>
                <a:lnTo>
                  <a:pt x="143" y="430"/>
                </a:lnTo>
                <a:lnTo>
                  <a:pt x="716" y="430"/>
                </a:lnTo>
                <a:lnTo>
                  <a:pt x="716" y="645"/>
                </a:lnTo>
                <a:lnTo>
                  <a:pt x="143" y="645"/>
                </a:lnTo>
                <a:close/>
                <a:moveTo>
                  <a:pt x="179" y="72"/>
                </a:moveTo>
                <a:lnTo>
                  <a:pt x="680" y="72"/>
                </a:lnTo>
                <a:cubicBezTo>
                  <a:pt x="700" y="72"/>
                  <a:pt x="716" y="88"/>
                  <a:pt x="716" y="108"/>
                </a:cubicBezTo>
                <a:lnTo>
                  <a:pt x="716" y="358"/>
                </a:lnTo>
                <a:lnTo>
                  <a:pt x="465" y="358"/>
                </a:lnTo>
                <a:lnTo>
                  <a:pt x="465" y="108"/>
                </a:lnTo>
                <a:lnTo>
                  <a:pt x="393" y="108"/>
                </a:lnTo>
                <a:lnTo>
                  <a:pt x="393" y="358"/>
                </a:lnTo>
                <a:lnTo>
                  <a:pt x="143" y="358"/>
                </a:lnTo>
                <a:lnTo>
                  <a:pt x="143" y="108"/>
                </a:lnTo>
                <a:cubicBezTo>
                  <a:pt x="143" y="88"/>
                  <a:pt x="159" y="72"/>
                  <a:pt x="179" y="72"/>
                </a:cubicBezTo>
                <a:close/>
                <a:moveTo>
                  <a:pt x="787" y="179"/>
                </a:moveTo>
                <a:lnTo>
                  <a:pt x="787" y="108"/>
                </a:lnTo>
                <a:cubicBezTo>
                  <a:pt x="787" y="48"/>
                  <a:pt x="739" y="0"/>
                  <a:pt x="680" y="0"/>
                </a:cubicBezTo>
                <a:lnTo>
                  <a:pt x="179" y="0"/>
                </a:lnTo>
                <a:cubicBezTo>
                  <a:pt x="120" y="0"/>
                  <a:pt x="71" y="48"/>
                  <a:pt x="71" y="108"/>
                </a:cubicBezTo>
                <a:lnTo>
                  <a:pt x="71" y="179"/>
                </a:lnTo>
                <a:lnTo>
                  <a:pt x="0" y="179"/>
                </a:lnTo>
                <a:lnTo>
                  <a:pt x="0" y="358"/>
                </a:lnTo>
                <a:lnTo>
                  <a:pt x="71" y="358"/>
                </a:lnTo>
                <a:lnTo>
                  <a:pt x="71" y="716"/>
                </a:lnTo>
                <a:lnTo>
                  <a:pt x="143" y="716"/>
                </a:lnTo>
                <a:lnTo>
                  <a:pt x="143" y="788"/>
                </a:lnTo>
                <a:lnTo>
                  <a:pt x="214" y="788"/>
                </a:lnTo>
                <a:lnTo>
                  <a:pt x="214" y="716"/>
                </a:lnTo>
                <a:lnTo>
                  <a:pt x="644" y="716"/>
                </a:lnTo>
                <a:lnTo>
                  <a:pt x="644" y="788"/>
                </a:lnTo>
                <a:lnTo>
                  <a:pt x="716" y="788"/>
                </a:lnTo>
                <a:lnTo>
                  <a:pt x="716" y="716"/>
                </a:lnTo>
                <a:lnTo>
                  <a:pt x="787" y="716"/>
                </a:lnTo>
                <a:lnTo>
                  <a:pt x="787" y="358"/>
                </a:lnTo>
                <a:lnTo>
                  <a:pt x="859" y="358"/>
                </a:lnTo>
                <a:lnTo>
                  <a:pt x="859" y="179"/>
                </a:lnTo>
                <a:lnTo>
                  <a:pt x="787" y="179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6" name="Rectangle 34"/>
          <p:cNvSpPr>
            <a:spLocks noChangeArrowheads="1"/>
          </p:cNvSpPr>
          <p:nvPr/>
        </p:nvSpPr>
        <p:spPr bwMode="auto">
          <a:xfrm>
            <a:off x="8141012" y="961577"/>
            <a:ext cx="123120" cy="5102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7" name="Rectangle 35"/>
          <p:cNvSpPr>
            <a:spLocks noChangeArrowheads="1"/>
          </p:cNvSpPr>
          <p:nvPr/>
        </p:nvSpPr>
        <p:spPr bwMode="auto">
          <a:xfrm>
            <a:off x="8363231" y="961577"/>
            <a:ext cx="123120" cy="5102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8" name="Rectangle 36"/>
          <p:cNvSpPr>
            <a:spLocks noChangeArrowheads="1"/>
          </p:cNvSpPr>
          <p:nvPr/>
        </p:nvSpPr>
        <p:spPr bwMode="auto">
          <a:xfrm>
            <a:off x="2279241" y="647861"/>
            <a:ext cx="246243" cy="4802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9" name="Freeform 37"/>
          <p:cNvSpPr>
            <a:spLocks noEditPoints="1"/>
          </p:cNvSpPr>
          <p:nvPr/>
        </p:nvSpPr>
        <p:spPr bwMode="auto">
          <a:xfrm>
            <a:off x="2177144" y="560565"/>
            <a:ext cx="447441" cy="519263"/>
          </a:xfrm>
          <a:custGeom>
            <a:avLst/>
            <a:gdLst>
              <a:gd name="T0" fmla="*/ 212 w 651"/>
              <a:gd name="T1" fmla="*/ 446 h 752"/>
              <a:gd name="T2" fmla="*/ 281 w 651"/>
              <a:gd name="T3" fmla="*/ 680 h 752"/>
              <a:gd name="T4" fmla="*/ 290 w 651"/>
              <a:gd name="T5" fmla="*/ 680 h 752"/>
              <a:gd name="T6" fmla="*/ 290 w 651"/>
              <a:gd name="T7" fmla="*/ 348 h 752"/>
              <a:gd name="T8" fmla="*/ 254 w 651"/>
              <a:gd name="T9" fmla="*/ 286 h 752"/>
              <a:gd name="T10" fmla="*/ 326 w 651"/>
              <a:gd name="T11" fmla="*/ 215 h 752"/>
              <a:gd name="T12" fmla="*/ 397 w 651"/>
              <a:gd name="T13" fmla="*/ 286 h 752"/>
              <a:gd name="T14" fmla="*/ 362 w 651"/>
              <a:gd name="T15" fmla="*/ 348 h 752"/>
              <a:gd name="T16" fmla="*/ 362 w 651"/>
              <a:gd name="T17" fmla="*/ 680 h 752"/>
              <a:gd name="T18" fmla="*/ 370 w 651"/>
              <a:gd name="T19" fmla="*/ 680 h 752"/>
              <a:gd name="T20" fmla="*/ 435 w 651"/>
              <a:gd name="T21" fmla="*/ 456 h 752"/>
              <a:gd name="T22" fmla="*/ 573 w 651"/>
              <a:gd name="T23" fmla="*/ 245 h 752"/>
              <a:gd name="T24" fmla="*/ 326 w 651"/>
              <a:gd name="T25" fmla="*/ 72 h 752"/>
              <a:gd name="T26" fmla="*/ 79 w 651"/>
              <a:gd name="T27" fmla="*/ 245 h 752"/>
              <a:gd name="T28" fmla="*/ 212 w 651"/>
              <a:gd name="T29" fmla="*/ 446 h 752"/>
              <a:gd name="T30" fmla="*/ 5 w 651"/>
              <a:gd name="T31" fmla="*/ 241 h 752"/>
              <a:gd name="T32" fmla="*/ 326 w 651"/>
              <a:gd name="T33" fmla="*/ 0 h 752"/>
              <a:gd name="T34" fmla="*/ 647 w 651"/>
              <a:gd name="T35" fmla="*/ 241 h 752"/>
              <a:gd name="T36" fmla="*/ 651 w 651"/>
              <a:gd name="T37" fmla="*/ 257 h 752"/>
              <a:gd name="T38" fmla="*/ 502 w 651"/>
              <a:gd name="T39" fmla="*/ 481 h 752"/>
              <a:gd name="T40" fmla="*/ 424 w 651"/>
              <a:gd name="T41" fmla="*/ 752 h 752"/>
              <a:gd name="T42" fmla="*/ 227 w 651"/>
              <a:gd name="T43" fmla="*/ 752 h 752"/>
              <a:gd name="T44" fmla="*/ 150 w 651"/>
              <a:gd name="T45" fmla="*/ 481 h 752"/>
              <a:gd name="T46" fmla="*/ 0 w 651"/>
              <a:gd name="T47" fmla="*/ 257 h 752"/>
              <a:gd name="T48" fmla="*/ 5 w 651"/>
              <a:gd name="T49" fmla="*/ 24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651" h="752">
                <a:moveTo>
                  <a:pt x="212" y="446"/>
                </a:moveTo>
                <a:lnTo>
                  <a:pt x="281" y="680"/>
                </a:lnTo>
                <a:lnTo>
                  <a:pt x="290" y="680"/>
                </a:lnTo>
                <a:lnTo>
                  <a:pt x="290" y="348"/>
                </a:lnTo>
                <a:cubicBezTo>
                  <a:pt x="254" y="336"/>
                  <a:pt x="254" y="313"/>
                  <a:pt x="254" y="286"/>
                </a:cubicBezTo>
                <a:cubicBezTo>
                  <a:pt x="254" y="247"/>
                  <a:pt x="286" y="215"/>
                  <a:pt x="326" y="215"/>
                </a:cubicBezTo>
                <a:cubicBezTo>
                  <a:pt x="365" y="215"/>
                  <a:pt x="397" y="247"/>
                  <a:pt x="397" y="286"/>
                </a:cubicBezTo>
                <a:cubicBezTo>
                  <a:pt x="397" y="313"/>
                  <a:pt x="398" y="336"/>
                  <a:pt x="362" y="348"/>
                </a:cubicBezTo>
                <a:lnTo>
                  <a:pt x="362" y="680"/>
                </a:lnTo>
                <a:lnTo>
                  <a:pt x="370" y="680"/>
                </a:lnTo>
                <a:lnTo>
                  <a:pt x="435" y="456"/>
                </a:lnTo>
                <a:lnTo>
                  <a:pt x="573" y="245"/>
                </a:lnTo>
                <a:cubicBezTo>
                  <a:pt x="536" y="142"/>
                  <a:pt x="436" y="72"/>
                  <a:pt x="326" y="72"/>
                </a:cubicBezTo>
                <a:cubicBezTo>
                  <a:pt x="215" y="72"/>
                  <a:pt x="116" y="142"/>
                  <a:pt x="79" y="245"/>
                </a:cubicBezTo>
                <a:lnTo>
                  <a:pt x="212" y="446"/>
                </a:lnTo>
                <a:close/>
                <a:moveTo>
                  <a:pt x="5" y="241"/>
                </a:moveTo>
                <a:cubicBezTo>
                  <a:pt x="46" y="99"/>
                  <a:pt x="178" y="0"/>
                  <a:pt x="326" y="0"/>
                </a:cubicBezTo>
                <a:cubicBezTo>
                  <a:pt x="473" y="0"/>
                  <a:pt x="605" y="99"/>
                  <a:pt x="647" y="241"/>
                </a:cubicBezTo>
                <a:lnTo>
                  <a:pt x="651" y="257"/>
                </a:lnTo>
                <a:lnTo>
                  <a:pt x="502" y="481"/>
                </a:lnTo>
                <a:lnTo>
                  <a:pt x="424" y="752"/>
                </a:lnTo>
                <a:lnTo>
                  <a:pt x="227" y="752"/>
                </a:lnTo>
                <a:lnTo>
                  <a:pt x="150" y="481"/>
                </a:lnTo>
                <a:lnTo>
                  <a:pt x="0" y="257"/>
                </a:lnTo>
                <a:lnTo>
                  <a:pt x="5" y="24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0" name="Freeform 38"/>
          <p:cNvSpPr>
            <a:spLocks noEditPoints="1"/>
          </p:cNvSpPr>
          <p:nvPr/>
        </p:nvSpPr>
        <p:spPr bwMode="auto">
          <a:xfrm>
            <a:off x="11074902" y="1789685"/>
            <a:ext cx="384377" cy="576291"/>
          </a:xfrm>
          <a:custGeom>
            <a:avLst/>
            <a:gdLst>
              <a:gd name="T0" fmla="*/ 315 w 559"/>
              <a:gd name="T1" fmla="*/ 314 h 838"/>
              <a:gd name="T2" fmla="*/ 384 w 559"/>
              <a:gd name="T3" fmla="*/ 314 h 838"/>
              <a:gd name="T4" fmla="*/ 384 w 559"/>
              <a:gd name="T5" fmla="*/ 244 h 838"/>
              <a:gd name="T6" fmla="*/ 315 w 559"/>
              <a:gd name="T7" fmla="*/ 244 h 838"/>
              <a:gd name="T8" fmla="*/ 315 w 559"/>
              <a:gd name="T9" fmla="*/ 314 h 838"/>
              <a:gd name="T10" fmla="*/ 175 w 559"/>
              <a:gd name="T11" fmla="*/ 314 h 838"/>
              <a:gd name="T12" fmla="*/ 245 w 559"/>
              <a:gd name="T13" fmla="*/ 314 h 838"/>
              <a:gd name="T14" fmla="*/ 245 w 559"/>
              <a:gd name="T15" fmla="*/ 244 h 838"/>
              <a:gd name="T16" fmla="*/ 175 w 559"/>
              <a:gd name="T17" fmla="*/ 244 h 838"/>
              <a:gd name="T18" fmla="*/ 175 w 559"/>
              <a:gd name="T19" fmla="*/ 314 h 838"/>
              <a:gd name="T20" fmla="*/ 175 w 559"/>
              <a:gd name="T21" fmla="*/ 524 h 838"/>
              <a:gd name="T22" fmla="*/ 105 w 559"/>
              <a:gd name="T23" fmla="*/ 524 h 838"/>
              <a:gd name="T24" fmla="*/ 314 w 559"/>
              <a:gd name="T25" fmla="*/ 733 h 838"/>
              <a:gd name="T26" fmla="*/ 314 w 559"/>
              <a:gd name="T27" fmla="*/ 663 h 838"/>
              <a:gd name="T28" fmla="*/ 175 w 559"/>
              <a:gd name="T29" fmla="*/ 524 h 838"/>
              <a:gd name="T30" fmla="*/ 349 w 559"/>
              <a:gd name="T31" fmla="*/ 349 h 838"/>
              <a:gd name="T32" fmla="*/ 210 w 559"/>
              <a:gd name="T33" fmla="*/ 349 h 838"/>
              <a:gd name="T34" fmla="*/ 140 w 559"/>
              <a:gd name="T35" fmla="*/ 279 h 838"/>
              <a:gd name="T36" fmla="*/ 210 w 559"/>
              <a:gd name="T37" fmla="*/ 209 h 838"/>
              <a:gd name="T38" fmla="*/ 256 w 559"/>
              <a:gd name="T39" fmla="*/ 228 h 838"/>
              <a:gd name="T40" fmla="*/ 280 w 559"/>
              <a:gd name="T41" fmla="*/ 249 h 838"/>
              <a:gd name="T42" fmla="*/ 303 w 559"/>
              <a:gd name="T43" fmla="*/ 228 h 838"/>
              <a:gd name="T44" fmla="*/ 349 w 559"/>
              <a:gd name="T45" fmla="*/ 209 h 838"/>
              <a:gd name="T46" fmla="*/ 419 w 559"/>
              <a:gd name="T47" fmla="*/ 279 h 838"/>
              <a:gd name="T48" fmla="*/ 349 w 559"/>
              <a:gd name="T49" fmla="*/ 349 h 838"/>
              <a:gd name="T50" fmla="*/ 349 w 559"/>
              <a:gd name="T51" fmla="*/ 140 h 838"/>
              <a:gd name="T52" fmla="*/ 280 w 559"/>
              <a:gd name="T53" fmla="*/ 159 h 838"/>
              <a:gd name="T54" fmla="*/ 210 w 559"/>
              <a:gd name="T55" fmla="*/ 140 h 838"/>
              <a:gd name="T56" fmla="*/ 70 w 559"/>
              <a:gd name="T57" fmla="*/ 279 h 838"/>
              <a:gd name="T58" fmla="*/ 210 w 559"/>
              <a:gd name="T59" fmla="*/ 419 h 838"/>
              <a:gd name="T60" fmla="*/ 245 w 559"/>
              <a:gd name="T61" fmla="*/ 419 h 838"/>
              <a:gd name="T62" fmla="*/ 245 w 559"/>
              <a:gd name="T63" fmla="*/ 454 h 838"/>
              <a:gd name="T64" fmla="*/ 314 w 559"/>
              <a:gd name="T65" fmla="*/ 454 h 838"/>
              <a:gd name="T66" fmla="*/ 314 w 559"/>
              <a:gd name="T67" fmla="*/ 419 h 838"/>
              <a:gd name="T68" fmla="*/ 349 w 559"/>
              <a:gd name="T69" fmla="*/ 419 h 838"/>
              <a:gd name="T70" fmla="*/ 489 w 559"/>
              <a:gd name="T71" fmla="*/ 279 h 838"/>
              <a:gd name="T72" fmla="*/ 349 w 559"/>
              <a:gd name="T73" fmla="*/ 140 h 838"/>
              <a:gd name="T74" fmla="*/ 489 w 559"/>
              <a:gd name="T75" fmla="*/ 768 h 838"/>
              <a:gd name="T76" fmla="*/ 317 w 559"/>
              <a:gd name="T77" fmla="*/ 768 h 838"/>
              <a:gd name="T78" fmla="*/ 70 w 559"/>
              <a:gd name="T79" fmla="*/ 522 h 838"/>
              <a:gd name="T80" fmla="*/ 70 w 559"/>
              <a:gd name="T81" fmla="*/ 279 h 838"/>
              <a:gd name="T82" fmla="*/ 279 w 559"/>
              <a:gd name="T83" fmla="*/ 70 h 838"/>
              <a:gd name="T84" fmla="*/ 489 w 559"/>
              <a:gd name="T85" fmla="*/ 279 h 838"/>
              <a:gd name="T86" fmla="*/ 489 w 559"/>
              <a:gd name="T87" fmla="*/ 768 h 838"/>
              <a:gd name="T88" fmla="*/ 279 w 559"/>
              <a:gd name="T89" fmla="*/ 0 h 838"/>
              <a:gd name="T90" fmla="*/ 0 w 559"/>
              <a:gd name="T91" fmla="*/ 279 h 838"/>
              <a:gd name="T92" fmla="*/ 0 w 559"/>
              <a:gd name="T93" fmla="*/ 522 h 838"/>
              <a:gd name="T94" fmla="*/ 317 w 559"/>
              <a:gd name="T95" fmla="*/ 838 h 838"/>
              <a:gd name="T96" fmla="*/ 559 w 559"/>
              <a:gd name="T97" fmla="*/ 838 h 838"/>
              <a:gd name="T98" fmla="*/ 559 w 559"/>
              <a:gd name="T99" fmla="*/ 279 h 838"/>
              <a:gd name="T100" fmla="*/ 279 w 559"/>
              <a:gd name="T101" fmla="*/ 0 h 8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559" h="838">
                <a:moveTo>
                  <a:pt x="315" y="314"/>
                </a:moveTo>
                <a:lnTo>
                  <a:pt x="384" y="314"/>
                </a:lnTo>
                <a:lnTo>
                  <a:pt x="384" y="244"/>
                </a:lnTo>
                <a:lnTo>
                  <a:pt x="315" y="244"/>
                </a:lnTo>
                <a:lnTo>
                  <a:pt x="315" y="314"/>
                </a:lnTo>
                <a:close/>
                <a:moveTo>
                  <a:pt x="175" y="314"/>
                </a:moveTo>
                <a:lnTo>
                  <a:pt x="245" y="314"/>
                </a:lnTo>
                <a:lnTo>
                  <a:pt x="245" y="244"/>
                </a:lnTo>
                <a:lnTo>
                  <a:pt x="175" y="244"/>
                </a:lnTo>
                <a:lnTo>
                  <a:pt x="175" y="314"/>
                </a:lnTo>
                <a:close/>
                <a:moveTo>
                  <a:pt x="175" y="524"/>
                </a:moveTo>
                <a:lnTo>
                  <a:pt x="105" y="524"/>
                </a:lnTo>
                <a:cubicBezTo>
                  <a:pt x="105" y="628"/>
                  <a:pt x="210" y="733"/>
                  <a:pt x="314" y="733"/>
                </a:cubicBezTo>
                <a:lnTo>
                  <a:pt x="314" y="663"/>
                </a:lnTo>
                <a:cubicBezTo>
                  <a:pt x="245" y="663"/>
                  <a:pt x="175" y="594"/>
                  <a:pt x="175" y="524"/>
                </a:cubicBezTo>
                <a:close/>
                <a:moveTo>
                  <a:pt x="349" y="349"/>
                </a:moveTo>
                <a:lnTo>
                  <a:pt x="210" y="349"/>
                </a:lnTo>
                <a:cubicBezTo>
                  <a:pt x="171" y="349"/>
                  <a:pt x="140" y="318"/>
                  <a:pt x="140" y="279"/>
                </a:cubicBezTo>
                <a:cubicBezTo>
                  <a:pt x="140" y="241"/>
                  <a:pt x="171" y="209"/>
                  <a:pt x="210" y="209"/>
                </a:cubicBezTo>
                <a:cubicBezTo>
                  <a:pt x="227" y="209"/>
                  <a:pt x="243" y="216"/>
                  <a:pt x="256" y="228"/>
                </a:cubicBezTo>
                <a:lnTo>
                  <a:pt x="280" y="249"/>
                </a:lnTo>
                <a:lnTo>
                  <a:pt x="303" y="228"/>
                </a:lnTo>
                <a:cubicBezTo>
                  <a:pt x="316" y="216"/>
                  <a:pt x="332" y="209"/>
                  <a:pt x="349" y="209"/>
                </a:cubicBezTo>
                <a:cubicBezTo>
                  <a:pt x="388" y="209"/>
                  <a:pt x="419" y="241"/>
                  <a:pt x="419" y="279"/>
                </a:cubicBezTo>
                <a:cubicBezTo>
                  <a:pt x="419" y="318"/>
                  <a:pt x="388" y="349"/>
                  <a:pt x="349" y="349"/>
                </a:cubicBezTo>
                <a:close/>
                <a:moveTo>
                  <a:pt x="349" y="140"/>
                </a:moveTo>
                <a:cubicBezTo>
                  <a:pt x="325" y="140"/>
                  <a:pt x="301" y="146"/>
                  <a:pt x="280" y="159"/>
                </a:cubicBezTo>
                <a:cubicBezTo>
                  <a:pt x="258" y="146"/>
                  <a:pt x="234" y="140"/>
                  <a:pt x="210" y="140"/>
                </a:cubicBezTo>
                <a:cubicBezTo>
                  <a:pt x="133" y="140"/>
                  <a:pt x="70" y="202"/>
                  <a:pt x="70" y="279"/>
                </a:cubicBezTo>
                <a:cubicBezTo>
                  <a:pt x="70" y="356"/>
                  <a:pt x="133" y="419"/>
                  <a:pt x="210" y="419"/>
                </a:cubicBezTo>
                <a:lnTo>
                  <a:pt x="245" y="419"/>
                </a:lnTo>
                <a:lnTo>
                  <a:pt x="245" y="454"/>
                </a:lnTo>
                <a:lnTo>
                  <a:pt x="314" y="454"/>
                </a:lnTo>
                <a:lnTo>
                  <a:pt x="314" y="419"/>
                </a:lnTo>
                <a:lnTo>
                  <a:pt x="349" y="419"/>
                </a:lnTo>
                <a:cubicBezTo>
                  <a:pt x="426" y="419"/>
                  <a:pt x="489" y="356"/>
                  <a:pt x="489" y="279"/>
                </a:cubicBezTo>
                <a:cubicBezTo>
                  <a:pt x="489" y="202"/>
                  <a:pt x="426" y="140"/>
                  <a:pt x="349" y="140"/>
                </a:cubicBezTo>
                <a:close/>
                <a:moveTo>
                  <a:pt x="489" y="768"/>
                </a:moveTo>
                <a:lnTo>
                  <a:pt x="317" y="768"/>
                </a:lnTo>
                <a:cubicBezTo>
                  <a:pt x="181" y="768"/>
                  <a:pt x="70" y="658"/>
                  <a:pt x="70" y="522"/>
                </a:cubicBezTo>
                <a:lnTo>
                  <a:pt x="70" y="279"/>
                </a:lnTo>
                <a:cubicBezTo>
                  <a:pt x="70" y="164"/>
                  <a:pt x="164" y="70"/>
                  <a:pt x="279" y="70"/>
                </a:cubicBezTo>
                <a:cubicBezTo>
                  <a:pt x="395" y="70"/>
                  <a:pt x="489" y="164"/>
                  <a:pt x="489" y="279"/>
                </a:cubicBezTo>
                <a:lnTo>
                  <a:pt x="489" y="768"/>
                </a:lnTo>
                <a:close/>
                <a:moveTo>
                  <a:pt x="279" y="0"/>
                </a:moveTo>
                <a:cubicBezTo>
                  <a:pt x="125" y="0"/>
                  <a:pt x="0" y="125"/>
                  <a:pt x="0" y="279"/>
                </a:cubicBezTo>
                <a:lnTo>
                  <a:pt x="0" y="522"/>
                </a:lnTo>
                <a:cubicBezTo>
                  <a:pt x="0" y="696"/>
                  <a:pt x="142" y="838"/>
                  <a:pt x="317" y="838"/>
                </a:cubicBezTo>
                <a:lnTo>
                  <a:pt x="559" y="838"/>
                </a:lnTo>
                <a:lnTo>
                  <a:pt x="559" y="279"/>
                </a:lnTo>
                <a:cubicBezTo>
                  <a:pt x="559" y="125"/>
                  <a:pt x="433" y="0"/>
                  <a:pt x="279" y="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2" name="Freeform 40"/>
          <p:cNvSpPr>
            <a:spLocks noEditPoints="1"/>
          </p:cNvSpPr>
          <p:nvPr/>
        </p:nvSpPr>
        <p:spPr bwMode="auto">
          <a:xfrm>
            <a:off x="3585527" y="1831707"/>
            <a:ext cx="588580" cy="492248"/>
          </a:xfrm>
          <a:custGeom>
            <a:avLst/>
            <a:gdLst>
              <a:gd name="T0" fmla="*/ 716 w 859"/>
              <a:gd name="T1" fmla="*/ 0 h 716"/>
              <a:gd name="T2" fmla="*/ 143 w 859"/>
              <a:gd name="T3" fmla="*/ 0 h 716"/>
              <a:gd name="T4" fmla="*/ 0 w 859"/>
              <a:gd name="T5" fmla="*/ 143 h 716"/>
              <a:gd name="T6" fmla="*/ 143 w 859"/>
              <a:gd name="T7" fmla="*/ 286 h 716"/>
              <a:gd name="T8" fmla="*/ 286 w 859"/>
              <a:gd name="T9" fmla="*/ 143 h 716"/>
              <a:gd name="T10" fmla="*/ 215 w 859"/>
              <a:gd name="T11" fmla="*/ 143 h 716"/>
              <a:gd name="T12" fmla="*/ 143 w 859"/>
              <a:gd name="T13" fmla="*/ 215 h 716"/>
              <a:gd name="T14" fmla="*/ 72 w 859"/>
              <a:gd name="T15" fmla="*/ 143 h 716"/>
              <a:gd name="T16" fmla="*/ 143 w 859"/>
              <a:gd name="T17" fmla="*/ 72 h 716"/>
              <a:gd name="T18" fmla="*/ 716 w 859"/>
              <a:gd name="T19" fmla="*/ 72 h 716"/>
              <a:gd name="T20" fmla="*/ 788 w 859"/>
              <a:gd name="T21" fmla="*/ 143 h 716"/>
              <a:gd name="T22" fmla="*/ 716 w 859"/>
              <a:gd name="T23" fmla="*/ 215 h 716"/>
              <a:gd name="T24" fmla="*/ 645 w 859"/>
              <a:gd name="T25" fmla="*/ 143 h 716"/>
              <a:gd name="T26" fmla="*/ 573 w 859"/>
              <a:gd name="T27" fmla="*/ 143 h 716"/>
              <a:gd name="T28" fmla="*/ 716 w 859"/>
              <a:gd name="T29" fmla="*/ 286 h 716"/>
              <a:gd name="T30" fmla="*/ 859 w 859"/>
              <a:gd name="T31" fmla="*/ 143 h 716"/>
              <a:gd name="T32" fmla="*/ 716 w 859"/>
              <a:gd name="T33" fmla="*/ 0 h 716"/>
              <a:gd name="T34" fmla="*/ 394 w 859"/>
              <a:gd name="T35" fmla="*/ 143 h 716"/>
              <a:gd name="T36" fmla="*/ 394 w 859"/>
              <a:gd name="T37" fmla="*/ 573 h 716"/>
              <a:gd name="T38" fmla="*/ 465 w 859"/>
              <a:gd name="T39" fmla="*/ 573 h 716"/>
              <a:gd name="T40" fmla="*/ 465 w 859"/>
              <a:gd name="T41" fmla="*/ 143 h 716"/>
              <a:gd name="T42" fmla="*/ 394 w 859"/>
              <a:gd name="T43" fmla="*/ 143 h 716"/>
              <a:gd name="T44" fmla="*/ 537 w 859"/>
              <a:gd name="T45" fmla="*/ 262 h 716"/>
              <a:gd name="T46" fmla="*/ 537 w 859"/>
              <a:gd name="T47" fmla="*/ 573 h 716"/>
              <a:gd name="T48" fmla="*/ 609 w 859"/>
              <a:gd name="T49" fmla="*/ 573 h 716"/>
              <a:gd name="T50" fmla="*/ 609 w 859"/>
              <a:gd name="T51" fmla="*/ 329 h 716"/>
              <a:gd name="T52" fmla="*/ 537 w 859"/>
              <a:gd name="T53" fmla="*/ 262 h 716"/>
              <a:gd name="T54" fmla="*/ 250 w 859"/>
              <a:gd name="T55" fmla="*/ 329 h 716"/>
              <a:gd name="T56" fmla="*/ 250 w 859"/>
              <a:gd name="T57" fmla="*/ 573 h 716"/>
              <a:gd name="T58" fmla="*/ 322 w 859"/>
              <a:gd name="T59" fmla="*/ 573 h 716"/>
              <a:gd name="T60" fmla="*/ 322 w 859"/>
              <a:gd name="T61" fmla="*/ 262 h 716"/>
              <a:gd name="T62" fmla="*/ 250 w 859"/>
              <a:gd name="T63" fmla="*/ 329 h 716"/>
              <a:gd name="T64" fmla="*/ 143 w 859"/>
              <a:gd name="T65" fmla="*/ 716 h 716"/>
              <a:gd name="T66" fmla="*/ 716 w 859"/>
              <a:gd name="T67" fmla="*/ 716 h 716"/>
              <a:gd name="T68" fmla="*/ 716 w 859"/>
              <a:gd name="T69" fmla="*/ 645 h 716"/>
              <a:gd name="T70" fmla="*/ 143 w 859"/>
              <a:gd name="T71" fmla="*/ 645 h 716"/>
              <a:gd name="T72" fmla="*/ 143 w 859"/>
              <a:gd name="T73" fmla="*/ 716 h 7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859" h="716">
                <a:moveTo>
                  <a:pt x="716" y="0"/>
                </a:moveTo>
                <a:lnTo>
                  <a:pt x="143" y="0"/>
                </a:lnTo>
                <a:cubicBezTo>
                  <a:pt x="64" y="0"/>
                  <a:pt x="0" y="64"/>
                  <a:pt x="0" y="143"/>
                </a:cubicBezTo>
                <a:cubicBezTo>
                  <a:pt x="0" y="222"/>
                  <a:pt x="64" y="286"/>
                  <a:pt x="143" y="286"/>
                </a:cubicBezTo>
                <a:cubicBezTo>
                  <a:pt x="222" y="286"/>
                  <a:pt x="286" y="215"/>
                  <a:pt x="286" y="143"/>
                </a:cubicBezTo>
                <a:lnTo>
                  <a:pt x="215" y="143"/>
                </a:lnTo>
                <a:cubicBezTo>
                  <a:pt x="215" y="179"/>
                  <a:pt x="183" y="215"/>
                  <a:pt x="143" y="215"/>
                </a:cubicBezTo>
                <a:cubicBezTo>
                  <a:pt x="104" y="215"/>
                  <a:pt x="72" y="183"/>
                  <a:pt x="72" y="143"/>
                </a:cubicBezTo>
                <a:cubicBezTo>
                  <a:pt x="72" y="104"/>
                  <a:pt x="104" y="72"/>
                  <a:pt x="143" y="72"/>
                </a:cubicBezTo>
                <a:lnTo>
                  <a:pt x="716" y="72"/>
                </a:lnTo>
                <a:cubicBezTo>
                  <a:pt x="756" y="72"/>
                  <a:pt x="788" y="104"/>
                  <a:pt x="788" y="143"/>
                </a:cubicBezTo>
                <a:cubicBezTo>
                  <a:pt x="788" y="183"/>
                  <a:pt x="756" y="215"/>
                  <a:pt x="716" y="215"/>
                </a:cubicBezTo>
                <a:cubicBezTo>
                  <a:pt x="677" y="215"/>
                  <a:pt x="645" y="179"/>
                  <a:pt x="645" y="143"/>
                </a:cubicBezTo>
                <a:lnTo>
                  <a:pt x="573" y="143"/>
                </a:lnTo>
                <a:cubicBezTo>
                  <a:pt x="573" y="215"/>
                  <a:pt x="637" y="286"/>
                  <a:pt x="716" y="286"/>
                </a:cubicBezTo>
                <a:cubicBezTo>
                  <a:pt x="795" y="286"/>
                  <a:pt x="859" y="222"/>
                  <a:pt x="859" y="143"/>
                </a:cubicBezTo>
                <a:cubicBezTo>
                  <a:pt x="859" y="64"/>
                  <a:pt x="795" y="0"/>
                  <a:pt x="716" y="0"/>
                </a:cubicBezTo>
                <a:close/>
                <a:moveTo>
                  <a:pt x="394" y="143"/>
                </a:moveTo>
                <a:lnTo>
                  <a:pt x="394" y="573"/>
                </a:lnTo>
                <a:lnTo>
                  <a:pt x="465" y="573"/>
                </a:lnTo>
                <a:lnTo>
                  <a:pt x="465" y="143"/>
                </a:lnTo>
                <a:lnTo>
                  <a:pt x="394" y="143"/>
                </a:lnTo>
                <a:close/>
                <a:moveTo>
                  <a:pt x="537" y="262"/>
                </a:moveTo>
                <a:lnTo>
                  <a:pt x="537" y="573"/>
                </a:lnTo>
                <a:lnTo>
                  <a:pt x="609" y="573"/>
                </a:lnTo>
                <a:lnTo>
                  <a:pt x="609" y="329"/>
                </a:lnTo>
                <a:cubicBezTo>
                  <a:pt x="573" y="312"/>
                  <a:pt x="573" y="289"/>
                  <a:pt x="537" y="262"/>
                </a:cubicBezTo>
                <a:close/>
                <a:moveTo>
                  <a:pt x="250" y="329"/>
                </a:moveTo>
                <a:lnTo>
                  <a:pt x="250" y="573"/>
                </a:lnTo>
                <a:lnTo>
                  <a:pt x="322" y="573"/>
                </a:lnTo>
                <a:lnTo>
                  <a:pt x="322" y="262"/>
                </a:lnTo>
                <a:cubicBezTo>
                  <a:pt x="286" y="289"/>
                  <a:pt x="286" y="312"/>
                  <a:pt x="250" y="329"/>
                </a:cubicBezTo>
                <a:close/>
                <a:moveTo>
                  <a:pt x="143" y="716"/>
                </a:moveTo>
                <a:lnTo>
                  <a:pt x="716" y="716"/>
                </a:lnTo>
                <a:lnTo>
                  <a:pt x="716" y="645"/>
                </a:lnTo>
                <a:lnTo>
                  <a:pt x="143" y="645"/>
                </a:lnTo>
                <a:lnTo>
                  <a:pt x="143" y="716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3" name="Freeform 41"/>
          <p:cNvSpPr>
            <a:spLocks/>
          </p:cNvSpPr>
          <p:nvPr/>
        </p:nvSpPr>
        <p:spPr bwMode="auto">
          <a:xfrm>
            <a:off x="9471323" y="1819703"/>
            <a:ext cx="591581" cy="516260"/>
          </a:xfrm>
          <a:custGeom>
            <a:avLst/>
            <a:gdLst>
              <a:gd name="T0" fmla="*/ 860 w 860"/>
              <a:gd name="T1" fmla="*/ 251 h 752"/>
              <a:gd name="T2" fmla="*/ 430 w 860"/>
              <a:gd name="T3" fmla="*/ 0 h 752"/>
              <a:gd name="T4" fmla="*/ 0 w 860"/>
              <a:gd name="T5" fmla="*/ 251 h 752"/>
              <a:gd name="T6" fmla="*/ 144 w 860"/>
              <a:gd name="T7" fmla="*/ 334 h 752"/>
              <a:gd name="T8" fmla="*/ 144 w 860"/>
              <a:gd name="T9" fmla="*/ 475 h 752"/>
              <a:gd name="T10" fmla="*/ 149 w 860"/>
              <a:gd name="T11" fmla="*/ 484 h 752"/>
              <a:gd name="T12" fmla="*/ 430 w 860"/>
              <a:gd name="T13" fmla="*/ 644 h 752"/>
              <a:gd name="T14" fmla="*/ 573 w 860"/>
              <a:gd name="T15" fmla="*/ 610 h 752"/>
              <a:gd name="T16" fmla="*/ 573 w 860"/>
              <a:gd name="T17" fmla="*/ 528 h 752"/>
              <a:gd name="T18" fmla="*/ 430 w 860"/>
              <a:gd name="T19" fmla="*/ 573 h 752"/>
              <a:gd name="T20" fmla="*/ 215 w 860"/>
              <a:gd name="T21" fmla="*/ 455 h 752"/>
              <a:gd name="T22" fmla="*/ 215 w 860"/>
              <a:gd name="T23" fmla="*/ 376 h 752"/>
              <a:gd name="T24" fmla="*/ 430 w 860"/>
              <a:gd name="T25" fmla="*/ 501 h 752"/>
              <a:gd name="T26" fmla="*/ 553 w 860"/>
              <a:gd name="T27" fmla="*/ 430 h 752"/>
              <a:gd name="T28" fmla="*/ 483 w 860"/>
              <a:gd name="T29" fmla="*/ 388 h 752"/>
              <a:gd name="T30" fmla="*/ 430 w 860"/>
              <a:gd name="T31" fmla="*/ 418 h 752"/>
              <a:gd name="T32" fmla="*/ 142 w 860"/>
              <a:gd name="T33" fmla="*/ 251 h 752"/>
              <a:gd name="T34" fmla="*/ 430 w 860"/>
              <a:gd name="T35" fmla="*/ 83 h 752"/>
              <a:gd name="T36" fmla="*/ 718 w 860"/>
              <a:gd name="T37" fmla="*/ 251 h 752"/>
              <a:gd name="T38" fmla="*/ 624 w 860"/>
              <a:gd name="T39" fmla="*/ 305 h 752"/>
              <a:gd name="T40" fmla="*/ 454 w 860"/>
              <a:gd name="T41" fmla="*/ 204 h 752"/>
              <a:gd name="T42" fmla="*/ 391 w 860"/>
              <a:gd name="T43" fmla="*/ 247 h 752"/>
              <a:gd name="T44" fmla="*/ 390 w 860"/>
              <a:gd name="T45" fmla="*/ 249 h 752"/>
              <a:gd name="T46" fmla="*/ 645 w 860"/>
              <a:gd name="T47" fmla="*/ 401 h 752"/>
              <a:gd name="T48" fmla="*/ 645 w 860"/>
              <a:gd name="T49" fmla="*/ 752 h 752"/>
              <a:gd name="T50" fmla="*/ 717 w 860"/>
              <a:gd name="T51" fmla="*/ 752 h 752"/>
              <a:gd name="T52" fmla="*/ 717 w 860"/>
              <a:gd name="T53" fmla="*/ 360 h 752"/>
              <a:gd name="T54" fmla="*/ 694 w 860"/>
              <a:gd name="T55" fmla="*/ 347 h 752"/>
              <a:gd name="T56" fmla="*/ 860 w 860"/>
              <a:gd name="T57" fmla="*/ 25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860" h="752">
                <a:moveTo>
                  <a:pt x="860" y="251"/>
                </a:moveTo>
                <a:lnTo>
                  <a:pt x="430" y="0"/>
                </a:lnTo>
                <a:lnTo>
                  <a:pt x="0" y="251"/>
                </a:lnTo>
                <a:lnTo>
                  <a:pt x="144" y="334"/>
                </a:lnTo>
                <a:lnTo>
                  <a:pt x="144" y="475"/>
                </a:lnTo>
                <a:lnTo>
                  <a:pt x="149" y="484"/>
                </a:lnTo>
                <a:cubicBezTo>
                  <a:pt x="207" y="583"/>
                  <a:pt x="315" y="644"/>
                  <a:pt x="430" y="644"/>
                </a:cubicBezTo>
                <a:cubicBezTo>
                  <a:pt x="480" y="644"/>
                  <a:pt x="529" y="632"/>
                  <a:pt x="573" y="610"/>
                </a:cubicBezTo>
                <a:lnTo>
                  <a:pt x="573" y="528"/>
                </a:lnTo>
                <a:cubicBezTo>
                  <a:pt x="532" y="556"/>
                  <a:pt x="482" y="573"/>
                  <a:pt x="430" y="573"/>
                </a:cubicBezTo>
                <a:cubicBezTo>
                  <a:pt x="343" y="573"/>
                  <a:pt x="262" y="528"/>
                  <a:pt x="215" y="455"/>
                </a:cubicBezTo>
                <a:lnTo>
                  <a:pt x="215" y="376"/>
                </a:lnTo>
                <a:lnTo>
                  <a:pt x="430" y="501"/>
                </a:lnTo>
                <a:lnTo>
                  <a:pt x="553" y="430"/>
                </a:lnTo>
                <a:lnTo>
                  <a:pt x="483" y="388"/>
                </a:lnTo>
                <a:lnTo>
                  <a:pt x="430" y="418"/>
                </a:lnTo>
                <a:lnTo>
                  <a:pt x="142" y="251"/>
                </a:lnTo>
                <a:lnTo>
                  <a:pt x="430" y="83"/>
                </a:lnTo>
                <a:lnTo>
                  <a:pt x="718" y="251"/>
                </a:lnTo>
                <a:lnTo>
                  <a:pt x="624" y="305"/>
                </a:lnTo>
                <a:lnTo>
                  <a:pt x="454" y="204"/>
                </a:lnTo>
                <a:lnTo>
                  <a:pt x="391" y="247"/>
                </a:lnTo>
                <a:lnTo>
                  <a:pt x="390" y="249"/>
                </a:lnTo>
                <a:lnTo>
                  <a:pt x="645" y="401"/>
                </a:lnTo>
                <a:lnTo>
                  <a:pt x="645" y="752"/>
                </a:lnTo>
                <a:lnTo>
                  <a:pt x="717" y="752"/>
                </a:lnTo>
                <a:lnTo>
                  <a:pt x="717" y="360"/>
                </a:lnTo>
                <a:lnTo>
                  <a:pt x="694" y="347"/>
                </a:lnTo>
                <a:lnTo>
                  <a:pt x="860" y="25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97" name="Группа 96"/>
          <p:cNvGrpSpPr/>
          <p:nvPr/>
        </p:nvGrpSpPr>
        <p:grpSpPr>
          <a:xfrm>
            <a:off x="9501353" y="538286"/>
            <a:ext cx="546537" cy="591303"/>
            <a:chOff x="477468" y="2705515"/>
            <a:chExt cx="409903" cy="443477"/>
          </a:xfrm>
        </p:grpSpPr>
        <p:sp>
          <p:nvSpPr>
            <p:cNvPr id="64" name="Freeform 42"/>
            <p:cNvSpPr>
              <a:spLocks noEditPoints="1"/>
            </p:cNvSpPr>
            <p:nvPr/>
          </p:nvSpPr>
          <p:spPr bwMode="auto">
            <a:xfrm>
              <a:off x="477468" y="2705515"/>
              <a:ext cx="409903" cy="387195"/>
            </a:xfrm>
            <a:custGeom>
              <a:avLst/>
              <a:gdLst>
                <a:gd name="T0" fmla="*/ 218 w 793"/>
                <a:gd name="T1" fmla="*/ 575 h 751"/>
                <a:gd name="T2" fmla="*/ 194 w 793"/>
                <a:gd name="T3" fmla="*/ 95 h 751"/>
                <a:gd name="T4" fmla="*/ 219 w 793"/>
                <a:gd name="T5" fmla="*/ 121 h 751"/>
                <a:gd name="T6" fmla="*/ 149 w 793"/>
                <a:gd name="T7" fmla="*/ 322 h 751"/>
                <a:gd name="T8" fmla="*/ 471 w 793"/>
                <a:gd name="T9" fmla="*/ 644 h 751"/>
                <a:gd name="T10" fmla="*/ 672 w 793"/>
                <a:gd name="T11" fmla="*/ 574 h 751"/>
                <a:gd name="T12" fmla="*/ 698 w 793"/>
                <a:gd name="T13" fmla="*/ 599 h 751"/>
                <a:gd name="T14" fmla="*/ 218 w 793"/>
                <a:gd name="T15" fmla="*/ 575 h 751"/>
                <a:gd name="T16" fmla="*/ 471 w 793"/>
                <a:gd name="T17" fmla="*/ 71 h 751"/>
                <a:gd name="T18" fmla="*/ 722 w 793"/>
                <a:gd name="T19" fmla="*/ 322 h 751"/>
                <a:gd name="T20" fmla="*/ 471 w 793"/>
                <a:gd name="T21" fmla="*/ 573 h 751"/>
                <a:gd name="T22" fmla="*/ 220 w 793"/>
                <a:gd name="T23" fmla="*/ 322 h 751"/>
                <a:gd name="T24" fmla="*/ 471 w 793"/>
                <a:gd name="T25" fmla="*/ 71 h 751"/>
                <a:gd name="T26" fmla="*/ 723 w 793"/>
                <a:gd name="T27" fmla="*/ 523 h 751"/>
                <a:gd name="T28" fmla="*/ 793 w 793"/>
                <a:gd name="T29" fmla="*/ 322 h 751"/>
                <a:gd name="T30" fmla="*/ 471 w 793"/>
                <a:gd name="T31" fmla="*/ 0 h 751"/>
                <a:gd name="T32" fmla="*/ 270 w 793"/>
                <a:gd name="T33" fmla="*/ 71 h 751"/>
                <a:gd name="T34" fmla="*/ 218 w 793"/>
                <a:gd name="T35" fmla="*/ 18 h 751"/>
                <a:gd name="T36" fmla="*/ 192 w 793"/>
                <a:gd name="T37" fmla="*/ 8 h 751"/>
                <a:gd name="T38" fmla="*/ 192 w 793"/>
                <a:gd name="T39" fmla="*/ 8 h 751"/>
                <a:gd name="T40" fmla="*/ 167 w 793"/>
                <a:gd name="T41" fmla="*/ 18 h 751"/>
                <a:gd name="T42" fmla="*/ 167 w 793"/>
                <a:gd name="T43" fmla="*/ 626 h 751"/>
                <a:gd name="T44" fmla="*/ 471 w 793"/>
                <a:gd name="T45" fmla="*/ 751 h 751"/>
                <a:gd name="T46" fmla="*/ 775 w 793"/>
                <a:gd name="T47" fmla="*/ 626 h 751"/>
                <a:gd name="T48" fmla="*/ 785 w 793"/>
                <a:gd name="T49" fmla="*/ 601 h 751"/>
                <a:gd name="T50" fmla="*/ 775 w 793"/>
                <a:gd name="T51" fmla="*/ 575 h 751"/>
                <a:gd name="T52" fmla="*/ 723 w 793"/>
                <a:gd name="T53" fmla="*/ 523 h 7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793" h="751">
                  <a:moveTo>
                    <a:pt x="218" y="575"/>
                  </a:moveTo>
                  <a:cubicBezTo>
                    <a:pt x="87" y="444"/>
                    <a:pt x="79" y="236"/>
                    <a:pt x="194" y="95"/>
                  </a:cubicBezTo>
                  <a:lnTo>
                    <a:pt x="219" y="121"/>
                  </a:lnTo>
                  <a:cubicBezTo>
                    <a:pt x="175" y="176"/>
                    <a:pt x="149" y="246"/>
                    <a:pt x="149" y="322"/>
                  </a:cubicBezTo>
                  <a:cubicBezTo>
                    <a:pt x="149" y="500"/>
                    <a:pt x="293" y="644"/>
                    <a:pt x="471" y="644"/>
                  </a:cubicBezTo>
                  <a:cubicBezTo>
                    <a:pt x="547" y="644"/>
                    <a:pt x="617" y="618"/>
                    <a:pt x="672" y="574"/>
                  </a:cubicBezTo>
                  <a:lnTo>
                    <a:pt x="698" y="599"/>
                  </a:lnTo>
                  <a:cubicBezTo>
                    <a:pt x="557" y="714"/>
                    <a:pt x="349" y="706"/>
                    <a:pt x="218" y="575"/>
                  </a:cubicBezTo>
                  <a:close/>
                  <a:moveTo>
                    <a:pt x="471" y="71"/>
                  </a:moveTo>
                  <a:cubicBezTo>
                    <a:pt x="609" y="71"/>
                    <a:pt x="722" y="184"/>
                    <a:pt x="722" y="322"/>
                  </a:cubicBezTo>
                  <a:cubicBezTo>
                    <a:pt x="722" y="460"/>
                    <a:pt x="609" y="573"/>
                    <a:pt x="471" y="573"/>
                  </a:cubicBezTo>
                  <a:cubicBezTo>
                    <a:pt x="333" y="573"/>
                    <a:pt x="220" y="460"/>
                    <a:pt x="220" y="322"/>
                  </a:cubicBezTo>
                  <a:cubicBezTo>
                    <a:pt x="220" y="184"/>
                    <a:pt x="333" y="71"/>
                    <a:pt x="471" y="71"/>
                  </a:cubicBezTo>
                  <a:close/>
                  <a:moveTo>
                    <a:pt x="723" y="523"/>
                  </a:moveTo>
                  <a:cubicBezTo>
                    <a:pt x="767" y="468"/>
                    <a:pt x="793" y="398"/>
                    <a:pt x="793" y="322"/>
                  </a:cubicBezTo>
                  <a:cubicBezTo>
                    <a:pt x="793" y="144"/>
                    <a:pt x="649" y="0"/>
                    <a:pt x="471" y="0"/>
                  </a:cubicBezTo>
                  <a:cubicBezTo>
                    <a:pt x="395" y="0"/>
                    <a:pt x="325" y="26"/>
                    <a:pt x="270" y="71"/>
                  </a:cubicBezTo>
                  <a:lnTo>
                    <a:pt x="218" y="18"/>
                  </a:lnTo>
                  <a:cubicBezTo>
                    <a:pt x="211" y="11"/>
                    <a:pt x="202" y="8"/>
                    <a:pt x="192" y="8"/>
                  </a:cubicBezTo>
                  <a:cubicBezTo>
                    <a:pt x="192" y="8"/>
                    <a:pt x="192" y="8"/>
                    <a:pt x="192" y="8"/>
                  </a:cubicBezTo>
                  <a:cubicBezTo>
                    <a:pt x="183" y="8"/>
                    <a:pt x="174" y="11"/>
                    <a:pt x="167" y="18"/>
                  </a:cubicBezTo>
                  <a:cubicBezTo>
                    <a:pt x="0" y="186"/>
                    <a:pt x="0" y="458"/>
                    <a:pt x="167" y="626"/>
                  </a:cubicBezTo>
                  <a:cubicBezTo>
                    <a:pt x="251" y="710"/>
                    <a:pt x="361" y="751"/>
                    <a:pt x="471" y="751"/>
                  </a:cubicBezTo>
                  <a:cubicBezTo>
                    <a:pt x="581" y="751"/>
                    <a:pt x="691" y="710"/>
                    <a:pt x="775" y="626"/>
                  </a:cubicBezTo>
                  <a:cubicBezTo>
                    <a:pt x="782" y="619"/>
                    <a:pt x="785" y="610"/>
                    <a:pt x="785" y="601"/>
                  </a:cubicBezTo>
                  <a:cubicBezTo>
                    <a:pt x="785" y="591"/>
                    <a:pt x="782" y="582"/>
                    <a:pt x="775" y="575"/>
                  </a:cubicBezTo>
                  <a:lnTo>
                    <a:pt x="723" y="52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5" name="Rectangle 43"/>
            <p:cNvSpPr>
              <a:spLocks noChangeArrowheads="1"/>
            </p:cNvSpPr>
            <p:nvPr/>
          </p:nvSpPr>
          <p:spPr bwMode="auto">
            <a:xfrm>
              <a:off x="637377" y="3110722"/>
              <a:ext cx="148646" cy="3827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66" name="Freeform 44"/>
          <p:cNvSpPr>
            <a:spLocks noEditPoints="1"/>
          </p:cNvSpPr>
          <p:nvPr/>
        </p:nvSpPr>
        <p:spPr bwMode="auto">
          <a:xfrm>
            <a:off x="10966796" y="509540"/>
            <a:ext cx="573565" cy="621313"/>
          </a:xfrm>
          <a:custGeom>
            <a:avLst/>
            <a:gdLst>
              <a:gd name="T0" fmla="*/ 583 w 837"/>
              <a:gd name="T1" fmla="*/ 579 h 901"/>
              <a:gd name="T2" fmla="*/ 511 w 837"/>
              <a:gd name="T3" fmla="*/ 650 h 901"/>
              <a:gd name="T4" fmla="*/ 583 w 837"/>
              <a:gd name="T5" fmla="*/ 722 h 901"/>
              <a:gd name="T6" fmla="*/ 654 w 837"/>
              <a:gd name="T7" fmla="*/ 650 h 901"/>
              <a:gd name="T8" fmla="*/ 583 w 837"/>
              <a:gd name="T9" fmla="*/ 579 h 901"/>
              <a:gd name="T10" fmla="*/ 332 w 837"/>
              <a:gd name="T11" fmla="*/ 579 h 901"/>
              <a:gd name="T12" fmla="*/ 260 w 837"/>
              <a:gd name="T13" fmla="*/ 650 h 901"/>
              <a:gd name="T14" fmla="*/ 332 w 837"/>
              <a:gd name="T15" fmla="*/ 722 h 901"/>
              <a:gd name="T16" fmla="*/ 404 w 837"/>
              <a:gd name="T17" fmla="*/ 650 h 901"/>
              <a:gd name="T18" fmla="*/ 332 w 837"/>
              <a:gd name="T19" fmla="*/ 579 h 901"/>
              <a:gd name="T20" fmla="*/ 332 w 837"/>
              <a:gd name="T21" fmla="*/ 435 h 901"/>
              <a:gd name="T22" fmla="*/ 260 w 837"/>
              <a:gd name="T23" fmla="*/ 364 h 901"/>
              <a:gd name="T24" fmla="*/ 189 w 837"/>
              <a:gd name="T25" fmla="*/ 435 h 901"/>
              <a:gd name="T26" fmla="*/ 260 w 837"/>
              <a:gd name="T27" fmla="*/ 507 h 901"/>
              <a:gd name="T28" fmla="*/ 332 w 837"/>
              <a:gd name="T29" fmla="*/ 435 h 901"/>
              <a:gd name="T30" fmla="*/ 404 w 837"/>
              <a:gd name="T31" fmla="*/ 185 h 901"/>
              <a:gd name="T32" fmla="*/ 332 w 837"/>
              <a:gd name="T33" fmla="*/ 256 h 901"/>
              <a:gd name="T34" fmla="*/ 404 w 837"/>
              <a:gd name="T35" fmla="*/ 328 h 901"/>
              <a:gd name="T36" fmla="*/ 475 w 837"/>
              <a:gd name="T37" fmla="*/ 256 h 901"/>
              <a:gd name="T38" fmla="*/ 404 w 837"/>
              <a:gd name="T39" fmla="*/ 185 h 901"/>
              <a:gd name="T40" fmla="*/ 757 w 837"/>
              <a:gd name="T41" fmla="*/ 635 h 901"/>
              <a:gd name="T42" fmla="*/ 698 w 837"/>
              <a:gd name="T43" fmla="*/ 711 h 901"/>
              <a:gd name="T44" fmla="*/ 429 w 837"/>
              <a:gd name="T45" fmla="*/ 829 h 901"/>
              <a:gd name="T46" fmla="*/ 207 w 837"/>
              <a:gd name="T47" fmla="*/ 738 h 901"/>
              <a:gd name="T48" fmla="*/ 233 w 837"/>
              <a:gd name="T49" fmla="*/ 231 h 901"/>
              <a:gd name="T50" fmla="*/ 502 w 837"/>
              <a:gd name="T51" fmla="*/ 113 h 901"/>
              <a:gd name="T52" fmla="*/ 658 w 837"/>
              <a:gd name="T53" fmla="*/ 154 h 901"/>
              <a:gd name="T54" fmla="*/ 675 w 837"/>
              <a:gd name="T55" fmla="*/ 177 h 901"/>
              <a:gd name="T56" fmla="*/ 665 w 837"/>
              <a:gd name="T57" fmla="*/ 208 h 901"/>
              <a:gd name="T58" fmla="*/ 602 w 837"/>
              <a:gd name="T59" fmla="*/ 366 h 901"/>
              <a:gd name="T60" fmla="*/ 744 w 837"/>
              <a:gd name="T61" fmla="*/ 584 h 901"/>
              <a:gd name="T62" fmla="*/ 760 w 837"/>
              <a:gd name="T63" fmla="*/ 605 h 901"/>
              <a:gd name="T64" fmla="*/ 757 w 837"/>
              <a:gd name="T65" fmla="*/ 635 h 901"/>
              <a:gd name="T66" fmla="*/ 829 w 837"/>
              <a:gd name="T67" fmla="*/ 585 h 901"/>
              <a:gd name="T68" fmla="*/ 776 w 837"/>
              <a:gd name="T69" fmla="*/ 520 h 901"/>
              <a:gd name="T70" fmla="*/ 673 w 837"/>
              <a:gd name="T71" fmla="*/ 366 h 901"/>
              <a:gd name="T72" fmla="*/ 718 w 837"/>
              <a:gd name="T73" fmla="*/ 257 h 901"/>
              <a:gd name="T74" fmla="*/ 746 w 837"/>
              <a:gd name="T75" fmla="*/ 166 h 901"/>
              <a:gd name="T76" fmla="*/ 694 w 837"/>
              <a:gd name="T77" fmla="*/ 92 h 901"/>
              <a:gd name="T78" fmla="*/ 181 w 837"/>
              <a:gd name="T79" fmla="*/ 181 h 901"/>
              <a:gd name="T80" fmla="*/ 156 w 837"/>
              <a:gd name="T81" fmla="*/ 788 h 901"/>
              <a:gd name="T82" fmla="*/ 429 w 837"/>
              <a:gd name="T83" fmla="*/ 901 h 901"/>
              <a:gd name="T84" fmla="*/ 749 w 837"/>
              <a:gd name="T85" fmla="*/ 761 h 901"/>
              <a:gd name="T86" fmla="*/ 818 w 837"/>
              <a:gd name="T87" fmla="*/ 672 h 901"/>
              <a:gd name="T88" fmla="*/ 829 w 837"/>
              <a:gd name="T89" fmla="*/ 585 h 9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837" h="901">
                <a:moveTo>
                  <a:pt x="583" y="579"/>
                </a:moveTo>
                <a:cubicBezTo>
                  <a:pt x="543" y="579"/>
                  <a:pt x="511" y="611"/>
                  <a:pt x="511" y="650"/>
                </a:cubicBezTo>
                <a:cubicBezTo>
                  <a:pt x="511" y="690"/>
                  <a:pt x="543" y="722"/>
                  <a:pt x="583" y="722"/>
                </a:cubicBezTo>
                <a:cubicBezTo>
                  <a:pt x="622" y="722"/>
                  <a:pt x="654" y="690"/>
                  <a:pt x="654" y="650"/>
                </a:cubicBezTo>
                <a:cubicBezTo>
                  <a:pt x="654" y="611"/>
                  <a:pt x="622" y="579"/>
                  <a:pt x="583" y="579"/>
                </a:cubicBezTo>
                <a:close/>
                <a:moveTo>
                  <a:pt x="332" y="579"/>
                </a:moveTo>
                <a:cubicBezTo>
                  <a:pt x="292" y="579"/>
                  <a:pt x="260" y="611"/>
                  <a:pt x="260" y="650"/>
                </a:cubicBezTo>
                <a:cubicBezTo>
                  <a:pt x="260" y="690"/>
                  <a:pt x="292" y="722"/>
                  <a:pt x="332" y="722"/>
                </a:cubicBezTo>
                <a:cubicBezTo>
                  <a:pt x="372" y="722"/>
                  <a:pt x="404" y="690"/>
                  <a:pt x="404" y="650"/>
                </a:cubicBezTo>
                <a:cubicBezTo>
                  <a:pt x="404" y="611"/>
                  <a:pt x="372" y="579"/>
                  <a:pt x="332" y="579"/>
                </a:cubicBezTo>
                <a:close/>
                <a:moveTo>
                  <a:pt x="332" y="435"/>
                </a:moveTo>
                <a:cubicBezTo>
                  <a:pt x="332" y="396"/>
                  <a:pt x="300" y="364"/>
                  <a:pt x="260" y="364"/>
                </a:cubicBezTo>
                <a:cubicBezTo>
                  <a:pt x="221" y="364"/>
                  <a:pt x="189" y="396"/>
                  <a:pt x="189" y="435"/>
                </a:cubicBezTo>
                <a:cubicBezTo>
                  <a:pt x="189" y="475"/>
                  <a:pt x="221" y="507"/>
                  <a:pt x="260" y="507"/>
                </a:cubicBezTo>
                <a:cubicBezTo>
                  <a:pt x="300" y="507"/>
                  <a:pt x="332" y="475"/>
                  <a:pt x="332" y="435"/>
                </a:cubicBezTo>
                <a:close/>
                <a:moveTo>
                  <a:pt x="404" y="185"/>
                </a:moveTo>
                <a:cubicBezTo>
                  <a:pt x="364" y="185"/>
                  <a:pt x="332" y="217"/>
                  <a:pt x="332" y="256"/>
                </a:cubicBezTo>
                <a:cubicBezTo>
                  <a:pt x="332" y="296"/>
                  <a:pt x="364" y="328"/>
                  <a:pt x="404" y="328"/>
                </a:cubicBezTo>
                <a:cubicBezTo>
                  <a:pt x="443" y="328"/>
                  <a:pt x="475" y="296"/>
                  <a:pt x="475" y="256"/>
                </a:cubicBezTo>
                <a:cubicBezTo>
                  <a:pt x="475" y="217"/>
                  <a:pt x="443" y="185"/>
                  <a:pt x="404" y="185"/>
                </a:cubicBezTo>
                <a:close/>
                <a:moveTo>
                  <a:pt x="757" y="635"/>
                </a:moveTo>
                <a:cubicBezTo>
                  <a:pt x="740" y="663"/>
                  <a:pt x="721" y="688"/>
                  <a:pt x="698" y="711"/>
                </a:cubicBezTo>
                <a:cubicBezTo>
                  <a:pt x="625" y="786"/>
                  <a:pt x="527" y="829"/>
                  <a:pt x="429" y="829"/>
                </a:cubicBezTo>
                <a:cubicBezTo>
                  <a:pt x="343" y="829"/>
                  <a:pt x="265" y="797"/>
                  <a:pt x="207" y="738"/>
                </a:cubicBezTo>
                <a:cubicBezTo>
                  <a:pt x="78" y="605"/>
                  <a:pt x="89" y="378"/>
                  <a:pt x="233" y="231"/>
                </a:cubicBezTo>
                <a:cubicBezTo>
                  <a:pt x="308" y="154"/>
                  <a:pt x="406" y="113"/>
                  <a:pt x="502" y="113"/>
                </a:cubicBezTo>
                <a:cubicBezTo>
                  <a:pt x="557" y="113"/>
                  <a:pt x="610" y="126"/>
                  <a:pt x="658" y="154"/>
                </a:cubicBezTo>
                <a:cubicBezTo>
                  <a:pt x="668" y="159"/>
                  <a:pt x="674" y="167"/>
                  <a:pt x="675" y="177"/>
                </a:cubicBezTo>
                <a:cubicBezTo>
                  <a:pt x="677" y="188"/>
                  <a:pt x="673" y="199"/>
                  <a:pt x="665" y="208"/>
                </a:cubicBezTo>
                <a:cubicBezTo>
                  <a:pt x="624" y="253"/>
                  <a:pt x="602" y="309"/>
                  <a:pt x="602" y="366"/>
                </a:cubicBezTo>
                <a:cubicBezTo>
                  <a:pt x="602" y="456"/>
                  <a:pt x="656" y="540"/>
                  <a:pt x="744" y="584"/>
                </a:cubicBezTo>
                <a:cubicBezTo>
                  <a:pt x="754" y="590"/>
                  <a:pt x="759" y="600"/>
                  <a:pt x="760" y="605"/>
                </a:cubicBezTo>
                <a:cubicBezTo>
                  <a:pt x="763" y="615"/>
                  <a:pt x="762" y="626"/>
                  <a:pt x="757" y="635"/>
                </a:cubicBezTo>
                <a:close/>
                <a:moveTo>
                  <a:pt x="829" y="585"/>
                </a:moveTo>
                <a:cubicBezTo>
                  <a:pt x="821" y="557"/>
                  <a:pt x="801" y="533"/>
                  <a:pt x="776" y="520"/>
                </a:cubicBezTo>
                <a:cubicBezTo>
                  <a:pt x="713" y="488"/>
                  <a:pt x="673" y="429"/>
                  <a:pt x="673" y="366"/>
                </a:cubicBezTo>
                <a:cubicBezTo>
                  <a:pt x="673" y="326"/>
                  <a:pt x="689" y="288"/>
                  <a:pt x="718" y="257"/>
                </a:cubicBezTo>
                <a:cubicBezTo>
                  <a:pt x="741" y="231"/>
                  <a:pt x="751" y="198"/>
                  <a:pt x="746" y="166"/>
                </a:cubicBezTo>
                <a:cubicBezTo>
                  <a:pt x="741" y="135"/>
                  <a:pt x="722" y="108"/>
                  <a:pt x="694" y="92"/>
                </a:cubicBezTo>
                <a:cubicBezTo>
                  <a:pt x="533" y="0"/>
                  <a:pt x="323" y="37"/>
                  <a:pt x="181" y="181"/>
                </a:cubicBezTo>
                <a:cubicBezTo>
                  <a:pt x="11" y="356"/>
                  <a:pt x="0" y="628"/>
                  <a:pt x="156" y="788"/>
                </a:cubicBezTo>
                <a:cubicBezTo>
                  <a:pt x="227" y="861"/>
                  <a:pt x="324" y="901"/>
                  <a:pt x="429" y="901"/>
                </a:cubicBezTo>
                <a:cubicBezTo>
                  <a:pt x="546" y="901"/>
                  <a:pt x="663" y="850"/>
                  <a:pt x="749" y="761"/>
                </a:cubicBezTo>
                <a:cubicBezTo>
                  <a:pt x="776" y="734"/>
                  <a:pt x="799" y="704"/>
                  <a:pt x="818" y="672"/>
                </a:cubicBezTo>
                <a:cubicBezTo>
                  <a:pt x="833" y="646"/>
                  <a:pt x="837" y="615"/>
                  <a:pt x="829" y="585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7" name="Freeform 45"/>
          <p:cNvSpPr>
            <a:spLocks noEditPoints="1"/>
          </p:cNvSpPr>
          <p:nvPr/>
        </p:nvSpPr>
        <p:spPr bwMode="auto">
          <a:xfrm>
            <a:off x="630619" y="1794187"/>
            <a:ext cx="588580" cy="567288"/>
          </a:xfrm>
          <a:custGeom>
            <a:avLst/>
            <a:gdLst>
              <a:gd name="T0" fmla="*/ 573 w 859"/>
              <a:gd name="T1" fmla="*/ 573 h 824"/>
              <a:gd name="T2" fmla="*/ 573 w 859"/>
              <a:gd name="T3" fmla="*/ 645 h 824"/>
              <a:gd name="T4" fmla="*/ 859 w 859"/>
              <a:gd name="T5" fmla="*/ 645 h 824"/>
              <a:gd name="T6" fmla="*/ 859 w 859"/>
              <a:gd name="T7" fmla="*/ 573 h 824"/>
              <a:gd name="T8" fmla="*/ 573 w 859"/>
              <a:gd name="T9" fmla="*/ 573 h 824"/>
              <a:gd name="T10" fmla="*/ 787 w 859"/>
              <a:gd name="T11" fmla="*/ 537 h 824"/>
              <a:gd name="T12" fmla="*/ 787 w 859"/>
              <a:gd name="T13" fmla="*/ 466 h 824"/>
              <a:gd name="T14" fmla="*/ 573 w 859"/>
              <a:gd name="T15" fmla="*/ 466 h 824"/>
              <a:gd name="T16" fmla="*/ 573 w 859"/>
              <a:gd name="T17" fmla="*/ 537 h 824"/>
              <a:gd name="T18" fmla="*/ 787 w 859"/>
              <a:gd name="T19" fmla="*/ 537 h 824"/>
              <a:gd name="T20" fmla="*/ 250 w 859"/>
              <a:gd name="T21" fmla="*/ 430 h 824"/>
              <a:gd name="T22" fmla="*/ 250 w 859"/>
              <a:gd name="T23" fmla="*/ 698 h 824"/>
              <a:gd name="T24" fmla="*/ 394 w 859"/>
              <a:gd name="T25" fmla="*/ 627 h 824"/>
              <a:gd name="T26" fmla="*/ 537 w 859"/>
              <a:gd name="T27" fmla="*/ 698 h 824"/>
              <a:gd name="T28" fmla="*/ 537 w 859"/>
              <a:gd name="T29" fmla="*/ 430 h 824"/>
              <a:gd name="T30" fmla="*/ 465 w 859"/>
              <a:gd name="T31" fmla="*/ 430 h 824"/>
              <a:gd name="T32" fmla="*/ 465 w 859"/>
              <a:gd name="T33" fmla="*/ 582 h 824"/>
              <a:gd name="T34" fmla="*/ 394 w 859"/>
              <a:gd name="T35" fmla="*/ 547 h 824"/>
              <a:gd name="T36" fmla="*/ 322 w 859"/>
              <a:gd name="T37" fmla="*/ 582 h 824"/>
              <a:gd name="T38" fmla="*/ 322 w 859"/>
              <a:gd name="T39" fmla="*/ 430 h 824"/>
              <a:gd name="T40" fmla="*/ 250 w 859"/>
              <a:gd name="T41" fmla="*/ 430 h 824"/>
              <a:gd name="T42" fmla="*/ 788 w 859"/>
              <a:gd name="T43" fmla="*/ 125 h 824"/>
              <a:gd name="T44" fmla="*/ 662 w 859"/>
              <a:gd name="T45" fmla="*/ 0 h 824"/>
              <a:gd name="T46" fmla="*/ 143 w 859"/>
              <a:gd name="T47" fmla="*/ 0 h 824"/>
              <a:gd name="T48" fmla="*/ 143 w 859"/>
              <a:gd name="T49" fmla="*/ 72 h 824"/>
              <a:gd name="T50" fmla="*/ 662 w 859"/>
              <a:gd name="T51" fmla="*/ 72 h 824"/>
              <a:gd name="T52" fmla="*/ 716 w 859"/>
              <a:gd name="T53" fmla="*/ 125 h 824"/>
              <a:gd name="T54" fmla="*/ 662 w 859"/>
              <a:gd name="T55" fmla="*/ 179 h 824"/>
              <a:gd name="T56" fmla="*/ 143 w 859"/>
              <a:gd name="T57" fmla="*/ 179 h 824"/>
              <a:gd name="T58" fmla="*/ 143 w 859"/>
              <a:gd name="T59" fmla="*/ 251 h 824"/>
              <a:gd name="T60" fmla="*/ 662 w 859"/>
              <a:gd name="T61" fmla="*/ 251 h 824"/>
              <a:gd name="T62" fmla="*/ 788 w 859"/>
              <a:gd name="T63" fmla="*/ 125 h 824"/>
              <a:gd name="T64" fmla="*/ 197 w 859"/>
              <a:gd name="T65" fmla="*/ 537 h 824"/>
              <a:gd name="T66" fmla="*/ 214 w 859"/>
              <a:gd name="T67" fmla="*/ 537 h 824"/>
              <a:gd name="T68" fmla="*/ 214 w 859"/>
              <a:gd name="T69" fmla="*/ 466 h 824"/>
              <a:gd name="T70" fmla="*/ 197 w 859"/>
              <a:gd name="T71" fmla="*/ 466 h 824"/>
              <a:gd name="T72" fmla="*/ 143 w 859"/>
              <a:gd name="T73" fmla="*/ 412 h 824"/>
              <a:gd name="T74" fmla="*/ 197 w 859"/>
              <a:gd name="T75" fmla="*/ 358 h 824"/>
              <a:gd name="T76" fmla="*/ 787 w 859"/>
              <a:gd name="T77" fmla="*/ 358 h 824"/>
              <a:gd name="T78" fmla="*/ 787 w 859"/>
              <a:gd name="T79" fmla="*/ 286 h 824"/>
              <a:gd name="T80" fmla="*/ 197 w 859"/>
              <a:gd name="T81" fmla="*/ 286 h 824"/>
              <a:gd name="T82" fmla="*/ 71 w 859"/>
              <a:gd name="T83" fmla="*/ 412 h 824"/>
              <a:gd name="T84" fmla="*/ 197 w 859"/>
              <a:gd name="T85" fmla="*/ 537 h 824"/>
              <a:gd name="T86" fmla="*/ 71 w 859"/>
              <a:gd name="T87" fmla="*/ 698 h 824"/>
              <a:gd name="T88" fmla="*/ 125 w 859"/>
              <a:gd name="T89" fmla="*/ 645 h 824"/>
              <a:gd name="T90" fmla="*/ 214 w 859"/>
              <a:gd name="T91" fmla="*/ 645 h 824"/>
              <a:gd name="T92" fmla="*/ 214 w 859"/>
              <a:gd name="T93" fmla="*/ 573 h 824"/>
              <a:gd name="T94" fmla="*/ 125 w 859"/>
              <a:gd name="T95" fmla="*/ 573 h 824"/>
              <a:gd name="T96" fmla="*/ 0 w 859"/>
              <a:gd name="T97" fmla="*/ 698 h 824"/>
              <a:gd name="T98" fmla="*/ 125 w 859"/>
              <a:gd name="T99" fmla="*/ 824 h 824"/>
              <a:gd name="T100" fmla="*/ 859 w 859"/>
              <a:gd name="T101" fmla="*/ 824 h 824"/>
              <a:gd name="T102" fmla="*/ 859 w 859"/>
              <a:gd name="T103" fmla="*/ 752 h 824"/>
              <a:gd name="T104" fmla="*/ 125 w 859"/>
              <a:gd name="T105" fmla="*/ 752 h 824"/>
              <a:gd name="T106" fmla="*/ 71 w 859"/>
              <a:gd name="T107" fmla="*/ 698 h 8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859" h="824">
                <a:moveTo>
                  <a:pt x="573" y="573"/>
                </a:moveTo>
                <a:lnTo>
                  <a:pt x="573" y="645"/>
                </a:lnTo>
                <a:lnTo>
                  <a:pt x="859" y="645"/>
                </a:lnTo>
                <a:lnTo>
                  <a:pt x="859" y="573"/>
                </a:lnTo>
                <a:lnTo>
                  <a:pt x="573" y="573"/>
                </a:lnTo>
                <a:close/>
                <a:moveTo>
                  <a:pt x="787" y="537"/>
                </a:moveTo>
                <a:lnTo>
                  <a:pt x="787" y="466"/>
                </a:lnTo>
                <a:lnTo>
                  <a:pt x="573" y="466"/>
                </a:lnTo>
                <a:lnTo>
                  <a:pt x="573" y="537"/>
                </a:lnTo>
                <a:lnTo>
                  <a:pt x="787" y="537"/>
                </a:lnTo>
                <a:close/>
                <a:moveTo>
                  <a:pt x="250" y="430"/>
                </a:moveTo>
                <a:lnTo>
                  <a:pt x="250" y="698"/>
                </a:lnTo>
                <a:lnTo>
                  <a:pt x="394" y="627"/>
                </a:lnTo>
                <a:lnTo>
                  <a:pt x="537" y="698"/>
                </a:lnTo>
                <a:lnTo>
                  <a:pt x="537" y="430"/>
                </a:lnTo>
                <a:lnTo>
                  <a:pt x="465" y="430"/>
                </a:lnTo>
                <a:lnTo>
                  <a:pt x="465" y="582"/>
                </a:lnTo>
                <a:lnTo>
                  <a:pt x="394" y="547"/>
                </a:lnTo>
                <a:lnTo>
                  <a:pt x="322" y="582"/>
                </a:lnTo>
                <a:lnTo>
                  <a:pt x="322" y="430"/>
                </a:lnTo>
                <a:lnTo>
                  <a:pt x="250" y="430"/>
                </a:lnTo>
                <a:close/>
                <a:moveTo>
                  <a:pt x="788" y="125"/>
                </a:moveTo>
                <a:cubicBezTo>
                  <a:pt x="788" y="56"/>
                  <a:pt x="731" y="0"/>
                  <a:pt x="662" y="0"/>
                </a:cubicBezTo>
                <a:lnTo>
                  <a:pt x="143" y="0"/>
                </a:lnTo>
                <a:lnTo>
                  <a:pt x="143" y="72"/>
                </a:lnTo>
                <a:lnTo>
                  <a:pt x="662" y="72"/>
                </a:lnTo>
                <a:cubicBezTo>
                  <a:pt x="692" y="72"/>
                  <a:pt x="716" y="96"/>
                  <a:pt x="716" y="125"/>
                </a:cubicBezTo>
                <a:cubicBezTo>
                  <a:pt x="716" y="155"/>
                  <a:pt x="692" y="179"/>
                  <a:pt x="662" y="179"/>
                </a:cubicBezTo>
                <a:lnTo>
                  <a:pt x="143" y="179"/>
                </a:lnTo>
                <a:lnTo>
                  <a:pt x="143" y="251"/>
                </a:lnTo>
                <a:lnTo>
                  <a:pt x="662" y="251"/>
                </a:lnTo>
                <a:cubicBezTo>
                  <a:pt x="731" y="251"/>
                  <a:pt x="788" y="194"/>
                  <a:pt x="788" y="125"/>
                </a:cubicBezTo>
                <a:close/>
                <a:moveTo>
                  <a:pt x="197" y="537"/>
                </a:moveTo>
                <a:lnTo>
                  <a:pt x="214" y="537"/>
                </a:lnTo>
                <a:lnTo>
                  <a:pt x="214" y="466"/>
                </a:lnTo>
                <a:lnTo>
                  <a:pt x="197" y="466"/>
                </a:lnTo>
                <a:cubicBezTo>
                  <a:pt x="167" y="466"/>
                  <a:pt x="143" y="441"/>
                  <a:pt x="143" y="412"/>
                </a:cubicBezTo>
                <a:cubicBezTo>
                  <a:pt x="143" y="382"/>
                  <a:pt x="167" y="358"/>
                  <a:pt x="197" y="358"/>
                </a:cubicBezTo>
                <a:lnTo>
                  <a:pt x="787" y="358"/>
                </a:lnTo>
                <a:lnTo>
                  <a:pt x="787" y="286"/>
                </a:lnTo>
                <a:lnTo>
                  <a:pt x="197" y="286"/>
                </a:lnTo>
                <a:cubicBezTo>
                  <a:pt x="128" y="286"/>
                  <a:pt x="71" y="343"/>
                  <a:pt x="71" y="412"/>
                </a:cubicBezTo>
                <a:cubicBezTo>
                  <a:pt x="71" y="481"/>
                  <a:pt x="128" y="537"/>
                  <a:pt x="197" y="537"/>
                </a:cubicBezTo>
                <a:close/>
                <a:moveTo>
                  <a:pt x="71" y="698"/>
                </a:moveTo>
                <a:cubicBezTo>
                  <a:pt x="71" y="669"/>
                  <a:pt x="95" y="645"/>
                  <a:pt x="125" y="645"/>
                </a:cubicBezTo>
                <a:lnTo>
                  <a:pt x="214" y="645"/>
                </a:lnTo>
                <a:lnTo>
                  <a:pt x="214" y="573"/>
                </a:lnTo>
                <a:lnTo>
                  <a:pt x="125" y="573"/>
                </a:lnTo>
                <a:cubicBezTo>
                  <a:pt x="56" y="573"/>
                  <a:pt x="0" y="629"/>
                  <a:pt x="0" y="698"/>
                </a:cubicBezTo>
                <a:cubicBezTo>
                  <a:pt x="0" y="767"/>
                  <a:pt x="56" y="824"/>
                  <a:pt x="125" y="824"/>
                </a:cubicBezTo>
                <a:lnTo>
                  <a:pt x="859" y="824"/>
                </a:lnTo>
                <a:lnTo>
                  <a:pt x="859" y="752"/>
                </a:lnTo>
                <a:lnTo>
                  <a:pt x="125" y="752"/>
                </a:lnTo>
                <a:cubicBezTo>
                  <a:pt x="95" y="752"/>
                  <a:pt x="71" y="728"/>
                  <a:pt x="71" y="698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8" name="Freeform 46"/>
          <p:cNvSpPr>
            <a:spLocks noEditPoints="1"/>
          </p:cNvSpPr>
          <p:nvPr/>
        </p:nvSpPr>
        <p:spPr bwMode="auto">
          <a:xfrm>
            <a:off x="2195163" y="1780680"/>
            <a:ext cx="411407" cy="594301"/>
          </a:xfrm>
          <a:custGeom>
            <a:avLst/>
            <a:gdLst>
              <a:gd name="T0" fmla="*/ 275 w 598"/>
              <a:gd name="T1" fmla="*/ 251 h 860"/>
              <a:gd name="T2" fmla="*/ 347 w 598"/>
              <a:gd name="T3" fmla="*/ 179 h 860"/>
              <a:gd name="T4" fmla="*/ 419 w 598"/>
              <a:gd name="T5" fmla="*/ 251 h 860"/>
              <a:gd name="T6" fmla="*/ 347 w 598"/>
              <a:gd name="T7" fmla="*/ 322 h 860"/>
              <a:gd name="T8" fmla="*/ 275 w 598"/>
              <a:gd name="T9" fmla="*/ 251 h 860"/>
              <a:gd name="T10" fmla="*/ 598 w 598"/>
              <a:gd name="T11" fmla="*/ 752 h 860"/>
              <a:gd name="T12" fmla="*/ 449 w 598"/>
              <a:gd name="T13" fmla="*/ 352 h 860"/>
              <a:gd name="T14" fmla="*/ 490 w 598"/>
              <a:gd name="T15" fmla="*/ 251 h 860"/>
              <a:gd name="T16" fmla="*/ 383 w 598"/>
              <a:gd name="T17" fmla="*/ 113 h 860"/>
              <a:gd name="T18" fmla="*/ 383 w 598"/>
              <a:gd name="T19" fmla="*/ 36 h 860"/>
              <a:gd name="T20" fmla="*/ 347 w 598"/>
              <a:gd name="T21" fmla="*/ 0 h 860"/>
              <a:gd name="T22" fmla="*/ 311 w 598"/>
              <a:gd name="T23" fmla="*/ 36 h 860"/>
              <a:gd name="T24" fmla="*/ 311 w 598"/>
              <a:gd name="T25" fmla="*/ 113 h 860"/>
              <a:gd name="T26" fmla="*/ 204 w 598"/>
              <a:gd name="T27" fmla="*/ 251 h 860"/>
              <a:gd name="T28" fmla="*/ 245 w 598"/>
              <a:gd name="T29" fmla="*/ 352 h 860"/>
              <a:gd name="T30" fmla="*/ 196 w 598"/>
              <a:gd name="T31" fmla="*/ 485 h 860"/>
              <a:gd name="T32" fmla="*/ 260 w 598"/>
              <a:gd name="T33" fmla="*/ 519 h 860"/>
              <a:gd name="T34" fmla="*/ 308 w 598"/>
              <a:gd name="T35" fmla="*/ 388 h 860"/>
              <a:gd name="T36" fmla="*/ 347 w 598"/>
              <a:gd name="T37" fmla="*/ 394 h 860"/>
              <a:gd name="T38" fmla="*/ 386 w 598"/>
              <a:gd name="T39" fmla="*/ 388 h 860"/>
              <a:gd name="T40" fmla="*/ 459 w 598"/>
              <a:gd name="T41" fmla="*/ 586 h 860"/>
              <a:gd name="T42" fmla="*/ 347 w 598"/>
              <a:gd name="T43" fmla="*/ 607 h 860"/>
              <a:gd name="T44" fmla="*/ 72 w 598"/>
              <a:gd name="T45" fmla="*/ 453 h 860"/>
              <a:gd name="T46" fmla="*/ 26 w 598"/>
              <a:gd name="T47" fmla="*/ 440 h 860"/>
              <a:gd name="T48" fmla="*/ 11 w 598"/>
              <a:gd name="T49" fmla="*/ 491 h 860"/>
              <a:gd name="T50" fmla="*/ 145 w 598"/>
              <a:gd name="T51" fmla="*/ 623 h 860"/>
              <a:gd name="T52" fmla="*/ 96 w 598"/>
              <a:gd name="T53" fmla="*/ 752 h 860"/>
              <a:gd name="T54" fmla="*/ 134 w 598"/>
              <a:gd name="T55" fmla="*/ 860 h 860"/>
              <a:gd name="T56" fmla="*/ 210 w 598"/>
              <a:gd name="T57" fmla="*/ 654 h 860"/>
              <a:gd name="T58" fmla="*/ 347 w 598"/>
              <a:gd name="T59" fmla="*/ 679 h 860"/>
              <a:gd name="T60" fmla="*/ 483 w 598"/>
              <a:gd name="T61" fmla="*/ 653 h 860"/>
              <a:gd name="T62" fmla="*/ 560 w 598"/>
              <a:gd name="T63" fmla="*/ 860 h 860"/>
              <a:gd name="T64" fmla="*/ 598 w 598"/>
              <a:gd name="T65" fmla="*/ 752 h 8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598" h="860">
                <a:moveTo>
                  <a:pt x="275" y="251"/>
                </a:moveTo>
                <a:cubicBezTo>
                  <a:pt x="275" y="211"/>
                  <a:pt x="307" y="179"/>
                  <a:pt x="347" y="179"/>
                </a:cubicBezTo>
                <a:cubicBezTo>
                  <a:pt x="386" y="179"/>
                  <a:pt x="419" y="211"/>
                  <a:pt x="419" y="251"/>
                </a:cubicBezTo>
                <a:cubicBezTo>
                  <a:pt x="419" y="290"/>
                  <a:pt x="386" y="322"/>
                  <a:pt x="347" y="322"/>
                </a:cubicBezTo>
                <a:cubicBezTo>
                  <a:pt x="307" y="322"/>
                  <a:pt x="275" y="290"/>
                  <a:pt x="275" y="251"/>
                </a:cubicBezTo>
                <a:close/>
                <a:moveTo>
                  <a:pt x="598" y="752"/>
                </a:moveTo>
                <a:lnTo>
                  <a:pt x="449" y="352"/>
                </a:lnTo>
                <a:cubicBezTo>
                  <a:pt x="474" y="326"/>
                  <a:pt x="490" y="290"/>
                  <a:pt x="490" y="251"/>
                </a:cubicBezTo>
                <a:cubicBezTo>
                  <a:pt x="490" y="184"/>
                  <a:pt x="444" y="129"/>
                  <a:pt x="383" y="113"/>
                </a:cubicBezTo>
                <a:lnTo>
                  <a:pt x="383" y="36"/>
                </a:lnTo>
                <a:cubicBezTo>
                  <a:pt x="383" y="16"/>
                  <a:pt x="367" y="0"/>
                  <a:pt x="347" y="0"/>
                </a:cubicBezTo>
                <a:cubicBezTo>
                  <a:pt x="327" y="0"/>
                  <a:pt x="311" y="16"/>
                  <a:pt x="311" y="36"/>
                </a:cubicBezTo>
                <a:lnTo>
                  <a:pt x="311" y="113"/>
                </a:lnTo>
                <a:cubicBezTo>
                  <a:pt x="250" y="129"/>
                  <a:pt x="204" y="184"/>
                  <a:pt x="204" y="251"/>
                </a:cubicBezTo>
                <a:cubicBezTo>
                  <a:pt x="204" y="290"/>
                  <a:pt x="220" y="326"/>
                  <a:pt x="245" y="352"/>
                </a:cubicBezTo>
                <a:lnTo>
                  <a:pt x="196" y="485"/>
                </a:lnTo>
                <a:cubicBezTo>
                  <a:pt x="216" y="499"/>
                  <a:pt x="237" y="511"/>
                  <a:pt x="260" y="519"/>
                </a:cubicBezTo>
                <a:lnTo>
                  <a:pt x="308" y="388"/>
                </a:lnTo>
                <a:cubicBezTo>
                  <a:pt x="321" y="392"/>
                  <a:pt x="333" y="394"/>
                  <a:pt x="347" y="394"/>
                </a:cubicBezTo>
                <a:cubicBezTo>
                  <a:pt x="361" y="394"/>
                  <a:pt x="373" y="392"/>
                  <a:pt x="386" y="388"/>
                </a:cubicBezTo>
                <a:lnTo>
                  <a:pt x="459" y="586"/>
                </a:lnTo>
                <a:cubicBezTo>
                  <a:pt x="423" y="599"/>
                  <a:pt x="386" y="607"/>
                  <a:pt x="347" y="607"/>
                </a:cubicBezTo>
                <a:cubicBezTo>
                  <a:pt x="233" y="607"/>
                  <a:pt x="130" y="549"/>
                  <a:pt x="72" y="453"/>
                </a:cubicBezTo>
                <a:cubicBezTo>
                  <a:pt x="63" y="438"/>
                  <a:pt x="43" y="432"/>
                  <a:pt x="26" y="440"/>
                </a:cubicBezTo>
                <a:cubicBezTo>
                  <a:pt x="7" y="449"/>
                  <a:pt x="0" y="473"/>
                  <a:pt x="11" y="491"/>
                </a:cubicBezTo>
                <a:cubicBezTo>
                  <a:pt x="45" y="547"/>
                  <a:pt x="92" y="591"/>
                  <a:pt x="145" y="623"/>
                </a:cubicBezTo>
                <a:lnTo>
                  <a:pt x="96" y="752"/>
                </a:lnTo>
                <a:lnTo>
                  <a:pt x="134" y="860"/>
                </a:lnTo>
                <a:lnTo>
                  <a:pt x="210" y="654"/>
                </a:lnTo>
                <a:cubicBezTo>
                  <a:pt x="253" y="670"/>
                  <a:pt x="299" y="679"/>
                  <a:pt x="347" y="679"/>
                </a:cubicBezTo>
                <a:cubicBezTo>
                  <a:pt x="394" y="679"/>
                  <a:pt x="440" y="669"/>
                  <a:pt x="483" y="653"/>
                </a:cubicBezTo>
                <a:lnTo>
                  <a:pt x="560" y="860"/>
                </a:lnTo>
                <a:lnTo>
                  <a:pt x="598" y="752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0" name="Freeform 48"/>
          <p:cNvSpPr>
            <a:spLocks noEditPoints="1"/>
          </p:cNvSpPr>
          <p:nvPr/>
        </p:nvSpPr>
        <p:spPr bwMode="auto">
          <a:xfrm>
            <a:off x="5065987" y="538052"/>
            <a:ext cx="582575" cy="564285"/>
          </a:xfrm>
          <a:custGeom>
            <a:avLst/>
            <a:gdLst>
              <a:gd name="T0" fmla="*/ 388 w 848"/>
              <a:gd name="T1" fmla="*/ 486 h 821"/>
              <a:gd name="T2" fmla="*/ 291 w 848"/>
              <a:gd name="T3" fmla="*/ 583 h 821"/>
              <a:gd name="T4" fmla="*/ 342 w 848"/>
              <a:gd name="T5" fmla="*/ 634 h 821"/>
              <a:gd name="T6" fmla="*/ 460 w 848"/>
              <a:gd name="T7" fmla="*/ 516 h 821"/>
              <a:gd name="T8" fmla="*/ 460 w 848"/>
              <a:gd name="T9" fmla="*/ 267 h 821"/>
              <a:gd name="T10" fmla="*/ 388 w 848"/>
              <a:gd name="T11" fmla="*/ 267 h 821"/>
              <a:gd name="T12" fmla="*/ 388 w 848"/>
              <a:gd name="T13" fmla="*/ 486 h 821"/>
              <a:gd name="T14" fmla="*/ 172 w 848"/>
              <a:gd name="T15" fmla="*/ 118 h 821"/>
              <a:gd name="T16" fmla="*/ 259 w 848"/>
              <a:gd name="T17" fmla="*/ 69 h 821"/>
              <a:gd name="T18" fmla="*/ 231 w 848"/>
              <a:gd name="T19" fmla="*/ 3 h 821"/>
              <a:gd name="T20" fmla="*/ 130 w 848"/>
              <a:gd name="T21" fmla="*/ 60 h 821"/>
              <a:gd name="T22" fmla="*/ 0 w 848"/>
              <a:gd name="T23" fmla="*/ 195 h 821"/>
              <a:gd name="T24" fmla="*/ 60 w 848"/>
              <a:gd name="T25" fmla="*/ 234 h 821"/>
              <a:gd name="T26" fmla="*/ 172 w 848"/>
              <a:gd name="T27" fmla="*/ 118 h 821"/>
              <a:gd name="T28" fmla="*/ 719 w 848"/>
              <a:gd name="T29" fmla="*/ 57 h 821"/>
              <a:gd name="T30" fmla="*/ 617 w 848"/>
              <a:gd name="T31" fmla="*/ 0 h 821"/>
              <a:gd name="T32" fmla="*/ 590 w 848"/>
              <a:gd name="T33" fmla="*/ 66 h 821"/>
              <a:gd name="T34" fmla="*/ 677 w 848"/>
              <a:gd name="T35" fmla="*/ 115 h 821"/>
              <a:gd name="T36" fmla="*/ 788 w 848"/>
              <a:gd name="T37" fmla="*/ 234 h 821"/>
              <a:gd name="T38" fmla="*/ 848 w 848"/>
              <a:gd name="T39" fmla="*/ 196 h 821"/>
              <a:gd name="T40" fmla="*/ 719 w 848"/>
              <a:gd name="T41" fmla="*/ 57 h 821"/>
              <a:gd name="T42" fmla="*/ 424 w 848"/>
              <a:gd name="T43" fmla="*/ 749 h 821"/>
              <a:gd name="T44" fmla="*/ 138 w 848"/>
              <a:gd name="T45" fmla="*/ 463 h 821"/>
              <a:gd name="T46" fmla="*/ 424 w 848"/>
              <a:gd name="T47" fmla="*/ 176 h 821"/>
              <a:gd name="T48" fmla="*/ 711 w 848"/>
              <a:gd name="T49" fmla="*/ 463 h 821"/>
              <a:gd name="T50" fmla="*/ 424 w 848"/>
              <a:gd name="T51" fmla="*/ 749 h 821"/>
              <a:gd name="T52" fmla="*/ 424 w 848"/>
              <a:gd name="T53" fmla="*/ 105 h 821"/>
              <a:gd name="T54" fmla="*/ 66 w 848"/>
              <a:gd name="T55" fmla="*/ 463 h 821"/>
              <a:gd name="T56" fmla="*/ 424 w 848"/>
              <a:gd name="T57" fmla="*/ 821 h 821"/>
              <a:gd name="T58" fmla="*/ 782 w 848"/>
              <a:gd name="T59" fmla="*/ 463 h 821"/>
              <a:gd name="T60" fmla="*/ 424 w 848"/>
              <a:gd name="T61" fmla="*/ 105 h 8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848" h="821">
                <a:moveTo>
                  <a:pt x="388" y="486"/>
                </a:moveTo>
                <a:lnTo>
                  <a:pt x="291" y="583"/>
                </a:lnTo>
                <a:lnTo>
                  <a:pt x="342" y="634"/>
                </a:lnTo>
                <a:lnTo>
                  <a:pt x="460" y="516"/>
                </a:lnTo>
                <a:lnTo>
                  <a:pt x="460" y="267"/>
                </a:lnTo>
                <a:lnTo>
                  <a:pt x="388" y="267"/>
                </a:lnTo>
                <a:lnTo>
                  <a:pt x="388" y="486"/>
                </a:lnTo>
                <a:close/>
                <a:moveTo>
                  <a:pt x="172" y="118"/>
                </a:moveTo>
                <a:cubicBezTo>
                  <a:pt x="199" y="98"/>
                  <a:pt x="228" y="82"/>
                  <a:pt x="259" y="69"/>
                </a:cubicBezTo>
                <a:lnTo>
                  <a:pt x="231" y="3"/>
                </a:lnTo>
                <a:cubicBezTo>
                  <a:pt x="195" y="18"/>
                  <a:pt x="161" y="37"/>
                  <a:pt x="130" y="60"/>
                </a:cubicBezTo>
                <a:cubicBezTo>
                  <a:pt x="76" y="98"/>
                  <a:pt x="33" y="144"/>
                  <a:pt x="0" y="195"/>
                </a:cubicBezTo>
                <a:lnTo>
                  <a:pt x="60" y="234"/>
                </a:lnTo>
                <a:cubicBezTo>
                  <a:pt x="89" y="190"/>
                  <a:pt x="126" y="151"/>
                  <a:pt x="172" y="118"/>
                </a:cubicBezTo>
                <a:close/>
                <a:moveTo>
                  <a:pt x="719" y="57"/>
                </a:moveTo>
                <a:cubicBezTo>
                  <a:pt x="687" y="34"/>
                  <a:pt x="653" y="15"/>
                  <a:pt x="617" y="0"/>
                </a:cubicBezTo>
                <a:lnTo>
                  <a:pt x="590" y="66"/>
                </a:lnTo>
                <a:cubicBezTo>
                  <a:pt x="620" y="79"/>
                  <a:pt x="650" y="95"/>
                  <a:pt x="677" y="115"/>
                </a:cubicBezTo>
                <a:cubicBezTo>
                  <a:pt x="721" y="147"/>
                  <a:pt x="758" y="187"/>
                  <a:pt x="788" y="234"/>
                </a:cubicBezTo>
                <a:lnTo>
                  <a:pt x="848" y="196"/>
                </a:lnTo>
                <a:cubicBezTo>
                  <a:pt x="814" y="141"/>
                  <a:pt x="770" y="95"/>
                  <a:pt x="719" y="57"/>
                </a:cubicBezTo>
                <a:close/>
                <a:moveTo>
                  <a:pt x="424" y="749"/>
                </a:moveTo>
                <a:cubicBezTo>
                  <a:pt x="266" y="749"/>
                  <a:pt x="138" y="621"/>
                  <a:pt x="138" y="463"/>
                </a:cubicBezTo>
                <a:cubicBezTo>
                  <a:pt x="138" y="305"/>
                  <a:pt x="266" y="176"/>
                  <a:pt x="424" y="176"/>
                </a:cubicBezTo>
                <a:cubicBezTo>
                  <a:pt x="582" y="176"/>
                  <a:pt x="711" y="305"/>
                  <a:pt x="711" y="463"/>
                </a:cubicBezTo>
                <a:cubicBezTo>
                  <a:pt x="711" y="621"/>
                  <a:pt x="582" y="749"/>
                  <a:pt x="424" y="749"/>
                </a:cubicBezTo>
                <a:close/>
                <a:moveTo>
                  <a:pt x="424" y="105"/>
                </a:moveTo>
                <a:cubicBezTo>
                  <a:pt x="227" y="105"/>
                  <a:pt x="66" y="265"/>
                  <a:pt x="66" y="463"/>
                </a:cubicBezTo>
                <a:cubicBezTo>
                  <a:pt x="66" y="660"/>
                  <a:pt x="227" y="821"/>
                  <a:pt x="424" y="821"/>
                </a:cubicBezTo>
                <a:cubicBezTo>
                  <a:pt x="622" y="821"/>
                  <a:pt x="782" y="660"/>
                  <a:pt x="782" y="463"/>
                </a:cubicBezTo>
                <a:cubicBezTo>
                  <a:pt x="782" y="265"/>
                  <a:pt x="622" y="105"/>
                  <a:pt x="424" y="105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1" name="Freeform 49"/>
          <p:cNvSpPr>
            <a:spLocks noEditPoints="1"/>
          </p:cNvSpPr>
          <p:nvPr/>
        </p:nvSpPr>
        <p:spPr bwMode="auto">
          <a:xfrm>
            <a:off x="3645589" y="524546"/>
            <a:ext cx="471465" cy="591300"/>
          </a:xfrm>
          <a:custGeom>
            <a:avLst/>
            <a:gdLst>
              <a:gd name="T0" fmla="*/ 358 w 687"/>
              <a:gd name="T1" fmla="*/ 718 h 859"/>
              <a:gd name="T2" fmla="*/ 170 w 687"/>
              <a:gd name="T3" fmla="*/ 456 h 859"/>
              <a:gd name="T4" fmla="*/ 170 w 687"/>
              <a:gd name="T5" fmla="*/ 456 h 859"/>
              <a:gd name="T6" fmla="*/ 154 w 687"/>
              <a:gd name="T7" fmla="*/ 439 h 859"/>
              <a:gd name="T8" fmla="*/ 154 w 687"/>
              <a:gd name="T9" fmla="*/ 439 h 859"/>
              <a:gd name="T10" fmla="*/ 72 w 687"/>
              <a:gd name="T11" fmla="*/ 322 h 859"/>
              <a:gd name="T12" fmla="*/ 144 w 687"/>
              <a:gd name="T13" fmla="*/ 250 h 859"/>
              <a:gd name="T14" fmla="*/ 204 w 687"/>
              <a:gd name="T15" fmla="*/ 361 h 859"/>
              <a:gd name="T16" fmla="*/ 194 w 687"/>
              <a:gd name="T17" fmla="*/ 376 h 859"/>
              <a:gd name="T18" fmla="*/ 235 w 687"/>
              <a:gd name="T19" fmla="*/ 421 h 859"/>
              <a:gd name="T20" fmla="*/ 428 w 687"/>
              <a:gd name="T21" fmla="*/ 313 h 859"/>
              <a:gd name="T22" fmla="*/ 358 w 687"/>
              <a:gd name="T23" fmla="*/ 718 h 859"/>
              <a:gd name="T24" fmla="*/ 466 w 687"/>
              <a:gd name="T25" fmla="*/ 71 h 859"/>
              <a:gd name="T26" fmla="*/ 530 w 687"/>
              <a:gd name="T27" fmla="*/ 175 h 859"/>
              <a:gd name="T28" fmla="*/ 286 w 687"/>
              <a:gd name="T29" fmla="*/ 310 h 859"/>
              <a:gd name="T30" fmla="*/ 217 w 687"/>
              <a:gd name="T31" fmla="*/ 199 h 859"/>
              <a:gd name="T32" fmla="*/ 466 w 687"/>
              <a:gd name="T33" fmla="*/ 71 h 859"/>
              <a:gd name="T34" fmla="*/ 493 w 687"/>
              <a:gd name="T35" fmla="*/ 277 h 859"/>
              <a:gd name="T36" fmla="*/ 581 w 687"/>
              <a:gd name="T37" fmla="*/ 228 h 859"/>
              <a:gd name="T38" fmla="*/ 466 w 687"/>
              <a:gd name="T39" fmla="*/ 0 h 859"/>
              <a:gd name="T40" fmla="*/ 396 w 687"/>
              <a:gd name="T41" fmla="*/ 17 h 859"/>
              <a:gd name="T42" fmla="*/ 74 w 687"/>
              <a:gd name="T43" fmla="*/ 197 h 859"/>
              <a:gd name="T44" fmla="*/ 74 w 687"/>
              <a:gd name="T45" fmla="*/ 197 h 859"/>
              <a:gd name="T46" fmla="*/ 0 w 687"/>
              <a:gd name="T47" fmla="*/ 322 h 859"/>
              <a:gd name="T48" fmla="*/ 38 w 687"/>
              <a:gd name="T49" fmla="*/ 419 h 859"/>
              <a:gd name="T50" fmla="*/ 85 w 687"/>
              <a:gd name="T51" fmla="*/ 469 h 859"/>
              <a:gd name="T52" fmla="*/ 254 w 687"/>
              <a:gd name="T53" fmla="*/ 652 h 859"/>
              <a:gd name="T54" fmla="*/ 287 w 687"/>
              <a:gd name="T55" fmla="*/ 716 h 859"/>
              <a:gd name="T56" fmla="*/ 250 w 687"/>
              <a:gd name="T57" fmla="*/ 778 h 859"/>
              <a:gd name="T58" fmla="*/ 250 w 687"/>
              <a:gd name="T59" fmla="*/ 778 h 859"/>
              <a:gd name="T60" fmla="*/ 167 w 687"/>
              <a:gd name="T61" fmla="*/ 664 h 859"/>
              <a:gd name="T62" fmla="*/ 118 w 687"/>
              <a:gd name="T63" fmla="*/ 611 h 859"/>
              <a:gd name="T64" fmla="*/ 215 w 687"/>
              <a:gd name="T65" fmla="*/ 859 h 859"/>
              <a:gd name="T66" fmla="*/ 285 w 687"/>
              <a:gd name="T67" fmla="*/ 841 h 859"/>
              <a:gd name="T68" fmla="*/ 285 w 687"/>
              <a:gd name="T69" fmla="*/ 841 h 859"/>
              <a:gd name="T70" fmla="*/ 607 w 687"/>
              <a:gd name="T71" fmla="*/ 662 h 859"/>
              <a:gd name="T72" fmla="*/ 681 w 687"/>
              <a:gd name="T73" fmla="*/ 537 h 859"/>
              <a:gd name="T74" fmla="*/ 493 w 687"/>
              <a:gd name="T75" fmla="*/ 277 h 8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687" h="859">
                <a:moveTo>
                  <a:pt x="358" y="718"/>
                </a:moveTo>
                <a:cubicBezTo>
                  <a:pt x="359" y="645"/>
                  <a:pt x="329" y="628"/>
                  <a:pt x="170" y="456"/>
                </a:cubicBezTo>
                <a:lnTo>
                  <a:pt x="170" y="456"/>
                </a:lnTo>
                <a:lnTo>
                  <a:pt x="154" y="439"/>
                </a:lnTo>
                <a:lnTo>
                  <a:pt x="154" y="439"/>
                </a:lnTo>
                <a:cubicBezTo>
                  <a:pt x="89" y="368"/>
                  <a:pt x="72" y="358"/>
                  <a:pt x="72" y="322"/>
                </a:cubicBezTo>
                <a:cubicBezTo>
                  <a:pt x="72" y="281"/>
                  <a:pt x="105" y="250"/>
                  <a:pt x="144" y="250"/>
                </a:cubicBezTo>
                <a:cubicBezTo>
                  <a:pt x="200" y="250"/>
                  <a:pt x="235" y="312"/>
                  <a:pt x="204" y="361"/>
                </a:cubicBezTo>
                <a:lnTo>
                  <a:pt x="194" y="376"/>
                </a:lnTo>
                <a:lnTo>
                  <a:pt x="235" y="421"/>
                </a:lnTo>
                <a:lnTo>
                  <a:pt x="428" y="313"/>
                </a:lnTo>
                <a:cubicBezTo>
                  <a:pt x="681" y="586"/>
                  <a:pt x="687" y="535"/>
                  <a:pt x="358" y="718"/>
                </a:cubicBezTo>
                <a:close/>
                <a:moveTo>
                  <a:pt x="466" y="71"/>
                </a:moveTo>
                <a:cubicBezTo>
                  <a:pt x="518" y="71"/>
                  <a:pt x="554" y="126"/>
                  <a:pt x="530" y="175"/>
                </a:cubicBezTo>
                <a:lnTo>
                  <a:pt x="286" y="310"/>
                </a:lnTo>
                <a:cubicBezTo>
                  <a:pt x="282" y="263"/>
                  <a:pt x="256" y="222"/>
                  <a:pt x="217" y="199"/>
                </a:cubicBezTo>
                <a:cubicBezTo>
                  <a:pt x="436" y="78"/>
                  <a:pt x="437" y="71"/>
                  <a:pt x="466" y="71"/>
                </a:cubicBezTo>
                <a:close/>
                <a:moveTo>
                  <a:pt x="493" y="277"/>
                </a:moveTo>
                <a:lnTo>
                  <a:pt x="581" y="228"/>
                </a:lnTo>
                <a:cubicBezTo>
                  <a:pt x="655" y="113"/>
                  <a:pt x="568" y="0"/>
                  <a:pt x="466" y="0"/>
                </a:cubicBezTo>
                <a:cubicBezTo>
                  <a:pt x="443" y="0"/>
                  <a:pt x="419" y="5"/>
                  <a:pt x="396" y="17"/>
                </a:cubicBezTo>
                <a:lnTo>
                  <a:pt x="74" y="197"/>
                </a:lnTo>
                <a:lnTo>
                  <a:pt x="74" y="197"/>
                </a:lnTo>
                <a:cubicBezTo>
                  <a:pt x="26" y="223"/>
                  <a:pt x="0" y="272"/>
                  <a:pt x="0" y="322"/>
                </a:cubicBezTo>
                <a:cubicBezTo>
                  <a:pt x="0" y="356"/>
                  <a:pt x="13" y="391"/>
                  <a:pt x="38" y="419"/>
                </a:cubicBezTo>
                <a:lnTo>
                  <a:pt x="85" y="469"/>
                </a:lnTo>
                <a:lnTo>
                  <a:pt x="254" y="652"/>
                </a:lnTo>
                <a:cubicBezTo>
                  <a:pt x="273" y="673"/>
                  <a:pt x="287" y="685"/>
                  <a:pt x="287" y="716"/>
                </a:cubicBezTo>
                <a:cubicBezTo>
                  <a:pt x="287" y="743"/>
                  <a:pt x="272" y="766"/>
                  <a:pt x="250" y="778"/>
                </a:cubicBezTo>
                <a:lnTo>
                  <a:pt x="250" y="778"/>
                </a:lnTo>
                <a:cubicBezTo>
                  <a:pt x="177" y="819"/>
                  <a:pt x="105" y="721"/>
                  <a:pt x="167" y="664"/>
                </a:cubicBezTo>
                <a:lnTo>
                  <a:pt x="118" y="611"/>
                </a:lnTo>
                <a:cubicBezTo>
                  <a:pt x="18" y="704"/>
                  <a:pt x="96" y="859"/>
                  <a:pt x="215" y="859"/>
                </a:cubicBezTo>
                <a:cubicBezTo>
                  <a:pt x="237" y="859"/>
                  <a:pt x="261" y="853"/>
                  <a:pt x="285" y="841"/>
                </a:cubicBezTo>
                <a:lnTo>
                  <a:pt x="285" y="841"/>
                </a:lnTo>
                <a:lnTo>
                  <a:pt x="607" y="662"/>
                </a:lnTo>
                <a:cubicBezTo>
                  <a:pt x="652" y="637"/>
                  <a:pt x="681" y="589"/>
                  <a:pt x="681" y="537"/>
                </a:cubicBezTo>
                <a:cubicBezTo>
                  <a:pt x="681" y="464"/>
                  <a:pt x="647" y="444"/>
                  <a:pt x="493" y="277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4" name="Freeform 52"/>
          <p:cNvSpPr>
            <a:spLocks noEditPoints="1"/>
          </p:cNvSpPr>
          <p:nvPr/>
        </p:nvSpPr>
        <p:spPr bwMode="auto">
          <a:xfrm>
            <a:off x="6540439" y="1780680"/>
            <a:ext cx="576567" cy="594301"/>
          </a:xfrm>
          <a:custGeom>
            <a:avLst/>
            <a:gdLst>
              <a:gd name="T0" fmla="*/ 179 w 839"/>
              <a:gd name="T1" fmla="*/ 143 h 860"/>
              <a:gd name="T2" fmla="*/ 609 w 839"/>
              <a:gd name="T3" fmla="*/ 143 h 860"/>
              <a:gd name="T4" fmla="*/ 609 w 839"/>
              <a:gd name="T5" fmla="*/ 269 h 860"/>
              <a:gd name="T6" fmla="*/ 474 w 839"/>
              <a:gd name="T7" fmla="*/ 383 h 860"/>
              <a:gd name="T8" fmla="*/ 526 w 839"/>
              <a:gd name="T9" fmla="*/ 440 h 860"/>
              <a:gd name="T10" fmla="*/ 839 w 839"/>
              <a:gd name="T11" fmla="*/ 208 h 860"/>
              <a:gd name="T12" fmla="*/ 781 w 839"/>
              <a:gd name="T13" fmla="*/ 151 h 860"/>
              <a:gd name="T14" fmla="*/ 680 w 839"/>
              <a:gd name="T15" fmla="*/ 215 h 860"/>
              <a:gd name="T16" fmla="*/ 680 w 839"/>
              <a:gd name="T17" fmla="*/ 72 h 860"/>
              <a:gd name="T18" fmla="*/ 430 w 839"/>
              <a:gd name="T19" fmla="*/ 72 h 860"/>
              <a:gd name="T20" fmla="*/ 430 w 839"/>
              <a:gd name="T21" fmla="*/ 0 h 860"/>
              <a:gd name="T22" fmla="*/ 358 w 839"/>
              <a:gd name="T23" fmla="*/ 0 h 860"/>
              <a:gd name="T24" fmla="*/ 358 w 839"/>
              <a:gd name="T25" fmla="*/ 72 h 860"/>
              <a:gd name="T26" fmla="*/ 107 w 839"/>
              <a:gd name="T27" fmla="*/ 72 h 860"/>
              <a:gd name="T28" fmla="*/ 107 w 839"/>
              <a:gd name="T29" fmla="*/ 537 h 860"/>
              <a:gd name="T30" fmla="*/ 179 w 839"/>
              <a:gd name="T31" fmla="*/ 537 h 860"/>
              <a:gd name="T32" fmla="*/ 179 w 839"/>
              <a:gd name="T33" fmla="*/ 143 h 860"/>
              <a:gd name="T34" fmla="*/ 680 w 839"/>
              <a:gd name="T35" fmla="*/ 537 h 860"/>
              <a:gd name="T36" fmla="*/ 680 w 839"/>
              <a:gd name="T37" fmla="*/ 393 h 860"/>
              <a:gd name="T38" fmla="*/ 609 w 839"/>
              <a:gd name="T39" fmla="*/ 447 h 860"/>
              <a:gd name="T40" fmla="*/ 609 w 839"/>
              <a:gd name="T41" fmla="*/ 537 h 860"/>
              <a:gd name="T42" fmla="*/ 680 w 839"/>
              <a:gd name="T43" fmla="*/ 537 h 860"/>
              <a:gd name="T44" fmla="*/ 371 w 839"/>
              <a:gd name="T45" fmla="*/ 473 h 860"/>
              <a:gd name="T46" fmla="*/ 414 w 839"/>
              <a:gd name="T47" fmla="*/ 530 h 860"/>
              <a:gd name="T48" fmla="*/ 506 w 839"/>
              <a:gd name="T49" fmla="*/ 461 h 860"/>
              <a:gd name="T50" fmla="*/ 463 w 839"/>
              <a:gd name="T51" fmla="*/ 404 h 860"/>
              <a:gd name="T52" fmla="*/ 371 w 839"/>
              <a:gd name="T53" fmla="*/ 473 h 860"/>
              <a:gd name="T54" fmla="*/ 0 w 839"/>
              <a:gd name="T55" fmla="*/ 681 h 860"/>
              <a:gd name="T56" fmla="*/ 233 w 839"/>
              <a:gd name="T57" fmla="*/ 681 h 860"/>
              <a:gd name="T58" fmla="*/ 166 w 839"/>
              <a:gd name="T59" fmla="*/ 860 h 860"/>
              <a:gd name="T60" fmla="*/ 243 w 839"/>
              <a:gd name="T61" fmla="*/ 860 h 860"/>
              <a:gd name="T62" fmla="*/ 310 w 839"/>
              <a:gd name="T63" fmla="*/ 681 h 860"/>
              <a:gd name="T64" fmla="*/ 358 w 839"/>
              <a:gd name="T65" fmla="*/ 681 h 860"/>
              <a:gd name="T66" fmla="*/ 358 w 839"/>
              <a:gd name="T67" fmla="*/ 860 h 860"/>
              <a:gd name="T68" fmla="*/ 430 w 839"/>
              <a:gd name="T69" fmla="*/ 860 h 860"/>
              <a:gd name="T70" fmla="*/ 430 w 839"/>
              <a:gd name="T71" fmla="*/ 681 h 860"/>
              <a:gd name="T72" fmla="*/ 547 w 839"/>
              <a:gd name="T73" fmla="*/ 681 h 860"/>
              <a:gd name="T74" fmla="*/ 614 w 839"/>
              <a:gd name="T75" fmla="*/ 860 h 860"/>
              <a:gd name="T76" fmla="*/ 690 w 839"/>
              <a:gd name="T77" fmla="*/ 860 h 860"/>
              <a:gd name="T78" fmla="*/ 623 w 839"/>
              <a:gd name="T79" fmla="*/ 681 h 860"/>
              <a:gd name="T80" fmla="*/ 788 w 839"/>
              <a:gd name="T81" fmla="*/ 681 h 860"/>
              <a:gd name="T82" fmla="*/ 788 w 839"/>
              <a:gd name="T83" fmla="*/ 609 h 860"/>
              <a:gd name="T84" fmla="*/ 0 w 839"/>
              <a:gd name="T85" fmla="*/ 609 h 860"/>
              <a:gd name="T86" fmla="*/ 0 w 839"/>
              <a:gd name="T87" fmla="*/ 681 h 8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839" h="860">
                <a:moveTo>
                  <a:pt x="179" y="143"/>
                </a:moveTo>
                <a:lnTo>
                  <a:pt x="609" y="143"/>
                </a:lnTo>
                <a:lnTo>
                  <a:pt x="609" y="269"/>
                </a:lnTo>
                <a:lnTo>
                  <a:pt x="474" y="383"/>
                </a:lnTo>
                <a:lnTo>
                  <a:pt x="526" y="440"/>
                </a:lnTo>
                <a:lnTo>
                  <a:pt x="839" y="208"/>
                </a:lnTo>
                <a:lnTo>
                  <a:pt x="781" y="151"/>
                </a:lnTo>
                <a:lnTo>
                  <a:pt x="680" y="215"/>
                </a:lnTo>
                <a:lnTo>
                  <a:pt x="680" y="72"/>
                </a:lnTo>
                <a:lnTo>
                  <a:pt x="430" y="72"/>
                </a:lnTo>
                <a:lnTo>
                  <a:pt x="430" y="0"/>
                </a:lnTo>
                <a:lnTo>
                  <a:pt x="358" y="0"/>
                </a:lnTo>
                <a:lnTo>
                  <a:pt x="358" y="72"/>
                </a:lnTo>
                <a:lnTo>
                  <a:pt x="107" y="72"/>
                </a:lnTo>
                <a:lnTo>
                  <a:pt x="107" y="537"/>
                </a:lnTo>
                <a:lnTo>
                  <a:pt x="179" y="537"/>
                </a:lnTo>
                <a:lnTo>
                  <a:pt x="179" y="143"/>
                </a:lnTo>
                <a:close/>
                <a:moveTo>
                  <a:pt x="680" y="537"/>
                </a:moveTo>
                <a:lnTo>
                  <a:pt x="680" y="393"/>
                </a:lnTo>
                <a:lnTo>
                  <a:pt x="609" y="447"/>
                </a:lnTo>
                <a:lnTo>
                  <a:pt x="609" y="537"/>
                </a:lnTo>
                <a:lnTo>
                  <a:pt x="680" y="537"/>
                </a:lnTo>
                <a:close/>
                <a:moveTo>
                  <a:pt x="371" y="473"/>
                </a:moveTo>
                <a:lnTo>
                  <a:pt x="414" y="530"/>
                </a:lnTo>
                <a:lnTo>
                  <a:pt x="506" y="461"/>
                </a:lnTo>
                <a:lnTo>
                  <a:pt x="463" y="404"/>
                </a:lnTo>
                <a:lnTo>
                  <a:pt x="371" y="473"/>
                </a:lnTo>
                <a:close/>
                <a:moveTo>
                  <a:pt x="0" y="681"/>
                </a:moveTo>
                <a:lnTo>
                  <a:pt x="233" y="681"/>
                </a:lnTo>
                <a:lnTo>
                  <a:pt x="166" y="860"/>
                </a:lnTo>
                <a:lnTo>
                  <a:pt x="243" y="860"/>
                </a:lnTo>
                <a:lnTo>
                  <a:pt x="310" y="681"/>
                </a:lnTo>
                <a:lnTo>
                  <a:pt x="358" y="681"/>
                </a:lnTo>
                <a:lnTo>
                  <a:pt x="358" y="860"/>
                </a:lnTo>
                <a:lnTo>
                  <a:pt x="430" y="860"/>
                </a:lnTo>
                <a:lnTo>
                  <a:pt x="430" y="681"/>
                </a:lnTo>
                <a:lnTo>
                  <a:pt x="547" y="681"/>
                </a:lnTo>
                <a:lnTo>
                  <a:pt x="614" y="860"/>
                </a:lnTo>
                <a:lnTo>
                  <a:pt x="690" y="860"/>
                </a:lnTo>
                <a:lnTo>
                  <a:pt x="623" y="681"/>
                </a:lnTo>
                <a:lnTo>
                  <a:pt x="788" y="681"/>
                </a:lnTo>
                <a:lnTo>
                  <a:pt x="788" y="609"/>
                </a:lnTo>
                <a:lnTo>
                  <a:pt x="0" y="609"/>
                </a:lnTo>
                <a:lnTo>
                  <a:pt x="0" y="68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5" name="Freeform 53"/>
          <p:cNvSpPr>
            <a:spLocks noEditPoints="1"/>
          </p:cNvSpPr>
          <p:nvPr/>
        </p:nvSpPr>
        <p:spPr bwMode="auto">
          <a:xfrm>
            <a:off x="5050971" y="1810696"/>
            <a:ext cx="612604" cy="534269"/>
          </a:xfrm>
          <a:custGeom>
            <a:avLst/>
            <a:gdLst>
              <a:gd name="T0" fmla="*/ 408 w 888"/>
              <a:gd name="T1" fmla="*/ 61 h 777"/>
              <a:gd name="T2" fmla="*/ 337 w 888"/>
              <a:gd name="T3" fmla="*/ 61 h 777"/>
              <a:gd name="T4" fmla="*/ 337 w 888"/>
              <a:gd name="T5" fmla="*/ 539 h 777"/>
              <a:gd name="T6" fmla="*/ 408 w 888"/>
              <a:gd name="T7" fmla="*/ 556 h 777"/>
              <a:gd name="T8" fmla="*/ 408 w 888"/>
              <a:gd name="T9" fmla="*/ 61 h 777"/>
              <a:gd name="T10" fmla="*/ 552 w 888"/>
              <a:gd name="T11" fmla="*/ 61 h 777"/>
              <a:gd name="T12" fmla="*/ 480 w 888"/>
              <a:gd name="T13" fmla="*/ 61 h 777"/>
              <a:gd name="T14" fmla="*/ 480 w 888"/>
              <a:gd name="T15" fmla="*/ 556 h 777"/>
              <a:gd name="T16" fmla="*/ 552 w 888"/>
              <a:gd name="T17" fmla="*/ 539 h 777"/>
              <a:gd name="T18" fmla="*/ 552 w 888"/>
              <a:gd name="T19" fmla="*/ 61 h 777"/>
              <a:gd name="T20" fmla="*/ 829 w 888"/>
              <a:gd name="T21" fmla="*/ 27 h 777"/>
              <a:gd name="T22" fmla="*/ 734 w 888"/>
              <a:gd name="T23" fmla="*/ 5 h 777"/>
              <a:gd name="T24" fmla="*/ 652 w 888"/>
              <a:gd name="T25" fmla="*/ 56 h 777"/>
              <a:gd name="T26" fmla="*/ 696 w 888"/>
              <a:gd name="T27" fmla="*/ 357 h 777"/>
              <a:gd name="T28" fmla="*/ 634 w 888"/>
              <a:gd name="T29" fmla="*/ 526 h 777"/>
              <a:gd name="T30" fmla="*/ 444 w 888"/>
              <a:gd name="T31" fmla="*/ 595 h 777"/>
              <a:gd name="T32" fmla="*/ 254 w 888"/>
              <a:gd name="T33" fmla="*/ 526 h 777"/>
              <a:gd name="T34" fmla="*/ 193 w 888"/>
              <a:gd name="T35" fmla="*/ 357 h 777"/>
              <a:gd name="T36" fmla="*/ 237 w 888"/>
              <a:gd name="T37" fmla="*/ 57 h 777"/>
              <a:gd name="T38" fmla="*/ 155 w 888"/>
              <a:gd name="T39" fmla="*/ 5 h 777"/>
              <a:gd name="T40" fmla="*/ 60 w 888"/>
              <a:gd name="T41" fmla="*/ 27 h 777"/>
              <a:gd name="T42" fmla="*/ 35 w 888"/>
              <a:gd name="T43" fmla="*/ 179 h 777"/>
              <a:gd name="T44" fmla="*/ 92 w 888"/>
              <a:gd name="T45" fmla="*/ 216 h 777"/>
              <a:gd name="T46" fmla="*/ 134 w 888"/>
              <a:gd name="T47" fmla="*/ 189 h 777"/>
              <a:gd name="T48" fmla="*/ 107 w 888"/>
              <a:gd name="T49" fmla="*/ 146 h 777"/>
              <a:gd name="T50" fmla="*/ 93 w 888"/>
              <a:gd name="T51" fmla="*/ 137 h 777"/>
              <a:gd name="T52" fmla="*/ 102 w 888"/>
              <a:gd name="T53" fmla="*/ 85 h 777"/>
              <a:gd name="T54" fmla="*/ 143 w 888"/>
              <a:gd name="T55" fmla="*/ 76 h 777"/>
              <a:gd name="T56" fmla="*/ 179 w 888"/>
              <a:gd name="T57" fmla="*/ 99 h 777"/>
              <a:gd name="T58" fmla="*/ 130 w 888"/>
              <a:gd name="T59" fmla="*/ 321 h 777"/>
              <a:gd name="T60" fmla="*/ 122 w 888"/>
              <a:gd name="T61" fmla="*/ 330 h 777"/>
              <a:gd name="T62" fmla="*/ 122 w 888"/>
              <a:gd name="T63" fmla="*/ 341 h 777"/>
              <a:gd name="T64" fmla="*/ 202 w 888"/>
              <a:gd name="T65" fmla="*/ 575 h 777"/>
              <a:gd name="T66" fmla="*/ 445 w 888"/>
              <a:gd name="T67" fmla="*/ 666 h 777"/>
              <a:gd name="T68" fmla="*/ 687 w 888"/>
              <a:gd name="T69" fmla="*/ 575 h 777"/>
              <a:gd name="T70" fmla="*/ 767 w 888"/>
              <a:gd name="T71" fmla="*/ 341 h 777"/>
              <a:gd name="T72" fmla="*/ 766 w 888"/>
              <a:gd name="T73" fmla="*/ 330 h 777"/>
              <a:gd name="T74" fmla="*/ 759 w 888"/>
              <a:gd name="T75" fmla="*/ 321 h 777"/>
              <a:gd name="T76" fmla="*/ 710 w 888"/>
              <a:gd name="T77" fmla="*/ 98 h 777"/>
              <a:gd name="T78" fmla="*/ 746 w 888"/>
              <a:gd name="T79" fmla="*/ 76 h 777"/>
              <a:gd name="T80" fmla="*/ 787 w 888"/>
              <a:gd name="T81" fmla="*/ 85 h 777"/>
              <a:gd name="T82" fmla="*/ 795 w 888"/>
              <a:gd name="T83" fmla="*/ 137 h 777"/>
              <a:gd name="T84" fmla="*/ 782 w 888"/>
              <a:gd name="T85" fmla="*/ 146 h 777"/>
              <a:gd name="T86" fmla="*/ 754 w 888"/>
              <a:gd name="T87" fmla="*/ 189 h 777"/>
              <a:gd name="T88" fmla="*/ 797 w 888"/>
              <a:gd name="T89" fmla="*/ 216 h 777"/>
              <a:gd name="T90" fmla="*/ 854 w 888"/>
              <a:gd name="T91" fmla="*/ 179 h 777"/>
              <a:gd name="T92" fmla="*/ 829 w 888"/>
              <a:gd name="T93" fmla="*/ 27 h 777"/>
              <a:gd name="T94" fmla="*/ 301 w 888"/>
              <a:gd name="T95" fmla="*/ 777 h 777"/>
              <a:gd name="T96" fmla="*/ 587 w 888"/>
              <a:gd name="T97" fmla="*/ 777 h 777"/>
              <a:gd name="T98" fmla="*/ 587 w 888"/>
              <a:gd name="T99" fmla="*/ 705 h 777"/>
              <a:gd name="T100" fmla="*/ 301 w 888"/>
              <a:gd name="T101" fmla="*/ 705 h 777"/>
              <a:gd name="T102" fmla="*/ 301 w 888"/>
              <a:gd name="T103" fmla="*/ 777 h 77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888" h="777">
                <a:moveTo>
                  <a:pt x="408" y="61"/>
                </a:moveTo>
                <a:lnTo>
                  <a:pt x="337" y="61"/>
                </a:lnTo>
                <a:lnTo>
                  <a:pt x="337" y="539"/>
                </a:lnTo>
                <a:cubicBezTo>
                  <a:pt x="372" y="548"/>
                  <a:pt x="372" y="554"/>
                  <a:pt x="408" y="556"/>
                </a:cubicBezTo>
                <a:lnTo>
                  <a:pt x="408" y="61"/>
                </a:lnTo>
                <a:close/>
                <a:moveTo>
                  <a:pt x="552" y="61"/>
                </a:moveTo>
                <a:lnTo>
                  <a:pt x="480" y="61"/>
                </a:lnTo>
                <a:lnTo>
                  <a:pt x="480" y="556"/>
                </a:lnTo>
                <a:cubicBezTo>
                  <a:pt x="516" y="554"/>
                  <a:pt x="516" y="548"/>
                  <a:pt x="552" y="539"/>
                </a:cubicBezTo>
                <a:lnTo>
                  <a:pt x="552" y="61"/>
                </a:lnTo>
                <a:close/>
                <a:moveTo>
                  <a:pt x="829" y="27"/>
                </a:moveTo>
                <a:cubicBezTo>
                  <a:pt x="801" y="8"/>
                  <a:pt x="768" y="0"/>
                  <a:pt x="734" y="5"/>
                </a:cubicBezTo>
                <a:cubicBezTo>
                  <a:pt x="700" y="11"/>
                  <a:pt x="671" y="29"/>
                  <a:pt x="652" y="56"/>
                </a:cubicBezTo>
                <a:cubicBezTo>
                  <a:pt x="591" y="139"/>
                  <a:pt x="637" y="279"/>
                  <a:pt x="696" y="357"/>
                </a:cubicBezTo>
                <a:cubicBezTo>
                  <a:pt x="695" y="386"/>
                  <a:pt x="689" y="468"/>
                  <a:pt x="634" y="526"/>
                </a:cubicBezTo>
                <a:cubicBezTo>
                  <a:pt x="592" y="572"/>
                  <a:pt x="528" y="595"/>
                  <a:pt x="444" y="595"/>
                </a:cubicBezTo>
                <a:cubicBezTo>
                  <a:pt x="361" y="595"/>
                  <a:pt x="297" y="572"/>
                  <a:pt x="254" y="526"/>
                </a:cubicBezTo>
                <a:cubicBezTo>
                  <a:pt x="199" y="468"/>
                  <a:pt x="193" y="385"/>
                  <a:pt x="193" y="357"/>
                </a:cubicBezTo>
                <a:cubicBezTo>
                  <a:pt x="252" y="279"/>
                  <a:pt x="298" y="139"/>
                  <a:pt x="237" y="57"/>
                </a:cubicBezTo>
                <a:cubicBezTo>
                  <a:pt x="217" y="29"/>
                  <a:pt x="188" y="11"/>
                  <a:pt x="155" y="5"/>
                </a:cubicBezTo>
                <a:cubicBezTo>
                  <a:pt x="121" y="0"/>
                  <a:pt x="87" y="8"/>
                  <a:pt x="60" y="27"/>
                </a:cubicBezTo>
                <a:cubicBezTo>
                  <a:pt x="11" y="63"/>
                  <a:pt x="0" y="130"/>
                  <a:pt x="35" y="179"/>
                </a:cubicBezTo>
                <a:cubicBezTo>
                  <a:pt x="49" y="198"/>
                  <a:pt x="69" y="212"/>
                  <a:pt x="92" y="216"/>
                </a:cubicBezTo>
                <a:cubicBezTo>
                  <a:pt x="111" y="220"/>
                  <a:pt x="130" y="208"/>
                  <a:pt x="134" y="189"/>
                </a:cubicBezTo>
                <a:cubicBezTo>
                  <a:pt x="138" y="169"/>
                  <a:pt x="126" y="150"/>
                  <a:pt x="107" y="146"/>
                </a:cubicBezTo>
                <a:cubicBezTo>
                  <a:pt x="101" y="145"/>
                  <a:pt x="96" y="142"/>
                  <a:pt x="93" y="137"/>
                </a:cubicBezTo>
                <a:cubicBezTo>
                  <a:pt x="81" y="121"/>
                  <a:pt x="85" y="97"/>
                  <a:pt x="102" y="85"/>
                </a:cubicBezTo>
                <a:cubicBezTo>
                  <a:pt x="114" y="77"/>
                  <a:pt x="128" y="73"/>
                  <a:pt x="143" y="76"/>
                </a:cubicBezTo>
                <a:cubicBezTo>
                  <a:pt x="157" y="78"/>
                  <a:pt x="170" y="86"/>
                  <a:pt x="179" y="99"/>
                </a:cubicBezTo>
                <a:cubicBezTo>
                  <a:pt x="215" y="148"/>
                  <a:pt x="182" y="259"/>
                  <a:pt x="130" y="321"/>
                </a:cubicBezTo>
                <a:lnTo>
                  <a:pt x="122" y="330"/>
                </a:lnTo>
                <a:lnTo>
                  <a:pt x="122" y="341"/>
                </a:lnTo>
                <a:cubicBezTo>
                  <a:pt x="121" y="347"/>
                  <a:pt x="113" y="480"/>
                  <a:pt x="202" y="575"/>
                </a:cubicBezTo>
                <a:cubicBezTo>
                  <a:pt x="258" y="636"/>
                  <a:pt x="340" y="666"/>
                  <a:pt x="445" y="666"/>
                </a:cubicBezTo>
                <a:cubicBezTo>
                  <a:pt x="549" y="666"/>
                  <a:pt x="630" y="636"/>
                  <a:pt x="687" y="575"/>
                </a:cubicBezTo>
                <a:cubicBezTo>
                  <a:pt x="775" y="480"/>
                  <a:pt x="767" y="347"/>
                  <a:pt x="767" y="341"/>
                </a:cubicBezTo>
                <a:lnTo>
                  <a:pt x="766" y="330"/>
                </a:lnTo>
                <a:lnTo>
                  <a:pt x="759" y="321"/>
                </a:lnTo>
                <a:cubicBezTo>
                  <a:pt x="706" y="259"/>
                  <a:pt x="673" y="148"/>
                  <a:pt x="710" y="98"/>
                </a:cubicBezTo>
                <a:cubicBezTo>
                  <a:pt x="718" y="86"/>
                  <a:pt x="731" y="78"/>
                  <a:pt x="746" y="76"/>
                </a:cubicBezTo>
                <a:cubicBezTo>
                  <a:pt x="760" y="73"/>
                  <a:pt x="775" y="77"/>
                  <a:pt x="787" y="85"/>
                </a:cubicBezTo>
                <a:cubicBezTo>
                  <a:pt x="803" y="97"/>
                  <a:pt x="807" y="121"/>
                  <a:pt x="795" y="137"/>
                </a:cubicBezTo>
                <a:cubicBezTo>
                  <a:pt x="792" y="142"/>
                  <a:pt x="787" y="145"/>
                  <a:pt x="782" y="146"/>
                </a:cubicBezTo>
                <a:cubicBezTo>
                  <a:pt x="762" y="150"/>
                  <a:pt x="750" y="169"/>
                  <a:pt x="754" y="189"/>
                </a:cubicBezTo>
                <a:cubicBezTo>
                  <a:pt x="758" y="208"/>
                  <a:pt x="777" y="220"/>
                  <a:pt x="797" y="216"/>
                </a:cubicBezTo>
                <a:cubicBezTo>
                  <a:pt x="820" y="212"/>
                  <a:pt x="840" y="198"/>
                  <a:pt x="854" y="179"/>
                </a:cubicBezTo>
                <a:cubicBezTo>
                  <a:pt x="888" y="130"/>
                  <a:pt x="877" y="63"/>
                  <a:pt x="829" y="27"/>
                </a:cubicBezTo>
                <a:close/>
                <a:moveTo>
                  <a:pt x="301" y="777"/>
                </a:moveTo>
                <a:lnTo>
                  <a:pt x="587" y="777"/>
                </a:lnTo>
                <a:lnTo>
                  <a:pt x="587" y="705"/>
                </a:lnTo>
                <a:lnTo>
                  <a:pt x="301" y="705"/>
                </a:lnTo>
                <a:lnTo>
                  <a:pt x="301" y="777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7" name="Freeform 55"/>
          <p:cNvSpPr>
            <a:spLocks noEditPoints="1"/>
          </p:cNvSpPr>
          <p:nvPr/>
        </p:nvSpPr>
        <p:spPr bwMode="auto">
          <a:xfrm>
            <a:off x="630619" y="562066"/>
            <a:ext cx="588580" cy="516260"/>
          </a:xfrm>
          <a:custGeom>
            <a:avLst/>
            <a:gdLst>
              <a:gd name="T0" fmla="*/ 608 w 859"/>
              <a:gd name="T1" fmla="*/ 0 h 752"/>
              <a:gd name="T2" fmla="*/ 250 w 859"/>
              <a:gd name="T3" fmla="*/ 0 h 752"/>
              <a:gd name="T4" fmla="*/ 250 w 859"/>
              <a:gd name="T5" fmla="*/ 72 h 752"/>
              <a:gd name="T6" fmla="*/ 608 w 859"/>
              <a:gd name="T7" fmla="*/ 72 h 752"/>
              <a:gd name="T8" fmla="*/ 608 w 859"/>
              <a:gd name="T9" fmla="*/ 0 h 752"/>
              <a:gd name="T10" fmla="*/ 608 w 859"/>
              <a:gd name="T11" fmla="*/ 394 h 752"/>
              <a:gd name="T12" fmla="*/ 608 w 859"/>
              <a:gd name="T13" fmla="*/ 322 h 752"/>
              <a:gd name="T14" fmla="*/ 537 w 859"/>
              <a:gd name="T15" fmla="*/ 322 h 752"/>
              <a:gd name="T16" fmla="*/ 537 w 859"/>
              <a:gd name="T17" fmla="*/ 394 h 752"/>
              <a:gd name="T18" fmla="*/ 322 w 859"/>
              <a:gd name="T19" fmla="*/ 394 h 752"/>
              <a:gd name="T20" fmla="*/ 322 w 859"/>
              <a:gd name="T21" fmla="*/ 322 h 752"/>
              <a:gd name="T22" fmla="*/ 250 w 859"/>
              <a:gd name="T23" fmla="*/ 322 h 752"/>
              <a:gd name="T24" fmla="*/ 250 w 859"/>
              <a:gd name="T25" fmla="*/ 394 h 752"/>
              <a:gd name="T26" fmla="*/ 71 w 859"/>
              <a:gd name="T27" fmla="*/ 394 h 752"/>
              <a:gd name="T28" fmla="*/ 71 w 859"/>
              <a:gd name="T29" fmla="*/ 215 h 752"/>
              <a:gd name="T30" fmla="*/ 787 w 859"/>
              <a:gd name="T31" fmla="*/ 215 h 752"/>
              <a:gd name="T32" fmla="*/ 787 w 859"/>
              <a:gd name="T33" fmla="*/ 394 h 752"/>
              <a:gd name="T34" fmla="*/ 608 w 859"/>
              <a:gd name="T35" fmla="*/ 394 h 752"/>
              <a:gd name="T36" fmla="*/ 0 w 859"/>
              <a:gd name="T37" fmla="*/ 143 h 752"/>
              <a:gd name="T38" fmla="*/ 0 w 859"/>
              <a:gd name="T39" fmla="*/ 376 h 752"/>
              <a:gd name="T40" fmla="*/ 71 w 859"/>
              <a:gd name="T41" fmla="*/ 466 h 752"/>
              <a:gd name="T42" fmla="*/ 250 w 859"/>
              <a:gd name="T43" fmla="*/ 466 h 752"/>
              <a:gd name="T44" fmla="*/ 250 w 859"/>
              <a:gd name="T45" fmla="*/ 537 h 752"/>
              <a:gd name="T46" fmla="*/ 322 w 859"/>
              <a:gd name="T47" fmla="*/ 537 h 752"/>
              <a:gd name="T48" fmla="*/ 322 w 859"/>
              <a:gd name="T49" fmla="*/ 466 h 752"/>
              <a:gd name="T50" fmla="*/ 537 w 859"/>
              <a:gd name="T51" fmla="*/ 466 h 752"/>
              <a:gd name="T52" fmla="*/ 537 w 859"/>
              <a:gd name="T53" fmla="*/ 537 h 752"/>
              <a:gd name="T54" fmla="*/ 608 w 859"/>
              <a:gd name="T55" fmla="*/ 537 h 752"/>
              <a:gd name="T56" fmla="*/ 608 w 859"/>
              <a:gd name="T57" fmla="*/ 466 h 752"/>
              <a:gd name="T58" fmla="*/ 788 w 859"/>
              <a:gd name="T59" fmla="*/ 466 h 752"/>
              <a:gd name="T60" fmla="*/ 859 w 859"/>
              <a:gd name="T61" fmla="*/ 376 h 752"/>
              <a:gd name="T62" fmla="*/ 859 w 859"/>
              <a:gd name="T63" fmla="*/ 143 h 752"/>
              <a:gd name="T64" fmla="*/ 0 w 859"/>
              <a:gd name="T65" fmla="*/ 143 h 752"/>
              <a:gd name="T66" fmla="*/ 716 w 859"/>
              <a:gd name="T67" fmla="*/ 681 h 752"/>
              <a:gd name="T68" fmla="*/ 143 w 859"/>
              <a:gd name="T69" fmla="*/ 681 h 752"/>
              <a:gd name="T70" fmla="*/ 143 w 859"/>
              <a:gd name="T71" fmla="*/ 502 h 752"/>
              <a:gd name="T72" fmla="*/ 71 w 859"/>
              <a:gd name="T73" fmla="*/ 502 h 752"/>
              <a:gd name="T74" fmla="*/ 71 w 859"/>
              <a:gd name="T75" fmla="*/ 668 h 752"/>
              <a:gd name="T76" fmla="*/ 143 w 859"/>
              <a:gd name="T77" fmla="*/ 752 h 752"/>
              <a:gd name="T78" fmla="*/ 716 w 859"/>
              <a:gd name="T79" fmla="*/ 752 h 752"/>
              <a:gd name="T80" fmla="*/ 787 w 859"/>
              <a:gd name="T81" fmla="*/ 668 h 752"/>
              <a:gd name="T82" fmla="*/ 787 w 859"/>
              <a:gd name="T83" fmla="*/ 502 h 752"/>
              <a:gd name="T84" fmla="*/ 716 w 859"/>
              <a:gd name="T85" fmla="*/ 502 h 752"/>
              <a:gd name="T86" fmla="*/ 716 w 859"/>
              <a:gd name="T87" fmla="*/ 68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859" h="752">
                <a:moveTo>
                  <a:pt x="608" y="0"/>
                </a:moveTo>
                <a:lnTo>
                  <a:pt x="250" y="0"/>
                </a:lnTo>
                <a:lnTo>
                  <a:pt x="250" y="72"/>
                </a:lnTo>
                <a:lnTo>
                  <a:pt x="608" y="72"/>
                </a:lnTo>
                <a:lnTo>
                  <a:pt x="608" y="0"/>
                </a:lnTo>
                <a:close/>
                <a:moveTo>
                  <a:pt x="608" y="394"/>
                </a:moveTo>
                <a:lnTo>
                  <a:pt x="608" y="322"/>
                </a:lnTo>
                <a:lnTo>
                  <a:pt x="537" y="322"/>
                </a:lnTo>
                <a:lnTo>
                  <a:pt x="537" y="394"/>
                </a:lnTo>
                <a:lnTo>
                  <a:pt x="322" y="394"/>
                </a:lnTo>
                <a:lnTo>
                  <a:pt x="322" y="322"/>
                </a:lnTo>
                <a:lnTo>
                  <a:pt x="250" y="322"/>
                </a:lnTo>
                <a:lnTo>
                  <a:pt x="250" y="394"/>
                </a:lnTo>
                <a:lnTo>
                  <a:pt x="71" y="394"/>
                </a:lnTo>
                <a:lnTo>
                  <a:pt x="71" y="215"/>
                </a:lnTo>
                <a:lnTo>
                  <a:pt x="787" y="215"/>
                </a:lnTo>
                <a:lnTo>
                  <a:pt x="787" y="394"/>
                </a:lnTo>
                <a:lnTo>
                  <a:pt x="608" y="394"/>
                </a:lnTo>
                <a:close/>
                <a:moveTo>
                  <a:pt x="0" y="143"/>
                </a:moveTo>
                <a:lnTo>
                  <a:pt x="0" y="376"/>
                </a:lnTo>
                <a:cubicBezTo>
                  <a:pt x="0" y="416"/>
                  <a:pt x="32" y="466"/>
                  <a:pt x="71" y="466"/>
                </a:cubicBezTo>
                <a:lnTo>
                  <a:pt x="250" y="466"/>
                </a:lnTo>
                <a:lnTo>
                  <a:pt x="250" y="537"/>
                </a:lnTo>
                <a:lnTo>
                  <a:pt x="322" y="537"/>
                </a:lnTo>
                <a:lnTo>
                  <a:pt x="322" y="466"/>
                </a:lnTo>
                <a:lnTo>
                  <a:pt x="537" y="466"/>
                </a:lnTo>
                <a:lnTo>
                  <a:pt x="537" y="537"/>
                </a:lnTo>
                <a:lnTo>
                  <a:pt x="608" y="537"/>
                </a:lnTo>
                <a:lnTo>
                  <a:pt x="608" y="466"/>
                </a:lnTo>
                <a:lnTo>
                  <a:pt x="788" y="466"/>
                </a:lnTo>
                <a:cubicBezTo>
                  <a:pt x="827" y="466"/>
                  <a:pt x="859" y="416"/>
                  <a:pt x="859" y="376"/>
                </a:cubicBezTo>
                <a:lnTo>
                  <a:pt x="859" y="143"/>
                </a:lnTo>
                <a:lnTo>
                  <a:pt x="0" y="143"/>
                </a:lnTo>
                <a:close/>
                <a:moveTo>
                  <a:pt x="716" y="681"/>
                </a:moveTo>
                <a:lnTo>
                  <a:pt x="143" y="681"/>
                </a:lnTo>
                <a:lnTo>
                  <a:pt x="143" y="502"/>
                </a:lnTo>
                <a:lnTo>
                  <a:pt x="71" y="502"/>
                </a:lnTo>
                <a:lnTo>
                  <a:pt x="71" y="668"/>
                </a:lnTo>
                <a:cubicBezTo>
                  <a:pt x="71" y="704"/>
                  <a:pt x="104" y="752"/>
                  <a:pt x="143" y="752"/>
                </a:cubicBezTo>
                <a:lnTo>
                  <a:pt x="716" y="752"/>
                </a:lnTo>
                <a:cubicBezTo>
                  <a:pt x="755" y="752"/>
                  <a:pt x="787" y="704"/>
                  <a:pt x="787" y="668"/>
                </a:cubicBezTo>
                <a:lnTo>
                  <a:pt x="787" y="502"/>
                </a:lnTo>
                <a:lnTo>
                  <a:pt x="716" y="502"/>
                </a:lnTo>
                <a:lnTo>
                  <a:pt x="716" y="68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3" name="Freeform 71"/>
          <p:cNvSpPr>
            <a:spLocks noEditPoints="1"/>
          </p:cNvSpPr>
          <p:nvPr/>
        </p:nvSpPr>
        <p:spPr bwMode="auto">
          <a:xfrm>
            <a:off x="6540439" y="532049"/>
            <a:ext cx="588580" cy="576291"/>
          </a:xfrm>
          <a:custGeom>
            <a:avLst/>
            <a:gdLst>
              <a:gd name="T0" fmla="*/ 394 w 859"/>
              <a:gd name="T1" fmla="*/ 227 h 836"/>
              <a:gd name="T2" fmla="*/ 465 w 859"/>
              <a:gd name="T3" fmla="*/ 299 h 836"/>
              <a:gd name="T4" fmla="*/ 465 w 859"/>
              <a:gd name="T5" fmla="*/ 836 h 836"/>
              <a:gd name="T6" fmla="*/ 535 w 859"/>
              <a:gd name="T7" fmla="*/ 371 h 836"/>
              <a:gd name="T8" fmla="*/ 465 w 859"/>
              <a:gd name="T9" fmla="*/ 836 h 836"/>
              <a:gd name="T10" fmla="*/ 394 w 859"/>
              <a:gd name="T11" fmla="*/ 836 h 836"/>
              <a:gd name="T12" fmla="*/ 324 w 859"/>
              <a:gd name="T13" fmla="*/ 371 h 836"/>
              <a:gd name="T14" fmla="*/ 215 w 859"/>
              <a:gd name="T15" fmla="*/ 172 h 836"/>
              <a:gd name="T16" fmla="*/ 286 w 859"/>
              <a:gd name="T17" fmla="*/ 836 h 836"/>
              <a:gd name="T18" fmla="*/ 430 w 859"/>
              <a:gd name="T19" fmla="*/ 92 h 836"/>
              <a:gd name="T20" fmla="*/ 573 w 859"/>
              <a:gd name="T21" fmla="*/ 836 h 836"/>
              <a:gd name="T22" fmla="*/ 645 w 859"/>
              <a:gd name="T23" fmla="*/ 172 h 836"/>
              <a:gd name="T24" fmla="*/ 215 w 859"/>
              <a:gd name="T25" fmla="*/ 172 h 836"/>
              <a:gd name="T26" fmla="*/ 752 w 859"/>
              <a:gd name="T27" fmla="*/ 800 h 836"/>
              <a:gd name="T28" fmla="*/ 680 w 859"/>
              <a:gd name="T29" fmla="*/ 729 h 836"/>
              <a:gd name="T30" fmla="*/ 680 w 859"/>
              <a:gd name="T31" fmla="*/ 657 h 836"/>
              <a:gd name="T32" fmla="*/ 752 w 859"/>
              <a:gd name="T33" fmla="*/ 585 h 836"/>
              <a:gd name="T34" fmla="*/ 680 w 859"/>
              <a:gd name="T35" fmla="*/ 657 h 836"/>
              <a:gd name="T36" fmla="*/ 752 w 859"/>
              <a:gd name="T37" fmla="*/ 514 h 836"/>
              <a:gd name="T38" fmla="*/ 680 w 859"/>
              <a:gd name="T39" fmla="*/ 442 h 836"/>
              <a:gd name="T40" fmla="*/ 107 w 859"/>
              <a:gd name="T41" fmla="*/ 800 h 836"/>
              <a:gd name="T42" fmla="*/ 179 w 859"/>
              <a:gd name="T43" fmla="*/ 729 h 836"/>
              <a:gd name="T44" fmla="*/ 107 w 859"/>
              <a:gd name="T45" fmla="*/ 800 h 836"/>
              <a:gd name="T46" fmla="*/ 179 w 859"/>
              <a:gd name="T47" fmla="*/ 657 h 836"/>
              <a:gd name="T48" fmla="*/ 107 w 859"/>
              <a:gd name="T49" fmla="*/ 585 h 836"/>
              <a:gd name="T50" fmla="*/ 107 w 859"/>
              <a:gd name="T51" fmla="*/ 514 h 836"/>
              <a:gd name="T52" fmla="*/ 179 w 859"/>
              <a:gd name="T53" fmla="*/ 442 h 836"/>
              <a:gd name="T54" fmla="*/ 107 w 859"/>
              <a:gd name="T55" fmla="*/ 514 h 836"/>
              <a:gd name="T56" fmla="*/ 680 w 859"/>
              <a:gd name="T57" fmla="*/ 371 h 836"/>
              <a:gd name="T58" fmla="*/ 788 w 859"/>
              <a:gd name="T59" fmla="*/ 836 h 836"/>
              <a:gd name="T60" fmla="*/ 859 w 859"/>
              <a:gd name="T61" fmla="*/ 299 h 836"/>
              <a:gd name="T62" fmla="*/ 0 w 859"/>
              <a:gd name="T63" fmla="*/ 836 h 836"/>
              <a:gd name="T64" fmla="*/ 72 w 859"/>
              <a:gd name="T65" fmla="*/ 371 h 836"/>
              <a:gd name="T66" fmla="*/ 179 w 859"/>
              <a:gd name="T67" fmla="*/ 299 h 836"/>
              <a:gd name="T68" fmla="*/ 0 w 859"/>
              <a:gd name="T69" fmla="*/ 836 h 8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859" h="836">
                <a:moveTo>
                  <a:pt x="465" y="227"/>
                </a:moveTo>
                <a:lnTo>
                  <a:pt x="394" y="227"/>
                </a:lnTo>
                <a:lnTo>
                  <a:pt x="394" y="299"/>
                </a:lnTo>
                <a:lnTo>
                  <a:pt x="465" y="299"/>
                </a:lnTo>
                <a:lnTo>
                  <a:pt x="465" y="227"/>
                </a:lnTo>
                <a:close/>
                <a:moveTo>
                  <a:pt x="465" y="836"/>
                </a:moveTo>
                <a:lnTo>
                  <a:pt x="535" y="836"/>
                </a:lnTo>
                <a:lnTo>
                  <a:pt x="535" y="371"/>
                </a:lnTo>
                <a:lnTo>
                  <a:pt x="465" y="371"/>
                </a:lnTo>
                <a:lnTo>
                  <a:pt x="465" y="836"/>
                </a:lnTo>
                <a:close/>
                <a:moveTo>
                  <a:pt x="324" y="836"/>
                </a:moveTo>
                <a:lnTo>
                  <a:pt x="394" y="836"/>
                </a:lnTo>
                <a:lnTo>
                  <a:pt x="394" y="371"/>
                </a:lnTo>
                <a:lnTo>
                  <a:pt x="324" y="371"/>
                </a:lnTo>
                <a:lnTo>
                  <a:pt x="324" y="836"/>
                </a:lnTo>
                <a:close/>
                <a:moveTo>
                  <a:pt x="215" y="172"/>
                </a:moveTo>
                <a:lnTo>
                  <a:pt x="215" y="836"/>
                </a:lnTo>
                <a:lnTo>
                  <a:pt x="286" y="836"/>
                </a:lnTo>
                <a:lnTo>
                  <a:pt x="286" y="207"/>
                </a:lnTo>
                <a:lnTo>
                  <a:pt x="430" y="92"/>
                </a:lnTo>
                <a:lnTo>
                  <a:pt x="573" y="207"/>
                </a:lnTo>
                <a:lnTo>
                  <a:pt x="573" y="836"/>
                </a:lnTo>
                <a:lnTo>
                  <a:pt x="645" y="836"/>
                </a:lnTo>
                <a:lnTo>
                  <a:pt x="645" y="172"/>
                </a:lnTo>
                <a:lnTo>
                  <a:pt x="430" y="0"/>
                </a:lnTo>
                <a:lnTo>
                  <a:pt x="215" y="172"/>
                </a:lnTo>
                <a:close/>
                <a:moveTo>
                  <a:pt x="680" y="800"/>
                </a:moveTo>
                <a:lnTo>
                  <a:pt x="752" y="800"/>
                </a:lnTo>
                <a:lnTo>
                  <a:pt x="752" y="729"/>
                </a:lnTo>
                <a:lnTo>
                  <a:pt x="680" y="729"/>
                </a:lnTo>
                <a:lnTo>
                  <a:pt x="680" y="800"/>
                </a:lnTo>
                <a:close/>
                <a:moveTo>
                  <a:pt x="680" y="657"/>
                </a:moveTo>
                <a:lnTo>
                  <a:pt x="752" y="657"/>
                </a:lnTo>
                <a:lnTo>
                  <a:pt x="752" y="585"/>
                </a:lnTo>
                <a:lnTo>
                  <a:pt x="680" y="585"/>
                </a:lnTo>
                <a:lnTo>
                  <a:pt x="680" y="657"/>
                </a:lnTo>
                <a:close/>
                <a:moveTo>
                  <a:pt x="680" y="514"/>
                </a:moveTo>
                <a:lnTo>
                  <a:pt x="752" y="514"/>
                </a:lnTo>
                <a:lnTo>
                  <a:pt x="752" y="442"/>
                </a:lnTo>
                <a:lnTo>
                  <a:pt x="680" y="442"/>
                </a:lnTo>
                <a:lnTo>
                  <a:pt x="680" y="514"/>
                </a:lnTo>
                <a:close/>
                <a:moveTo>
                  <a:pt x="107" y="800"/>
                </a:moveTo>
                <a:lnTo>
                  <a:pt x="179" y="800"/>
                </a:lnTo>
                <a:lnTo>
                  <a:pt x="179" y="729"/>
                </a:lnTo>
                <a:lnTo>
                  <a:pt x="107" y="729"/>
                </a:lnTo>
                <a:lnTo>
                  <a:pt x="107" y="800"/>
                </a:lnTo>
                <a:close/>
                <a:moveTo>
                  <a:pt x="107" y="657"/>
                </a:moveTo>
                <a:lnTo>
                  <a:pt x="179" y="657"/>
                </a:lnTo>
                <a:lnTo>
                  <a:pt x="179" y="585"/>
                </a:lnTo>
                <a:lnTo>
                  <a:pt x="107" y="585"/>
                </a:lnTo>
                <a:lnTo>
                  <a:pt x="107" y="657"/>
                </a:lnTo>
                <a:close/>
                <a:moveTo>
                  <a:pt x="107" y="514"/>
                </a:moveTo>
                <a:lnTo>
                  <a:pt x="179" y="514"/>
                </a:lnTo>
                <a:lnTo>
                  <a:pt x="179" y="442"/>
                </a:lnTo>
                <a:lnTo>
                  <a:pt x="107" y="442"/>
                </a:lnTo>
                <a:lnTo>
                  <a:pt x="107" y="514"/>
                </a:lnTo>
                <a:close/>
                <a:moveTo>
                  <a:pt x="680" y="299"/>
                </a:moveTo>
                <a:lnTo>
                  <a:pt x="680" y="371"/>
                </a:lnTo>
                <a:lnTo>
                  <a:pt x="788" y="371"/>
                </a:lnTo>
                <a:lnTo>
                  <a:pt x="788" y="836"/>
                </a:lnTo>
                <a:lnTo>
                  <a:pt x="859" y="836"/>
                </a:lnTo>
                <a:lnTo>
                  <a:pt x="859" y="299"/>
                </a:lnTo>
                <a:lnTo>
                  <a:pt x="680" y="299"/>
                </a:lnTo>
                <a:close/>
                <a:moveTo>
                  <a:pt x="0" y="836"/>
                </a:moveTo>
                <a:lnTo>
                  <a:pt x="72" y="836"/>
                </a:lnTo>
                <a:lnTo>
                  <a:pt x="72" y="371"/>
                </a:lnTo>
                <a:lnTo>
                  <a:pt x="179" y="371"/>
                </a:lnTo>
                <a:lnTo>
                  <a:pt x="179" y="299"/>
                </a:lnTo>
                <a:lnTo>
                  <a:pt x="0" y="299"/>
                </a:lnTo>
                <a:lnTo>
                  <a:pt x="0" y="836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aphicFrame>
        <p:nvGraphicFramePr>
          <p:cNvPr id="7" name="Объект 6" hidden="1">
            <a:extLst>
              <a:ext uri="{FF2B5EF4-FFF2-40B4-BE49-F238E27FC236}">
                <a16:creationId xmlns:a16="http://schemas.microsoft.com/office/drawing/2014/main" id="{F28B5AF9-254C-449F-805A-200563AB240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0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882" name="Слайд think-cell" r:id="rId6" imgW="359" imgH="360" progId="TCLayout.ActiveDocument.1">
                  <p:embed/>
                </p:oleObj>
              </mc:Choice>
              <mc:Fallback>
                <p:oleObj name="Слайд think-cell" r:id="rId6" imgW="359" imgH="360" progId="TCLayout.ActiveDocument.1">
                  <p:embed/>
                  <p:pic>
                    <p:nvPicPr>
                      <p:cNvPr id="7" name="Объект 6" hidden="1">
                        <a:extLst>
                          <a:ext uri="{FF2B5EF4-FFF2-40B4-BE49-F238E27FC236}">
                            <a16:creationId xmlns:a16="http://schemas.microsoft.com/office/drawing/2014/main" id="{F28B5AF9-254C-449F-805A-200563AB24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>
            <a:extLst>
              <a:ext uri="{FF2B5EF4-FFF2-40B4-BE49-F238E27FC236}">
                <a16:creationId xmlns:a16="http://schemas.microsoft.com/office/drawing/2014/main" id="{D7EC1761-6312-4AB4-8DAC-F08C2EC72D3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2" y="2"/>
            <a:ext cx="158751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5467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  <a:sym typeface="Open Sans Light" panose="020B0306030504020204" pitchFamily="34" charset="0"/>
            </a:endParaRPr>
          </a:p>
        </p:txBody>
      </p:sp>
      <p:sp>
        <p:nvSpPr>
          <p:cNvPr id="8" name="AutoShape 4"/>
          <p:cNvSpPr>
            <a:spLocks noChangeAspect="1" noChangeArrowheads="1" noTextEdit="1"/>
          </p:cNvSpPr>
          <p:nvPr/>
        </p:nvSpPr>
        <p:spPr bwMode="auto">
          <a:xfrm>
            <a:off x="10099577" y="300999"/>
            <a:ext cx="1500931" cy="5180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186185" y="6405331"/>
            <a:ext cx="11819633" cy="2871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33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Все права защищены. Никакая часть презентации не может быть воспроизведена в какой бы то ни было форме и какими бы то ни было средствами, включая размещение в Интернете и в корпоративных сетях, а также запись в память ЭВМ, для частного или публичного использования, без письменного разрешения владельца авторских прав. © АО «Издательство «Просвещение», 20</a:t>
            </a:r>
            <a:r>
              <a:rPr kumimoji="0" lang="en-US" sz="933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2</a:t>
            </a:r>
            <a:r>
              <a:rPr kumimoji="0" lang="ru-RU" sz="933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1 </a:t>
            </a:r>
            <a:r>
              <a:rPr kumimoji="0" lang="ru-RU" sz="933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г</a:t>
            </a:r>
            <a:r>
              <a:rPr kumimoji="0" lang="ru-RU" sz="933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.</a:t>
            </a:r>
          </a:p>
        </p:txBody>
      </p:sp>
      <p:sp>
        <p:nvSpPr>
          <p:cNvPr id="94" name="Подзаголовок 2"/>
          <p:cNvSpPr txBox="1">
            <a:spLocks/>
          </p:cNvSpPr>
          <p:nvPr/>
        </p:nvSpPr>
        <p:spPr>
          <a:xfrm>
            <a:off x="5151944" y="5204511"/>
            <a:ext cx="6194758" cy="110799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5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200" b="1" i="0" u="none" strike="noStrike" kern="1200" cap="none" spc="-4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Calibri"/>
                <a:ea typeface="Open Sans" panose="020B0606030504020204" pitchFamily="34" charset="0"/>
                <a:cs typeface="Open Sans" panose="020B0606030504020204" pitchFamily="34" charset="0"/>
              </a:rPr>
              <a:t>Группа компаний «Просвещение»</a:t>
            </a:r>
          </a:p>
          <a:p>
            <a:pPr marL="0" marR="0" lvl="0" indent="0" algn="l" defTabSz="91435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200" b="0" i="0" u="none" strike="noStrike" kern="1200" cap="none" spc="-4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Calibri"/>
                <a:ea typeface="Open Sans" panose="020B0606030504020204" pitchFamily="34" charset="0"/>
                <a:cs typeface="Open Sans" panose="020B0606030504020204" pitchFamily="34" charset="0"/>
              </a:rPr>
              <a:t>Адрес: 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Calibri"/>
                <a:ea typeface="Open Sans" panose="020B0606030504020204" pitchFamily="34" charset="0"/>
                <a:cs typeface="Open Sans" panose="020B0606030504020204" pitchFamily="34" charset="0"/>
              </a:rPr>
              <a:t>127473, г. Москва, ул. Краснопролетарская, д. 16, стр. 3, подъезд 8, бизнес-центр «Новослободский»</a:t>
            </a:r>
          </a:p>
          <a:p>
            <a:pPr marL="0" marR="0" lvl="0" indent="0" algn="l" defTabSz="91435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Calibri"/>
                <a:ea typeface="Open Sans" panose="020B0606030504020204" pitchFamily="34" charset="0"/>
                <a:cs typeface="Open Sans" panose="020B0606030504020204" pitchFamily="34" charset="0"/>
              </a:rPr>
              <a:t/>
            </a:r>
            <a:b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Calibri"/>
                <a:ea typeface="Open Sans" panose="020B0606030504020204" pitchFamily="34" charset="0"/>
                <a:cs typeface="Open Sans" panose="020B0606030504020204" pitchFamily="34" charset="0"/>
              </a:rPr>
            </a:br>
            <a:r>
              <a:rPr kumimoji="0" lang="ru-RU" sz="1200" b="0" i="0" u="none" strike="noStrike" kern="1200" cap="none" spc="-4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Calibri"/>
                <a:ea typeface="Open Sans" panose="020B0606030504020204" pitchFamily="34" charset="0"/>
                <a:cs typeface="Open Sans" panose="020B0606030504020204" pitchFamily="34" charset="0"/>
              </a:rPr>
              <a:t>Горячая линия: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/>
                <a:ea typeface="Open Sans" panose="020B0606030504020204" pitchFamily="34" charset="0"/>
                <a:cs typeface="Open Sans" panose="020B0606030504020204" pitchFamily="34" charset="0"/>
                <a:hlinkClick r:id="rId8"/>
              </a:rPr>
              <a:t>vopros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/>
                <a:ea typeface="Open Sans" panose="020B0606030504020204" pitchFamily="34" charset="0"/>
                <a:cs typeface="Open Sans" panose="020B0606030504020204" pitchFamily="34" charset="0"/>
                <a:hlinkClick r:id="rId8"/>
              </a:rPr>
              <a:t>@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/>
                <a:ea typeface="Open Sans" panose="020B0606030504020204" pitchFamily="34" charset="0"/>
                <a:cs typeface="Open Sans" panose="020B0606030504020204" pitchFamily="34" charset="0"/>
                <a:hlinkClick r:id="rId8"/>
              </a:rPr>
              <a:t>prosv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/>
                <a:ea typeface="Open Sans" panose="020B0606030504020204" pitchFamily="34" charset="0"/>
                <a:cs typeface="Open Sans" panose="020B0606030504020204" pitchFamily="34" charset="0"/>
                <a:hlinkClick r:id="rId8"/>
              </a:rPr>
              <a:t>.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/>
                <a:ea typeface="Open Sans" panose="020B0606030504020204" pitchFamily="34" charset="0"/>
                <a:cs typeface="Open Sans" panose="020B0606030504020204" pitchFamily="34" charset="0"/>
                <a:hlinkClick r:id="rId8"/>
              </a:rPr>
              <a:t>ru</a:t>
            </a:r>
            <a:endParaRPr kumimoji="0" lang="ru-RU" sz="1200" b="0" i="0" u="none" strike="noStrike" kern="1200" cap="none" spc="-4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Calibri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92192" name="Picture 32" descr="http://qrcoder.ru/code/?https%3A%2F%2Fshop.prosv.ru%2F&amp;8&amp;0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70522" y="5218019"/>
            <a:ext cx="1105175" cy="11051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0" name="Прямоугольник 49"/>
          <p:cNvSpPr/>
          <p:nvPr/>
        </p:nvSpPr>
        <p:spPr>
          <a:xfrm>
            <a:off x="178771" y="193727"/>
            <a:ext cx="11937029" cy="2519692"/>
          </a:xfrm>
          <a:prstGeom prst="rect">
            <a:avLst/>
          </a:prstGeom>
          <a:solidFill>
            <a:srgbClr val="F0F8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8" name="Прямоугольник 97"/>
          <p:cNvSpPr/>
          <p:nvPr/>
        </p:nvSpPr>
        <p:spPr>
          <a:xfrm>
            <a:off x="186184" y="1602461"/>
            <a:ext cx="11819633" cy="1745682"/>
          </a:xfrm>
          <a:prstGeom prst="rect">
            <a:avLst/>
          </a:prstGeom>
          <a:solidFill>
            <a:srgbClr val="2D2B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815080" y="1691927"/>
            <a:ext cx="9870332" cy="155940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Cambria Math" panose="02040503050406030204" pitchFamily="18" charset="0"/>
                <a:cs typeface="FuturaPT-Book"/>
              </a:rPr>
              <a:t>Хотите купить?</a:t>
            </a:r>
          </a:p>
          <a:p>
            <a:pPr marL="1657350" marR="0" lvl="3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800"/>
              </a:spcAft>
              <a:buClrTx/>
              <a:buSzTx/>
              <a:buFontTx/>
              <a:buChar char="-"/>
              <a:tabLst/>
              <a:defRPr/>
            </a:pPr>
            <a:r>
              <a:rPr kumimoji="0" lang="ru-RU" sz="1800" b="0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Cambria Math" panose="02040503050406030204" pitchFamily="18" charset="0"/>
                <a:cs typeface="FuturaPT-Book"/>
              </a:rPr>
              <a:t>Оптовые закупки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Cambria Math" panose="02040503050406030204" pitchFamily="18" charset="0"/>
                <a:cs typeface="FuturaPT-Book"/>
              </a:rPr>
              <a:t>: отдел по работе с государственными заказами 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Cambria Math" panose="02040503050406030204" pitchFamily="18" charset="0"/>
                <a:cs typeface="FuturaPT-Book"/>
              </a:rPr>
              <a:t>тел.: +7 (495) 789-30-40, доб. 41-44,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Cambria Math" panose="02040503050406030204" pitchFamily="18" charset="0"/>
                <a:cs typeface="FuturaPT-Book"/>
              </a:rPr>
              <a:t>e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Cambria Math" panose="02040503050406030204" pitchFamily="18" charset="0"/>
                <a:cs typeface="FuturaPT-Book"/>
              </a:rPr>
              <a:t>-</a:t>
            </a:r>
            <a:r>
              <a:rPr kumimoji="0" lang="ru-RU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Cambria Math" panose="02040503050406030204" pitchFamily="18" charset="0"/>
                <a:cs typeface="FuturaPT-Book"/>
              </a:rPr>
              <a:t>mail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Cambria Math" panose="02040503050406030204" pitchFamily="18" charset="0"/>
                <a:cs typeface="FuturaPT-Book"/>
              </a:rPr>
              <a:t>: </a:t>
            </a:r>
            <a:r>
              <a:rPr kumimoji="0" lang="ru-RU" sz="1600" b="0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Cambria Math" panose="02040503050406030204" pitchFamily="18" charset="0"/>
                <a:cs typeface="FuturaPT-Book"/>
              </a:rPr>
              <a:t>GTrofimova@prosv.ru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Cambria Math" panose="02040503050406030204" pitchFamily="18" charset="0"/>
                <a:cs typeface="FuturaPT-Book"/>
              </a:rPr>
              <a:t>,  </a:t>
            </a:r>
          </a:p>
          <a:p>
            <a:pPr marL="1657350" marR="0" lvl="3" indent="-28575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800"/>
              </a:spcAft>
              <a:buClrTx/>
              <a:buSzTx/>
              <a:buFontTx/>
              <a:buChar char="-"/>
              <a:tabLst/>
              <a:defRPr/>
            </a:pPr>
            <a:r>
              <a:rPr kumimoji="0" lang="ru-RU" sz="1800" b="0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Cambria Math" panose="02040503050406030204" pitchFamily="18" charset="0"/>
                <a:cs typeface="FuturaPT-Book"/>
              </a:rPr>
              <a:t>Розница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Cambria Math" panose="02040503050406030204" pitchFamily="18" charset="0"/>
                <a:cs typeface="FuturaPT-Book"/>
              </a:rPr>
              <a:t>: самостоятельно заказать в нашем интернет-магазине shop.prosv.ru </a:t>
            </a:r>
          </a:p>
        </p:txBody>
      </p:sp>
      <p:sp>
        <p:nvSpPr>
          <p:cNvPr id="52" name="Заголовок 1"/>
          <p:cNvSpPr txBox="1">
            <a:spLocks/>
          </p:cNvSpPr>
          <p:nvPr/>
        </p:nvSpPr>
        <p:spPr>
          <a:xfrm>
            <a:off x="-76200" y="492870"/>
            <a:ext cx="12192000" cy="1325563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7500" lnSpcReduction="100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200" b="1" i="0" u="none" strike="noStrike" kern="1200" cap="none" spc="-40" normalizeH="0" baseline="0" noProof="0" dirty="0" smtClean="0">
                <a:ln>
                  <a:noFill/>
                </a:ln>
                <a:solidFill>
                  <a:srgbClr val="2A3393"/>
                </a:solidFill>
                <a:effectLst/>
                <a:uLnTx/>
                <a:uFillTx/>
                <a:latin typeface="Calibri"/>
                <a:ea typeface="Cambria Math" panose="02040503050406030204" pitchFamily="18" charset="0"/>
                <a:cs typeface="Open Sans" panose="020B0606030504020204" pitchFamily="34" charset="0"/>
              </a:rPr>
              <a:t>СПАСИБО ЗА ВНИМАНИЕ!</a:t>
            </a:r>
            <a:br>
              <a:rPr kumimoji="0" lang="ru-RU" sz="3200" b="1" i="0" u="none" strike="noStrike" kern="1200" cap="none" spc="-40" normalizeH="0" baseline="0" noProof="0" dirty="0" smtClean="0">
                <a:ln>
                  <a:noFill/>
                </a:ln>
                <a:solidFill>
                  <a:srgbClr val="2A3393"/>
                </a:solidFill>
                <a:effectLst/>
                <a:uLnTx/>
                <a:uFillTx/>
                <a:latin typeface="Calibri"/>
                <a:ea typeface="Cambria Math" panose="02040503050406030204" pitchFamily="18" charset="0"/>
                <a:cs typeface="Open Sans" panose="020B0606030504020204" pitchFamily="34" charset="0"/>
              </a:rPr>
            </a:br>
            <a:r>
              <a:rPr kumimoji="0" lang="ru-RU" sz="3200" b="1" i="0" u="none" strike="noStrike" kern="1200" cap="none" spc="-40" normalizeH="0" baseline="0" noProof="0" dirty="0" smtClean="0">
                <a:ln>
                  <a:noFill/>
                </a:ln>
                <a:solidFill>
                  <a:srgbClr val="2A3393"/>
                </a:solidFill>
                <a:effectLst/>
                <a:uLnTx/>
                <a:uFillTx/>
                <a:latin typeface="Calibri"/>
                <a:ea typeface="Cambria Math" panose="02040503050406030204" pitchFamily="18" charset="0"/>
                <a:cs typeface="Open Sans" panose="020B0606030504020204" pitchFamily="34" charset="0"/>
              </a:rPr>
              <a:t/>
            </a:r>
            <a:br>
              <a:rPr kumimoji="0" lang="ru-RU" sz="3200" b="1" i="0" u="none" strike="noStrike" kern="1200" cap="none" spc="-40" normalizeH="0" baseline="0" noProof="0" dirty="0" smtClean="0">
                <a:ln>
                  <a:noFill/>
                </a:ln>
                <a:solidFill>
                  <a:srgbClr val="2A3393"/>
                </a:solidFill>
                <a:effectLst/>
                <a:uLnTx/>
                <a:uFillTx/>
                <a:latin typeface="Calibri"/>
                <a:ea typeface="Cambria Math" panose="02040503050406030204" pitchFamily="18" charset="0"/>
                <a:cs typeface="Open Sans" panose="020B0606030504020204" pitchFamily="34" charset="0"/>
              </a:rPr>
            </a:br>
            <a:endParaRPr kumimoji="0" lang="ru-RU" sz="3200" b="1" i="0" u="none" strike="noStrike" kern="1200" cap="none" spc="-40" normalizeH="0" baseline="0" noProof="0" dirty="0">
              <a:ln>
                <a:noFill/>
              </a:ln>
              <a:solidFill>
                <a:srgbClr val="2A3393"/>
              </a:solidFill>
              <a:effectLst/>
              <a:uLnTx/>
              <a:uFillTx/>
              <a:latin typeface="Calibri"/>
              <a:ea typeface="Cambria Math" panose="02040503050406030204" pitchFamily="18" charset="0"/>
              <a:cs typeface="Open Sans" panose="020B0606030504020204" pitchFamily="34" charset="0"/>
            </a:endParaRPr>
          </a:p>
        </p:txBody>
      </p:sp>
      <p:sp>
        <p:nvSpPr>
          <p:cNvPr id="53" name="TextBox 52"/>
          <p:cNvSpPr txBox="1"/>
          <p:nvPr/>
        </p:nvSpPr>
        <p:spPr>
          <a:xfrm>
            <a:off x="3879817" y="3485016"/>
            <a:ext cx="4933854" cy="16004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Отдел методической поддержки педагогов и ОО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Ведущий методист по физике </a:t>
            </a: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Литвинов Олег Андреевич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Тел. 8-977-992-42-3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-mail </a:t>
            </a: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  <a:hlinkClick r:id="rId10"/>
              </a:rPr>
              <a:t>OLitvinov@prosv.ru</a:t>
            </a:r>
            <a:endParaRPr kumimoji="0" lang="ru-RU" sz="14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What’s app: 8-963-976-10-01</a:t>
            </a:r>
            <a:endParaRPr kumimoji="0" lang="ru-RU" sz="14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nstagram: @oleg_6288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94609" y="3961724"/>
            <a:ext cx="194745" cy="194745"/>
          </a:xfrm>
          <a:prstGeom prst="rect">
            <a:avLst/>
          </a:prstGeom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75716" y="4169951"/>
            <a:ext cx="245576" cy="287784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77893" y="4600072"/>
            <a:ext cx="241221" cy="240919"/>
          </a:xfrm>
          <a:prstGeom prst="rect">
            <a:avLst/>
          </a:prstGeom>
        </p:spPr>
      </p:pic>
      <p:pic>
        <p:nvPicPr>
          <p:cNvPr id="9" name="Рисунок 8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90185" y="4398410"/>
            <a:ext cx="206383" cy="206383"/>
          </a:xfrm>
          <a:prstGeom prst="rect">
            <a:avLst/>
          </a:prstGeom>
        </p:spPr>
      </p:pic>
      <p:pic>
        <p:nvPicPr>
          <p:cNvPr id="10" name="Рисунок 9"/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82013" y="3485016"/>
            <a:ext cx="1350150" cy="24002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80169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48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cxnSp>
        <p:nvCxnSpPr>
          <p:cNvPr id="68" name="Прямая соединительная линия 67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Freeform 8"/>
          <p:cNvSpPr>
            <a:spLocks/>
          </p:cNvSpPr>
          <p:nvPr/>
        </p:nvSpPr>
        <p:spPr bwMode="auto">
          <a:xfrm>
            <a:off x="7596965" y="3958541"/>
            <a:ext cx="391642" cy="348126"/>
          </a:xfrm>
          <a:custGeom>
            <a:avLst/>
            <a:gdLst>
              <a:gd name="T0" fmla="*/ 860 w 860"/>
              <a:gd name="T1" fmla="*/ 251 h 752"/>
              <a:gd name="T2" fmla="*/ 430 w 860"/>
              <a:gd name="T3" fmla="*/ 0 h 752"/>
              <a:gd name="T4" fmla="*/ 0 w 860"/>
              <a:gd name="T5" fmla="*/ 251 h 752"/>
              <a:gd name="T6" fmla="*/ 144 w 860"/>
              <a:gd name="T7" fmla="*/ 335 h 752"/>
              <a:gd name="T8" fmla="*/ 144 w 860"/>
              <a:gd name="T9" fmla="*/ 476 h 752"/>
              <a:gd name="T10" fmla="*/ 149 w 860"/>
              <a:gd name="T11" fmla="*/ 484 h 752"/>
              <a:gd name="T12" fmla="*/ 430 w 860"/>
              <a:gd name="T13" fmla="*/ 645 h 752"/>
              <a:gd name="T14" fmla="*/ 573 w 860"/>
              <a:gd name="T15" fmla="*/ 611 h 752"/>
              <a:gd name="T16" fmla="*/ 573 w 860"/>
              <a:gd name="T17" fmla="*/ 528 h 752"/>
              <a:gd name="T18" fmla="*/ 430 w 860"/>
              <a:gd name="T19" fmla="*/ 573 h 752"/>
              <a:gd name="T20" fmla="*/ 215 w 860"/>
              <a:gd name="T21" fmla="*/ 456 h 752"/>
              <a:gd name="T22" fmla="*/ 215 w 860"/>
              <a:gd name="T23" fmla="*/ 376 h 752"/>
              <a:gd name="T24" fmla="*/ 430 w 860"/>
              <a:gd name="T25" fmla="*/ 502 h 752"/>
              <a:gd name="T26" fmla="*/ 553 w 860"/>
              <a:gd name="T27" fmla="*/ 430 h 752"/>
              <a:gd name="T28" fmla="*/ 483 w 860"/>
              <a:gd name="T29" fmla="*/ 388 h 752"/>
              <a:gd name="T30" fmla="*/ 430 w 860"/>
              <a:gd name="T31" fmla="*/ 419 h 752"/>
              <a:gd name="T32" fmla="*/ 143 w 860"/>
              <a:gd name="T33" fmla="*/ 251 h 752"/>
              <a:gd name="T34" fmla="*/ 430 w 860"/>
              <a:gd name="T35" fmla="*/ 83 h 752"/>
              <a:gd name="T36" fmla="*/ 718 w 860"/>
              <a:gd name="T37" fmla="*/ 251 h 752"/>
              <a:gd name="T38" fmla="*/ 624 w 860"/>
              <a:gd name="T39" fmla="*/ 306 h 752"/>
              <a:gd name="T40" fmla="*/ 454 w 860"/>
              <a:gd name="T41" fmla="*/ 205 h 752"/>
              <a:gd name="T42" fmla="*/ 391 w 860"/>
              <a:gd name="T43" fmla="*/ 247 h 752"/>
              <a:gd name="T44" fmla="*/ 390 w 860"/>
              <a:gd name="T45" fmla="*/ 250 h 752"/>
              <a:gd name="T46" fmla="*/ 645 w 860"/>
              <a:gd name="T47" fmla="*/ 401 h 752"/>
              <a:gd name="T48" fmla="*/ 645 w 860"/>
              <a:gd name="T49" fmla="*/ 752 h 752"/>
              <a:gd name="T50" fmla="*/ 717 w 860"/>
              <a:gd name="T51" fmla="*/ 752 h 752"/>
              <a:gd name="T52" fmla="*/ 717 w 860"/>
              <a:gd name="T53" fmla="*/ 361 h 752"/>
              <a:gd name="T54" fmla="*/ 694 w 860"/>
              <a:gd name="T55" fmla="*/ 347 h 752"/>
              <a:gd name="T56" fmla="*/ 860 w 860"/>
              <a:gd name="T57" fmla="*/ 25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860" h="752">
                <a:moveTo>
                  <a:pt x="860" y="251"/>
                </a:moveTo>
                <a:lnTo>
                  <a:pt x="430" y="0"/>
                </a:lnTo>
                <a:lnTo>
                  <a:pt x="0" y="251"/>
                </a:lnTo>
                <a:lnTo>
                  <a:pt x="144" y="335"/>
                </a:lnTo>
                <a:lnTo>
                  <a:pt x="144" y="476"/>
                </a:lnTo>
                <a:lnTo>
                  <a:pt x="149" y="484"/>
                </a:lnTo>
                <a:cubicBezTo>
                  <a:pt x="207" y="583"/>
                  <a:pt x="315" y="645"/>
                  <a:pt x="430" y="645"/>
                </a:cubicBezTo>
                <a:cubicBezTo>
                  <a:pt x="481" y="645"/>
                  <a:pt x="529" y="632"/>
                  <a:pt x="573" y="611"/>
                </a:cubicBezTo>
                <a:lnTo>
                  <a:pt x="573" y="528"/>
                </a:lnTo>
                <a:cubicBezTo>
                  <a:pt x="532" y="557"/>
                  <a:pt x="482" y="573"/>
                  <a:pt x="430" y="573"/>
                </a:cubicBezTo>
                <a:cubicBezTo>
                  <a:pt x="343" y="573"/>
                  <a:pt x="262" y="528"/>
                  <a:pt x="215" y="456"/>
                </a:cubicBezTo>
                <a:lnTo>
                  <a:pt x="215" y="376"/>
                </a:lnTo>
                <a:lnTo>
                  <a:pt x="430" y="502"/>
                </a:lnTo>
                <a:lnTo>
                  <a:pt x="553" y="430"/>
                </a:lnTo>
                <a:lnTo>
                  <a:pt x="483" y="388"/>
                </a:lnTo>
                <a:lnTo>
                  <a:pt x="430" y="419"/>
                </a:lnTo>
                <a:lnTo>
                  <a:pt x="143" y="251"/>
                </a:lnTo>
                <a:lnTo>
                  <a:pt x="430" y="83"/>
                </a:lnTo>
                <a:lnTo>
                  <a:pt x="718" y="251"/>
                </a:lnTo>
                <a:lnTo>
                  <a:pt x="624" y="306"/>
                </a:lnTo>
                <a:lnTo>
                  <a:pt x="454" y="205"/>
                </a:lnTo>
                <a:lnTo>
                  <a:pt x="391" y="247"/>
                </a:lnTo>
                <a:lnTo>
                  <a:pt x="390" y="250"/>
                </a:lnTo>
                <a:lnTo>
                  <a:pt x="645" y="401"/>
                </a:lnTo>
                <a:lnTo>
                  <a:pt x="645" y="752"/>
                </a:lnTo>
                <a:lnTo>
                  <a:pt x="717" y="752"/>
                </a:lnTo>
                <a:lnTo>
                  <a:pt x="717" y="361"/>
                </a:lnTo>
                <a:lnTo>
                  <a:pt x="694" y="347"/>
                </a:lnTo>
                <a:lnTo>
                  <a:pt x="860" y="25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7" name="Freeform 10"/>
          <p:cNvSpPr>
            <a:spLocks noEditPoints="1"/>
          </p:cNvSpPr>
          <p:nvPr/>
        </p:nvSpPr>
        <p:spPr bwMode="auto">
          <a:xfrm>
            <a:off x="7614768" y="2782742"/>
            <a:ext cx="391642" cy="346149"/>
          </a:xfrm>
          <a:custGeom>
            <a:avLst/>
            <a:gdLst>
              <a:gd name="T0" fmla="*/ 608 w 859"/>
              <a:gd name="T1" fmla="*/ 0 h 752"/>
              <a:gd name="T2" fmla="*/ 250 w 859"/>
              <a:gd name="T3" fmla="*/ 0 h 752"/>
              <a:gd name="T4" fmla="*/ 250 w 859"/>
              <a:gd name="T5" fmla="*/ 72 h 752"/>
              <a:gd name="T6" fmla="*/ 608 w 859"/>
              <a:gd name="T7" fmla="*/ 72 h 752"/>
              <a:gd name="T8" fmla="*/ 608 w 859"/>
              <a:gd name="T9" fmla="*/ 0 h 752"/>
              <a:gd name="T10" fmla="*/ 608 w 859"/>
              <a:gd name="T11" fmla="*/ 394 h 752"/>
              <a:gd name="T12" fmla="*/ 608 w 859"/>
              <a:gd name="T13" fmla="*/ 322 h 752"/>
              <a:gd name="T14" fmla="*/ 537 w 859"/>
              <a:gd name="T15" fmla="*/ 322 h 752"/>
              <a:gd name="T16" fmla="*/ 537 w 859"/>
              <a:gd name="T17" fmla="*/ 394 h 752"/>
              <a:gd name="T18" fmla="*/ 322 w 859"/>
              <a:gd name="T19" fmla="*/ 394 h 752"/>
              <a:gd name="T20" fmla="*/ 322 w 859"/>
              <a:gd name="T21" fmla="*/ 322 h 752"/>
              <a:gd name="T22" fmla="*/ 250 w 859"/>
              <a:gd name="T23" fmla="*/ 322 h 752"/>
              <a:gd name="T24" fmla="*/ 250 w 859"/>
              <a:gd name="T25" fmla="*/ 394 h 752"/>
              <a:gd name="T26" fmla="*/ 71 w 859"/>
              <a:gd name="T27" fmla="*/ 394 h 752"/>
              <a:gd name="T28" fmla="*/ 71 w 859"/>
              <a:gd name="T29" fmla="*/ 215 h 752"/>
              <a:gd name="T30" fmla="*/ 787 w 859"/>
              <a:gd name="T31" fmla="*/ 215 h 752"/>
              <a:gd name="T32" fmla="*/ 787 w 859"/>
              <a:gd name="T33" fmla="*/ 394 h 752"/>
              <a:gd name="T34" fmla="*/ 608 w 859"/>
              <a:gd name="T35" fmla="*/ 394 h 752"/>
              <a:gd name="T36" fmla="*/ 0 w 859"/>
              <a:gd name="T37" fmla="*/ 143 h 752"/>
              <a:gd name="T38" fmla="*/ 0 w 859"/>
              <a:gd name="T39" fmla="*/ 376 h 752"/>
              <a:gd name="T40" fmla="*/ 71 w 859"/>
              <a:gd name="T41" fmla="*/ 466 h 752"/>
              <a:gd name="T42" fmla="*/ 250 w 859"/>
              <a:gd name="T43" fmla="*/ 466 h 752"/>
              <a:gd name="T44" fmla="*/ 250 w 859"/>
              <a:gd name="T45" fmla="*/ 537 h 752"/>
              <a:gd name="T46" fmla="*/ 322 w 859"/>
              <a:gd name="T47" fmla="*/ 537 h 752"/>
              <a:gd name="T48" fmla="*/ 322 w 859"/>
              <a:gd name="T49" fmla="*/ 466 h 752"/>
              <a:gd name="T50" fmla="*/ 537 w 859"/>
              <a:gd name="T51" fmla="*/ 466 h 752"/>
              <a:gd name="T52" fmla="*/ 537 w 859"/>
              <a:gd name="T53" fmla="*/ 537 h 752"/>
              <a:gd name="T54" fmla="*/ 608 w 859"/>
              <a:gd name="T55" fmla="*/ 537 h 752"/>
              <a:gd name="T56" fmla="*/ 608 w 859"/>
              <a:gd name="T57" fmla="*/ 466 h 752"/>
              <a:gd name="T58" fmla="*/ 788 w 859"/>
              <a:gd name="T59" fmla="*/ 466 h 752"/>
              <a:gd name="T60" fmla="*/ 859 w 859"/>
              <a:gd name="T61" fmla="*/ 376 h 752"/>
              <a:gd name="T62" fmla="*/ 859 w 859"/>
              <a:gd name="T63" fmla="*/ 143 h 752"/>
              <a:gd name="T64" fmla="*/ 0 w 859"/>
              <a:gd name="T65" fmla="*/ 143 h 752"/>
              <a:gd name="T66" fmla="*/ 716 w 859"/>
              <a:gd name="T67" fmla="*/ 681 h 752"/>
              <a:gd name="T68" fmla="*/ 143 w 859"/>
              <a:gd name="T69" fmla="*/ 681 h 752"/>
              <a:gd name="T70" fmla="*/ 143 w 859"/>
              <a:gd name="T71" fmla="*/ 502 h 752"/>
              <a:gd name="T72" fmla="*/ 71 w 859"/>
              <a:gd name="T73" fmla="*/ 502 h 752"/>
              <a:gd name="T74" fmla="*/ 71 w 859"/>
              <a:gd name="T75" fmla="*/ 668 h 752"/>
              <a:gd name="T76" fmla="*/ 143 w 859"/>
              <a:gd name="T77" fmla="*/ 752 h 752"/>
              <a:gd name="T78" fmla="*/ 716 w 859"/>
              <a:gd name="T79" fmla="*/ 752 h 752"/>
              <a:gd name="T80" fmla="*/ 787 w 859"/>
              <a:gd name="T81" fmla="*/ 668 h 752"/>
              <a:gd name="T82" fmla="*/ 787 w 859"/>
              <a:gd name="T83" fmla="*/ 502 h 752"/>
              <a:gd name="T84" fmla="*/ 716 w 859"/>
              <a:gd name="T85" fmla="*/ 502 h 752"/>
              <a:gd name="T86" fmla="*/ 716 w 859"/>
              <a:gd name="T87" fmla="*/ 68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859" h="752">
                <a:moveTo>
                  <a:pt x="608" y="0"/>
                </a:moveTo>
                <a:lnTo>
                  <a:pt x="250" y="0"/>
                </a:lnTo>
                <a:lnTo>
                  <a:pt x="250" y="72"/>
                </a:lnTo>
                <a:lnTo>
                  <a:pt x="608" y="72"/>
                </a:lnTo>
                <a:lnTo>
                  <a:pt x="608" y="0"/>
                </a:lnTo>
                <a:close/>
                <a:moveTo>
                  <a:pt x="608" y="394"/>
                </a:moveTo>
                <a:lnTo>
                  <a:pt x="608" y="322"/>
                </a:lnTo>
                <a:lnTo>
                  <a:pt x="537" y="322"/>
                </a:lnTo>
                <a:lnTo>
                  <a:pt x="537" y="394"/>
                </a:lnTo>
                <a:lnTo>
                  <a:pt x="322" y="394"/>
                </a:lnTo>
                <a:lnTo>
                  <a:pt x="322" y="322"/>
                </a:lnTo>
                <a:lnTo>
                  <a:pt x="250" y="322"/>
                </a:lnTo>
                <a:lnTo>
                  <a:pt x="250" y="394"/>
                </a:lnTo>
                <a:lnTo>
                  <a:pt x="71" y="394"/>
                </a:lnTo>
                <a:lnTo>
                  <a:pt x="71" y="215"/>
                </a:lnTo>
                <a:lnTo>
                  <a:pt x="787" y="215"/>
                </a:lnTo>
                <a:lnTo>
                  <a:pt x="787" y="394"/>
                </a:lnTo>
                <a:lnTo>
                  <a:pt x="608" y="394"/>
                </a:lnTo>
                <a:close/>
                <a:moveTo>
                  <a:pt x="0" y="143"/>
                </a:moveTo>
                <a:lnTo>
                  <a:pt x="0" y="376"/>
                </a:lnTo>
                <a:cubicBezTo>
                  <a:pt x="0" y="416"/>
                  <a:pt x="32" y="466"/>
                  <a:pt x="71" y="466"/>
                </a:cubicBezTo>
                <a:lnTo>
                  <a:pt x="250" y="466"/>
                </a:lnTo>
                <a:lnTo>
                  <a:pt x="250" y="537"/>
                </a:lnTo>
                <a:lnTo>
                  <a:pt x="322" y="537"/>
                </a:lnTo>
                <a:lnTo>
                  <a:pt x="322" y="466"/>
                </a:lnTo>
                <a:lnTo>
                  <a:pt x="537" y="466"/>
                </a:lnTo>
                <a:lnTo>
                  <a:pt x="537" y="537"/>
                </a:lnTo>
                <a:lnTo>
                  <a:pt x="608" y="537"/>
                </a:lnTo>
                <a:lnTo>
                  <a:pt x="608" y="466"/>
                </a:lnTo>
                <a:lnTo>
                  <a:pt x="788" y="466"/>
                </a:lnTo>
                <a:cubicBezTo>
                  <a:pt x="827" y="466"/>
                  <a:pt x="859" y="416"/>
                  <a:pt x="859" y="376"/>
                </a:cubicBezTo>
                <a:lnTo>
                  <a:pt x="859" y="143"/>
                </a:lnTo>
                <a:lnTo>
                  <a:pt x="0" y="143"/>
                </a:lnTo>
                <a:close/>
                <a:moveTo>
                  <a:pt x="716" y="681"/>
                </a:moveTo>
                <a:lnTo>
                  <a:pt x="143" y="681"/>
                </a:lnTo>
                <a:lnTo>
                  <a:pt x="143" y="502"/>
                </a:lnTo>
                <a:lnTo>
                  <a:pt x="71" y="502"/>
                </a:lnTo>
                <a:lnTo>
                  <a:pt x="71" y="668"/>
                </a:lnTo>
                <a:cubicBezTo>
                  <a:pt x="71" y="704"/>
                  <a:pt x="104" y="752"/>
                  <a:pt x="143" y="752"/>
                </a:cubicBezTo>
                <a:lnTo>
                  <a:pt x="716" y="752"/>
                </a:lnTo>
                <a:cubicBezTo>
                  <a:pt x="755" y="752"/>
                  <a:pt x="787" y="704"/>
                  <a:pt x="787" y="668"/>
                </a:cubicBezTo>
                <a:lnTo>
                  <a:pt x="787" y="502"/>
                </a:lnTo>
                <a:lnTo>
                  <a:pt x="716" y="502"/>
                </a:lnTo>
                <a:lnTo>
                  <a:pt x="716" y="68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4" name="Прямоугольник 23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0" y="6516869"/>
            <a:ext cx="12192000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ГК «Просвещение», 2021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948970" y="108504"/>
            <a:ext cx="522989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ОГЭ 2021 физика (Где взять задания?)</a:t>
            </a:r>
            <a:endParaRPr kumimoji="0" lang="ru-RU" sz="24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11" name="Группа 10"/>
          <p:cNvGrpSpPr/>
          <p:nvPr/>
        </p:nvGrpSpPr>
        <p:grpSpPr>
          <a:xfrm>
            <a:off x="1032387" y="973394"/>
            <a:ext cx="2615381" cy="1179870"/>
            <a:chOff x="1297858" y="1032388"/>
            <a:chExt cx="2615381" cy="1179870"/>
          </a:xfrm>
        </p:grpSpPr>
        <p:sp>
          <p:nvSpPr>
            <p:cNvPr id="9" name="Скругленный прямоугольник 8">
              <a:hlinkClick r:id="rId4"/>
            </p:cNvPr>
            <p:cNvSpPr/>
            <p:nvPr/>
          </p:nvSpPr>
          <p:spPr>
            <a:xfrm>
              <a:off x="1297858" y="1032388"/>
              <a:ext cx="2615381" cy="1179870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pic>
          <p:nvPicPr>
            <p:cNvPr id="10" name="Рисунок 9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789470" y="1125026"/>
              <a:ext cx="1632155" cy="994594"/>
            </a:xfrm>
            <a:prstGeom prst="rect">
              <a:avLst/>
            </a:prstGeom>
          </p:spPr>
        </p:pic>
      </p:grpSp>
      <p:sp>
        <p:nvSpPr>
          <p:cNvPr id="12" name="Скругленный прямоугольник 11">
            <a:hlinkClick r:id="rId6"/>
          </p:cNvPr>
          <p:cNvSpPr/>
          <p:nvPr/>
        </p:nvSpPr>
        <p:spPr>
          <a:xfrm>
            <a:off x="7596965" y="983062"/>
            <a:ext cx="2598767" cy="1179870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Открытый банк заданий ОГЭ</a:t>
            </a:r>
            <a:endParaRPr kumimoji="0" lang="ru-RU" sz="18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14" name="Группа 13"/>
          <p:cNvGrpSpPr/>
          <p:nvPr/>
        </p:nvGrpSpPr>
        <p:grpSpPr>
          <a:xfrm>
            <a:off x="1040692" y="3015832"/>
            <a:ext cx="2598767" cy="1179870"/>
            <a:chOff x="1040692" y="3015832"/>
            <a:chExt cx="2598767" cy="1179870"/>
          </a:xfrm>
        </p:grpSpPr>
        <p:sp>
          <p:nvSpPr>
            <p:cNvPr id="22" name="Скругленный прямоугольник 21"/>
            <p:cNvSpPr/>
            <p:nvPr/>
          </p:nvSpPr>
          <p:spPr>
            <a:xfrm>
              <a:off x="1040692" y="3015832"/>
              <a:ext cx="2598767" cy="1179870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pic>
          <p:nvPicPr>
            <p:cNvPr id="13" name="Рисунок 12">
              <a:hlinkClick r:id="rId7"/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421988" y="3195906"/>
              <a:ext cx="1836174" cy="819721"/>
            </a:xfrm>
            <a:prstGeom prst="rect">
              <a:avLst/>
            </a:prstGeom>
          </p:spPr>
        </p:pic>
      </p:grpSp>
      <p:pic>
        <p:nvPicPr>
          <p:cNvPr id="27" name="Рисунок 26">
            <a:hlinkClick r:id="rId9" action="ppaction://hlinksldjump"/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78487" y="827724"/>
            <a:ext cx="3628923" cy="5133170"/>
          </a:xfrm>
          <a:prstGeom prst="rect">
            <a:avLst/>
          </a:prstGeom>
        </p:spPr>
      </p:pic>
      <p:grpSp>
        <p:nvGrpSpPr>
          <p:cNvPr id="16" name="Группа 15"/>
          <p:cNvGrpSpPr/>
          <p:nvPr/>
        </p:nvGrpSpPr>
        <p:grpSpPr>
          <a:xfrm>
            <a:off x="7596964" y="3013689"/>
            <a:ext cx="2598767" cy="1179870"/>
            <a:chOff x="7596964" y="3013689"/>
            <a:chExt cx="2598767" cy="1179870"/>
          </a:xfrm>
        </p:grpSpPr>
        <p:sp>
          <p:nvSpPr>
            <p:cNvPr id="29" name="Скругленный прямоугольник 28">
              <a:hlinkClick r:id="rId11"/>
            </p:cNvPr>
            <p:cNvSpPr/>
            <p:nvPr/>
          </p:nvSpPr>
          <p:spPr>
            <a:xfrm>
              <a:off x="7596964" y="3013689"/>
              <a:ext cx="2598767" cy="1179870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pic>
          <p:nvPicPr>
            <p:cNvPr id="15" name="Рисунок 14"/>
            <p:cNvPicPr>
              <a:picLocks noChangeAspect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827225" y="3404743"/>
              <a:ext cx="2142688" cy="34395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6047691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2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48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cxnSp>
        <p:nvCxnSpPr>
          <p:cNvPr id="68" name="Прямая соединительная линия 67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Freeform 8"/>
          <p:cNvSpPr>
            <a:spLocks/>
          </p:cNvSpPr>
          <p:nvPr/>
        </p:nvSpPr>
        <p:spPr bwMode="auto">
          <a:xfrm>
            <a:off x="7596965" y="3958541"/>
            <a:ext cx="391642" cy="348126"/>
          </a:xfrm>
          <a:custGeom>
            <a:avLst/>
            <a:gdLst>
              <a:gd name="T0" fmla="*/ 860 w 860"/>
              <a:gd name="T1" fmla="*/ 251 h 752"/>
              <a:gd name="T2" fmla="*/ 430 w 860"/>
              <a:gd name="T3" fmla="*/ 0 h 752"/>
              <a:gd name="T4" fmla="*/ 0 w 860"/>
              <a:gd name="T5" fmla="*/ 251 h 752"/>
              <a:gd name="T6" fmla="*/ 144 w 860"/>
              <a:gd name="T7" fmla="*/ 335 h 752"/>
              <a:gd name="T8" fmla="*/ 144 w 860"/>
              <a:gd name="T9" fmla="*/ 476 h 752"/>
              <a:gd name="T10" fmla="*/ 149 w 860"/>
              <a:gd name="T11" fmla="*/ 484 h 752"/>
              <a:gd name="T12" fmla="*/ 430 w 860"/>
              <a:gd name="T13" fmla="*/ 645 h 752"/>
              <a:gd name="T14" fmla="*/ 573 w 860"/>
              <a:gd name="T15" fmla="*/ 611 h 752"/>
              <a:gd name="T16" fmla="*/ 573 w 860"/>
              <a:gd name="T17" fmla="*/ 528 h 752"/>
              <a:gd name="T18" fmla="*/ 430 w 860"/>
              <a:gd name="T19" fmla="*/ 573 h 752"/>
              <a:gd name="T20" fmla="*/ 215 w 860"/>
              <a:gd name="T21" fmla="*/ 456 h 752"/>
              <a:gd name="T22" fmla="*/ 215 w 860"/>
              <a:gd name="T23" fmla="*/ 376 h 752"/>
              <a:gd name="T24" fmla="*/ 430 w 860"/>
              <a:gd name="T25" fmla="*/ 502 h 752"/>
              <a:gd name="T26" fmla="*/ 553 w 860"/>
              <a:gd name="T27" fmla="*/ 430 h 752"/>
              <a:gd name="T28" fmla="*/ 483 w 860"/>
              <a:gd name="T29" fmla="*/ 388 h 752"/>
              <a:gd name="T30" fmla="*/ 430 w 860"/>
              <a:gd name="T31" fmla="*/ 419 h 752"/>
              <a:gd name="T32" fmla="*/ 143 w 860"/>
              <a:gd name="T33" fmla="*/ 251 h 752"/>
              <a:gd name="T34" fmla="*/ 430 w 860"/>
              <a:gd name="T35" fmla="*/ 83 h 752"/>
              <a:gd name="T36" fmla="*/ 718 w 860"/>
              <a:gd name="T37" fmla="*/ 251 h 752"/>
              <a:gd name="T38" fmla="*/ 624 w 860"/>
              <a:gd name="T39" fmla="*/ 306 h 752"/>
              <a:gd name="T40" fmla="*/ 454 w 860"/>
              <a:gd name="T41" fmla="*/ 205 h 752"/>
              <a:gd name="T42" fmla="*/ 391 w 860"/>
              <a:gd name="T43" fmla="*/ 247 h 752"/>
              <a:gd name="T44" fmla="*/ 390 w 860"/>
              <a:gd name="T45" fmla="*/ 250 h 752"/>
              <a:gd name="T46" fmla="*/ 645 w 860"/>
              <a:gd name="T47" fmla="*/ 401 h 752"/>
              <a:gd name="T48" fmla="*/ 645 w 860"/>
              <a:gd name="T49" fmla="*/ 752 h 752"/>
              <a:gd name="T50" fmla="*/ 717 w 860"/>
              <a:gd name="T51" fmla="*/ 752 h 752"/>
              <a:gd name="T52" fmla="*/ 717 w 860"/>
              <a:gd name="T53" fmla="*/ 361 h 752"/>
              <a:gd name="T54" fmla="*/ 694 w 860"/>
              <a:gd name="T55" fmla="*/ 347 h 752"/>
              <a:gd name="T56" fmla="*/ 860 w 860"/>
              <a:gd name="T57" fmla="*/ 25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860" h="752">
                <a:moveTo>
                  <a:pt x="860" y="251"/>
                </a:moveTo>
                <a:lnTo>
                  <a:pt x="430" y="0"/>
                </a:lnTo>
                <a:lnTo>
                  <a:pt x="0" y="251"/>
                </a:lnTo>
                <a:lnTo>
                  <a:pt x="144" y="335"/>
                </a:lnTo>
                <a:lnTo>
                  <a:pt x="144" y="476"/>
                </a:lnTo>
                <a:lnTo>
                  <a:pt x="149" y="484"/>
                </a:lnTo>
                <a:cubicBezTo>
                  <a:pt x="207" y="583"/>
                  <a:pt x="315" y="645"/>
                  <a:pt x="430" y="645"/>
                </a:cubicBezTo>
                <a:cubicBezTo>
                  <a:pt x="481" y="645"/>
                  <a:pt x="529" y="632"/>
                  <a:pt x="573" y="611"/>
                </a:cubicBezTo>
                <a:lnTo>
                  <a:pt x="573" y="528"/>
                </a:lnTo>
                <a:cubicBezTo>
                  <a:pt x="532" y="557"/>
                  <a:pt x="482" y="573"/>
                  <a:pt x="430" y="573"/>
                </a:cubicBezTo>
                <a:cubicBezTo>
                  <a:pt x="343" y="573"/>
                  <a:pt x="262" y="528"/>
                  <a:pt x="215" y="456"/>
                </a:cubicBezTo>
                <a:lnTo>
                  <a:pt x="215" y="376"/>
                </a:lnTo>
                <a:lnTo>
                  <a:pt x="430" y="502"/>
                </a:lnTo>
                <a:lnTo>
                  <a:pt x="553" y="430"/>
                </a:lnTo>
                <a:lnTo>
                  <a:pt x="483" y="388"/>
                </a:lnTo>
                <a:lnTo>
                  <a:pt x="430" y="419"/>
                </a:lnTo>
                <a:lnTo>
                  <a:pt x="143" y="251"/>
                </a:lnTo>
                <a:lnTo>
                  <a:pt x="430" y="83"/>
                </a:lnTo>
                <a:lnTo>
                  <a:pt x="718" y="251"/>
                </a:lnTo>
                <a:lnTo>
                  <a:pt x="624" y="306"/>
                </a:lnTo>
                <a:lnTo>
                  <a:pt x="454" y="205"/>
                </a:lnTo>
                <a:lnTo>
                  <a:pt x="391" y="247"/>
                </a:lnTo>
                <a:lnTo>
                  <a:pt x="390" y="250"/>
                </a:lnTo>
                <a:lnTo>
                  <a:pt x="645" y="401"/>
                </a:lnTo>
                <a:lnTo>
                  <a:pt x="645" y="752"/>
                </a:lnTo>
                <a:lnTo>
                  <a:pt x="717" y="752"/>
                </a:lnTo>
                <a:lnTo>
                  <a:pt x="717" y="361"/>
                </a:lnTo>
                <a:lnTo>
                  <a:pt x="694" y="347"/>
                </a:lnTo>
                <a:lnTo>
                  <a:pt x="860" y="25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7" name="Freeform 10"/>
          <p:cNvSpPr>
            <a:spLocks noEditPoints="1"/>
          </p:cNvSpPr>
          <p:nvPr/>
        </p:nvSpPr>
        <p:spPr bwMode="auto">
          <a:xfrm>
            <a:off x="7614768" y="2782742"/>
            <a:ext cx="391642" cy="346149"/>
          </a:xfrm>
          <a:custGeom>
            <a:avLst/>
            <a:gdLst>
              <a:gd name="T0" fmla="*/ 608 w 859"/>
              <a:gd name="T1" fmla="*/ 0 h 752"/>
              <a:gd name="T2" fmla="*/ 250 w 859"/>
              <a:gd name="T3" fmla="*/ 0 h 752"/>
              <a:gd name="T4" fmla="*/ 250 w 859"/>
              <a:gd name="T5" fmla="*/ 72 h 752"/>
              <a:gd name="T6" fmla="*/ 608 w 859"/>
              <a:gd name="T7" fmla="*/ 72 h 752"/>
              <a:gd name="T8" fmla="*/ 608 w 859"/>
              <a:gd name="T9" fmla="*/ 0 h 752"/>
              <a:gd name="T10" fmla="*/ 608 w 859"/>
              <a:gd name="T11" fmla="*/ 394 h 752"/>
              <a:gd name="T12" fmla="*/ 608 w 859"/>
              <a:gd name="T13" fmla="*/ 322 h 752"/>
              <a:gd name="T14" fmla="*/ 537 w 859"/>
              <a:gd name="T15" fmla="*/ 322 h 752"/>
              <a:gd name="T16" fmla="*/ 537 w 859"/>
              <a:gd name="T17" fmla="*/ 394 h 752"/>
              <a:gd name="T18" fmla="*/ 322 w 859"/>
              <a:gd name="T19" fmla="*/ 394 h 752"/>
              <a:gd name="T20" fmla="*/ 322 w 859"/>
              <a:gd name="T21" fmla="*/ 322 h 752"/>
              <a:gd name="T22" fmla="*/ 250 w 859"/>
              <a:gd name="T23" fmla="*/ 322 h 752"/>
              <a:gd name="T24" fmla="*/ 250 w 859"/>
              <a:gd name="T25" fmla="*/ 394 h 752"/>
              <a:gd name="T26" fmla="*/ 71 w 859"/>
              <a:gd name="T27" fmla="*/ 394 h 752"/>
              <a:gd name="T28" fmla="*/ 71 w 859"/>
              <a:gd name="T29" fmla="*/ 215 h 752"/>
              <a:gd name="T30" fmla="*/ 787 w 859"/>
              <a:gd name="T31" fmla="*/ 215 h 752"/>
              <a:gd name="T32" fmla="*/ 787 w 859"/>
              <a:gd name="T33" fmla="*/ 394 h 752"/>
              <a:gd name="T34" fmla="*/ 608 w 859"/>
              <a:gd name="T35" fmla="*/ 394 h 752"/>
              <a:gd name="T36" fmla="*/ 0 w 859"/>
              <a:gd name="T37" fmla="*/ 143 h 752"/>
              <a:gd name="T38" fmla="*/ 0 w 859"/>
              <a:gd name="T39" fmla="*/ 376 h 752"/>
              <a:gd name="T40" fmla="*/ 71 w 859"/>
              <a:gd name="T41" fmla="*/ 466 h 752"/>
              <a:gd name="T42" fmla="*/ 250 w 859"/>
              <a:gd name="T43" fmla="*/ 466 h 752"/>
              <a:gd name="T44" fmla="*/ 250 w 859"/>
              <a:gd name="T45" fmla="*/ 537 h 752"/>
              <a:gd name="T46" fmla="*/ 322 w 859"/>
              <a:gd name="T47" fmla="*/ 537 h 752"/>
              <a:gd name="T48" fmla="*/ 322 w 859"/>
              <a:gd name="T49" fmla="*/ 466 h 752"/>
              <a:gd name="T50" fmla="*/ 537 w 859"/>
              <a:gd name="T51" fmla="*/ 466 h 752"/>
              <a:gd name="T52" fmla="*/ 537 w 859"/>
              <a:gd name="T53" fmla="*/ 537 h 752"/>
              <a:gd name="T54" fmla="*/ 608 w 859"/>
              <a:gd name="T55" fmla="*/ 537 h 752"/>
              <a:gd name="T56" fmla="*/ 608 w 859"/>
              <a:gd name="T57" fmla="*/ 466 h 752"/>
              <a:gd name="T58" fmla="*/ 788 w 859"/>
              <a:gd name="T59" fmla="*/ 466 h 752"/>
              <a:gd name="T60" fmla="*/ 859 w 859"/>
              <a:gd name="T61" fmla="*/ 376 h 752"/>
              <a:gd name="T62" fmla="*/ 859 w 859"/>
              <a:gd name="T63" fmla="*/ 143 h 752"/>
              <a:gd name="T64" fmla="*/ 0 w 859"/>
              <a:gd name="T65" fmla="*/ 143 h 752"/>
              <a:gd name="T66" fmla="*/ 716 w 859"/>
              <a:gd name="T67" fmla="*/ 681 h 752"/>
              <a:gd name="T68" fmla="*/ 143 w 859"/>
              <a:gd name="T69" fmla="*/ 681 h 752"/>
              <a:gd name="T70" fmla="*/ 143 w 859"/>
              <a:gd name="T71" fmla="*/ 502 h 752"/>
              <a:gd name="T72" fmla="*/ 71 w 859"/>
              <a:gd name="T73" fmla="*/ 502 h 752"/>
              <a:gd name="T74" fmla="*/ 71 w 859"/>
              <a:gd name="T75" fmla="*/ 668 h 752"/>
              <a:gd name="T76" fmla="*/ 143 w 859"/>
              <a:gd name="T77" fmla="*/ 752 h 752"/>
              <a:gd name="T78" fmla="*/ 716 w 859"/>
              <a:gd name="T79" fmla="*/ 752 h 752"/>
              <a:gd name="T80" fmla="*/ 787 w 859"/>
              <a:gd name="T81" fmla="*/ 668 h 752"/>
              <a:gd name="T82" fmla="*/ 787 w 859"/>
              <a:gd name="T83" fmla="*/ 502 h 752"/>
              <a:gd name="T84" fmla="*/ 716 w 859"/>
              <a:gd name="T85" fmla="*/ 502 h 752"/>
              <a:gd name="T86" fmla="*/ 716 w 859"/>
              <a:gd name="T87" fmla="*/ 68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859" h="752">
                <a:moveTo>
                  <a:pt x="608" y="0"/>
                </a:moveTo>
                <a:lnTo>
                  <a:pt x="250" y="0"/>
                </a:lnTo>
                <a:lnTo>
                  <a:pt x="250" y="72"/>
                </a:lnTo>
                <a:lnTo>
                  <a:pt x="608" y="72"/>
                </a:lnTo>
                <a:lnTo>
                  <a:pt x="608" y="0"/>
                </a:lnTo>
                <a:close/>
                <a:moveTo>
                  <a:pt x="608" y="394"/>
                </a:moveTo>
                <a:lnTo>
                  <a:pt x="608" y="322"/>
                </a:lnTo>
                <a:lnTo>
                  <a:pt x="537" y="322"/>
                </a:lnTo>
                <a:lnTo>
                  <a:pt x="537" y="394"/>
                </a:lnTo>
                <a:lnTo>
                  <a:pt x="322" y="394"/>
                </a:lnTo>
                <a:lnTo>
                  <a:pt x="322" y="322"/>
                </a:lnTo>
                <a:lnTo>
                  <a:pt x="250" y="322"/>
                </a:lnTo>
                <a:lnTo>
                  <a:pt x="250" y="394"/>
                </a:lnTo>
                <a:lnTo>
                  <a:pt x="71" y="394"/>
                </a:lnTo>
                <a:lnTo>
                  <a:pt x="71" y="215"/>
                </a:lnTo>
                <a:lnTo>
                  <a:pt x="787" y="215"/>
                </a:lnTo>
                <a:lnTo>
                  <a:pt x="787" y="394"/>
                </a:lnTo>
                <a:lnTo>
                  <a:pt x="608" y="394"/>
                </a:lnTo>
                <a:close/>
                <a:moveTo>
                  <a:pt x="0" y="143"/>
                </a:moveTo>
                <a:lnTo>
                  <a:pt x="0" y="376"/>
                </a:lnTo>
                <a:cubicBezTo>
                  <a:pt x="0" y="416"/>
                  <a:pt x="32" y="466"/>
                  <a:pt x="71" y="466"/>
                </a:cubicBezTo>
                <a:lnTo>
                  <a:pt x="250" y="466"/>
                </a:lnTo>
                <a:lnTo>
                  <a:pt x="250" y="537"/>
                </a:lnTo>
                <a:lnTo>
                  <a:pt x="322" y="537"/>
                </a:lnTo>
                <a:lnTo>
                  <a:pt x="322" y="466"/>
                </a:lnTo>
                <a:lnTo>
                  <a:pt x="537" y="466"/>
                </a:lnTo>
                <a:lnTo>
                  <a:pt x="537" y="537"/>
                </a:lnTo>
                <a:lnTo>
                  <a:pt x="608" y="537"/>
                </a:lnTo>
                <a:lnTo>
                  <a:pt x="608" y="466"/>
                </a:lnTo>
                <a:lnTo>
                  <a:pt x="788" y="466"/>
                </a:lnTo>
                <a:cubicBezTo>
                  <a:pt x="827" y="466"/>
                  <a:pt x="859" y="416"/>
                  <a:pt x="859" y="376"/>
                </a:cubicBezTo>
                <a:lnTo>
                  <a:pt x="859" y="143"/>
                </a:lnTo>
                <a:lnTo>
                  <a:pt x="0" y="143"/>
                </a:lnTo>
                <a:close/>
                <a:moveTo>
                  <a:pt x="716" y="681"/>
                </a:moveTo>
                <a:lnTo>
                  <a:pt x="143" y="681"/>
                </a:lnTo>
                <a:lnTo>
                  <a:pt x="143" y="502"/>
                </a:lnTo>
                <a:lnTo>
                  <a:pt x="71" y="502"/>
                </a:lnTo>
                <a:lnTo>
                  <a:pt x="71" y="668"/>
                </a:lnTo>
                <a:cubicBezTo>
                  <a:pt x="71" y="704"/>
                  <a:pt x="104" y="752"/>
                  <a:pt x="143" y="752"/>
                </a:cubicBezTo>
                <a:lnTo>
                  <a:pt x="716" y="752"/>
                </a:lnTo>
                <a:cubicBezTo>
                  <a:pt x="755" y="752"/>
                  <a:pt x="787" y="704"/>
                  <a:pt x="787" y="668"/>
                </a:cubicBezTo>
                <a:lnTo>
                  <a:pt x="787" y="502"/>
                </a:lnTo>
                <a:lnTo>
                  <a:pt x="716" y="502"/>
                </a:lnTo>
                <a:lnTo>
                  <a:pt x="716" y="68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4" name="Прямоугольник 23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0" y="6516869"/>
            <a:ext cx="12192000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ГК «Просвещение», 2021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948970" y="108504"/>
            <a:ext cx="244579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ЕГЭ 2021 физика </a:t>
            </a:r>
            <a:endParaRPr kumimoji="0" lang="ru-RU" sz="24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20" name="Рисунок 1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18009" y="770017"/>
            <a:ext cx="3952067" cy="2778186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1" name="Стрелка вправо 20"/>
          <p:cNvSpPr/>
          <p:nvPr/>
        </p:nvSpPr>
        <p:spPr>
          <a:xfrm>
            <a:off x="4590603" y="1896003"/>
            <a:ext cx="1181819" cy="526212"/>
          </a:xfrm>
          <a:prstGeom prst="rightArrow">
            <a:avLst/>
          </a:prstGeom>
          <a:solidFill>
            <a:schemeClr val="accent2">
              <a:lumMod val="60000"/>
              <a:lumOff val="40000"/>
              <a:alpha val="81000"/>
            </a:schemeClr>
          </a:solidFill>
          <a:ln w="34925"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946469" y="993142"/>
            <a:ext cx="5886450" cy="2524125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3" name="TextBox 22"/>
          <p:cNvSpPr txBox="1"/>
          <p:nvPr/>
        </p:nvSpPr>
        <p:spPr>
          <a:xfrm>
            <a:off x="777144" y="3864660"/>
            <a:ext cx="99905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Постановление правительства РФ № 256 от 26.02.2021. Познакомиться с документом можно </a:t>
            </a: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  <a:hlinkClick r:id="rId6"/>
              </a:rPr>
              <a:t>здесь</a:t>
            </a: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. </a:t>
            </a: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9938001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2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2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" grpId="0" animBg="1"/>
      <p:bldP spid="23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48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cxnSp>
        <p:nvCxnSpPr>
          <p:cNvPr id="68" name="Прямая соединительная линия 67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Freeform 8"/>
          <p:cNvSpPr>
            <a:spLocks/>
          </p:cNvSpPr>
          <p:nvPr/>
        </p:nvSpPr>
        <p:spPr bwMode="auto">
          <a:xfrm>
            <a:off x="7596965" y="3958541"/>
            <a:ext cx="391642" cy="348126"/>
          </a:xfrm>
          <a:custGeom>
            <a:avLst/>
            <a:gdLst>
              <a:gd name="T0" fmla="*/ 860 w 860"/>
              <a:gd name="T1" fmla="*/ 251 h 752"/>
              <a:gd name="T2" fmla="*/ 430 w 860"/>
              <a:gd name="T3" fmla="*/ 0 h 752"/>
              <a:gd name="T4" fmla="*/ 0 w 860"/>
              <a:gd name="T5" fmla="*/ 251 h 752"/>
              <a:gd name="T6" fmla="*/ 144 w 860"/>
              <a:gd name="T7" fmla="*/ 335 h 752"/>
              <a:gd name="T8" fmla="*/ 144 w 860"/>
              <a:gd name="T9" fmla="*/ 476 h 752"/>
              <a:gd name="T10" fmla="*/ 149 w 860"/>
              <a:gd name="T11" fmla="*/ 484 h 752"/>
              <a:gd name="T12" fmla="*/ 430 w 860"/>
              <a:gd name="T13" fmla="*/ 645 h 752"/>
              <a:gd name="T14" fmla="*/ 573 w 860"/>
              <a:gd name="T15" fmla="*/ 611 h 752"/>
              <a:gd name="T16" fmla="*/ 573 w 860"/>
              <a:gd name="T17" fmla="*/ 528 h 752"/>
              <a:gd name="T18" fmla="*/ 430 w 860"/>
              <a:gd name="T19" fmla="*/ 573 h 752"/>
              <a:gd name="T20" fmla="*/ 215 w 860"/>
              <a:gd name="T21" fmla="*/ 456 h 752"/>
              <a:gd name="T22" fmla="*/ 215 w 860"/>
              <a:gd name="T23" fmla="*/ 376 h 752"/>
              <a:gd name="T24" fmla="*/ 430 w 860"/>
              <a:gd name="T25" fmla="*/ 502 h 752"/>
              <a:gd name="T26" fmla="*/ 553 w 860"/>
              <a:gd name="T27" fmla="*/ 430 h 752"/>
              <a:gd name="T28" fmla="*/ 483 w 860"/>
              <a:gd name="T29" fmla="*/ 388 h 752"/>
              <a:gd name="T30" fmla="*/ 430 w 860"/>
              <a:gd name="T31" fmla="*/ 419 h 752"/>
              <a:gd name="T32" fmla="*/ 143 w 860"/>
              <a:gd name="T33" fmla="*/ 251 h 752"/>
              <a:gd name="T34" fmla="*/ 430 w 860"/>
              <a:gd name="T35" fmla="*/ 83 h 752"/>
              <a:gd name="T36" fmla="*/ 718 w 860"/>
              <a:gd name="T37" fmla="*/ 251 h 752"/>
              <a:gd name="T38" fmla="*/ 624 w 860"/>
              <a:gd name="T39" fmla="*/ 306 h 752"/>
              <a:gd name="T40" fmla="*/ 454 w 860"/>
              <a:gd name="T41" fmla="*/ 205 h 752"/>
              <a:gd name="T42" fmla="*/ 391 w 860"/>
              <a:gd name="T43" fmla="*/ 247 h 752"/>
              <a:gd name="T44" fmla="*/ 390 w 860"/>
              <a:gd name="T45" fmla="*/ 250 h 752"/>
              <a:gd name="T46" fmla="*/ 645 w 860"/>
              <a:gd name="T47" fmla="*/ 401 h 752"/>
              <a:gd name="T48" fmla="*/ 645 w 860"/>
              <a:gd name="T49" fmla="*/ 752 h 752"/>
              <a:gd name="T50" fmla="*/ 717 w 860"/>
              <a:gd name="T51" fmla="*/ 752 h 752"/>
              <a:gd name="T52" fmla="*/ 717 w 860"/>
              <a:gd name="T53" fmla="*/ 361 h 752"/>
              <a:gd name="T54" fmla="*/ 694 w 860"/>
              <a:gd name="T55" fmla="*/ 347 h 752"/>
              <a:gd name="T56" fmla="*/ 860 w 860"/>
              <a:gd name="T57" fmla="*/ 25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860" h="752">
                <a:moveTo>
                  <a:pt x="860" y="251"/>
                </a:moveTo>
                <a:lnTo>
                  <a:pt x="430" y="0"/>
                </a:lnTo>
                <a:lnTo>
                  <a:pt x="0" y="251"/>
                </a:lnTo>
                <a:lnTo>
                  <a:pt x="144" y="335"/>
                </a:lnTo>
                <a:lnTo>
                  <a:pt x="144" y="476"/>
                </a:lnTo>
                <a:lnTo>
                  <a:pt x="149" y="484"/>
                </a:lnTo>
                <a:cubicBezTo>
                  <a:pt x="207" y="583"/>
                  <a:pt x="315" y="645"/>
                  <a:pt x="430" y="645"/>
                </a:cubicBezTo>
                <a:cubicBezTo>
                  <a:pt x="481" y="645"/>
                  <a:pt x="529" y="632"/>
                  <a:pt x="573" y="611"/>
                </a:cubicBezTo>
                <a:lnTo>
                  <a:pt x="573" y="528"/>
                </a:lnTo>
                <a:cubicBezTo>
                  <a:pt x="532" y="557"/>
                  <a:pt x="482" y="573"/>
                  <a:pt x="430" y="573"/>
                </a:cubicBezTo>
                <a:cubicBezTo>
                  <a:pt x="343" y="573"/>
                  <a:pt x="262" y="528"/>
                  <a:pt x="215" y="456"/>
                </a:cubicBezTo>
                <a:lnTo>
                  <a:pt x="215" y="376"/>
                </a:lnTo>
                <a:lnTo>
                  <a:pt x="430" y="502"/>
                </a:lnTo>
                <a:lnTo>
                  <a:pt x="553" y="430"/>
                </a:lnTo>
                <a:lnTo>
                  <a:pt x="483" y="388"/>
                </a:lnTo>
                <a:lnTo>
                  <a:pt x="430" y="419"/>
                </a:lnTo>
                <a:lnTo>
                  <a:pt x="143" y="251"/>
                </a:lnTo>
                <a:lnTo>
                  <a:pt x="430" y="83"/>
                </a:lnTo>
                <a:lnTo>
                  <a:pt x="718" y="251"/>
                </a:lnTo>
                <a:lnTo>
                  <a:pt x="624" y="306"/>
                </a:lnTo>
                <a:lnTo>
                  <a:pt x="454" y="205"/>
                </a:lnTo>
                <a:lnTo>
                  <a:pt x="391" y="247"/>
                </a:lnTo>
                <a:lnTo>
                  <a:pt x="390" y="250"/>
                </a:lnTo>
                <a:lnTo>
                  <a:pt x="645" y="401"/>
                </a:lnTo>
                <a:lnTo>
                  <a:pt x="645" y="752"/>
                </a:lnTo>
                <a:lnTo>
                  <a:pt x="717" y="752"/>
                </a:lnTo>
                <a:lnTo>
                  <a:pt x="717" y="361"/>
                </a:lnTo>
                <a:lnTo>
                  <a:pt x="694" y="347"/>
                </a:lnTo>
                <a:lnTo>
                  <a:pt x="860" y="25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7" name="Freeform 10"/>
          <p:cNvSpPr>
            <a:spLocks noEditPoints="1"/>
          </p:cNvSpPr>
          <p:nvPr/>
        </p:nvSpPr>
        <p:spPr bwMode="auto">
          <a:xfrm>
            <a:off x="7614768" y="2782742"/>
            <a:ext cx="391642" cy="346149"/>
          </a:xfrm>
          <a:custGeom>
            <a:avLst/>
            <a:gdLst>
              <a:gd name="T0" fmla="*/ 608 w 859"/>
              <a:gd name="T1" fmla="*/ 0 h 752"/>
              <a:gd name="T2" fmla="*/ 250 w 859"/>
              <a:gd name="T3" fmla="*/ 0 h 752"/>
              <a:gd name="T4" fmla="*/ 250 w 859"/>
              <a:gd name="T5" fmla="*/ 72 h 752"/>
              <a:gd name="T6" fmla="*/ 608 w 859"/>
              <a:gd name="T7" fmla="*/ 72 h 752"/>
              <a:gd name="T8" fmla="*/ 608 w 859"/>
              <a:gd name="T9" fmla="*/ 0 h 752"/>
              <a:gd name="T10" fmla="*/ 608 w 859"/>
              <a:gd name="T11" fmla="*/ 394 h 752"/>
              <a:gd name="T12" fmla="*/ 608 w 859"/>
              <a:gd name="T13" fmla="*/ 322 h 752"/>
              <a:gd name="T14" fmla="*/ 537 w 859"/>
              <a:gd name="T15" fmla="*/ 322 h 752"/>
              <a:gd name="T16" fmla="*/ 537 w 859"/>
              <a:gd name="T17" fmla="*/ 394 h 752"/>
              <a:gd name="T18" fmla="*/ 322 w 859"/>
              <a:gd name="T19" fmla="*/ 394 h 752"/>
              <a:gd name="T20" fmla="*/ 322 w 859"/>
              <a:gd name="T21" fmla="*/ 322 h 752"/>
              <a:gd name="T22" fmla="*/ 250 w 859"/>
              <a:gd name="T23" fmla="*/ 322 h 752"/>
              <a:gd name="T24" fmla="*/ 250 w 859"/>
              <a:gd name="T25" fmla="*/ 394 h 752"/>
              <a:gd name="T26" fmla="*/ 71 w 859"/>
              <a:gd name="T27" fmla="*/ 394 h 752"/>
              <a:gd name="T28" fmla="*/ 71 w 859"/>
              <a:gd name="T29" fmla="*/ 215 h 752"/>
              <a:gd name="T30" fmla="*/ 787 w 859"/>
              <a:gd name="T31" fmla="*/ 215 h 752"/>
              <a:gd name="T32" fmla="*/ 787 w 859"/>
              <a:gd name="T33" fmla="*/ 394 h 752"/>
              <a:gd name="T34" fmla="*/ 608 w 859"/>
              <a:gd name="T35" fmla="*/ 394 h 752"/>
              <a:gd name="T36" fmla="*/ 0 w 859"/>
              <a:gd name="T37" fmla="*/ 143 h 752"/>
              <a:gd name="T38" fmla="*/ 0 w 859"/>
              <a:gd name="T39" fmla="*/ 376 h 752"/>
              <a:gd name="T40" fmla="*/ 71 w 859"/>
              <a:gd name="T41" fmla="*/ 466 h 752"/>
              <a:gd name="T42" fmla="*/ 250 w 859"/>
              <a:gd name="T43" fmla="*/ 466 h 752"/>
              <a:gd name="T44" fmla="*/ 250 w 859"/>
              <a:gd name="T45" fmla="*/ 537 h 752"/>
              <a:gd name="T46" fmla="*/ 322 w 859"/>
              <a:gd name="T47" fmla="*/ 537 h 752"/>
              <a:gd name="T48" fmla="*/ 322 w 859"/>
              <a:gd name="T49" fmla="*/ 466 h 752"/>
              <a:gd name="T50" fmla="*/ 537 w 859"/>
              <a:gd name="T51" fmla="*/ 466 h 752"/>
              <a:gd name="T52" fmla="*/ 537 w 859"/>
              <a:gd name="T53" fmla="*/ 537 h 752"/>
              <a:gd name="T54" fmla="*/ 608 w 859"/>
              <a:gd name="T55" fmla="*/ 537 h 752"/>
              <a:gd name="T56" fmla="*/ 608 w 859"/>
              <a:gd name="T57" fmla="*/ 466 h 752"/>
              <a:gd name="T58" fmla="*/ 788 w 859"/>
              <a:gd name="T59" fmla="*/ 466 h 752"/>
              <a:gd name="T60" fmla="*/ 859 w 859"/>
              <a:gd name="T61" fmla="*/ 376 h 752"/>
              <a:gd name="T62" fmla="*/ 859 w 859"/>
              <a:gd name="T63" fmla="*/ 143 h 752"/>
              <a:gd name="T64" fmla="*/ 0 w 859"/>
              <a:gd name="T65" fmla="*/ 143 h 752"/>
              <a:gd name="T66" fmla="*/ 716 w 859"/>
              <a:gd name="T67" fmla="*/ 681 h 752"/>
              <a:gd name="T68" fmla="*/ 143 w 859"/>
              <a:gd name="T69" fmla="*/ 681 h 752"/>
              <a:gd name="T70" fmla="*/ 143 w 859"/>
              <a:gd name="T71" fmla="*/ 502 h 752"/>
              <a:gd name="T72" fmla="*/ 71 w 859"/>
              <a:gd name="T73" fmla="*/ 502 h 752"/>
              <a:gd name="T74" fmla="*/ 71 w 859"/>
              <a:gd name="T75" fmla="*/ 668 h 752"/>
              <a:gd name="T76" fmla="*/ 143 w 859"/>
              <a:gd name="T77" fmla="*/ 752 h 752"/>
              <a:gd name="T78" fmla="*/ 716 w 859"/>
              <a:gd name="T79" fmla="*/ 752 h 752"/>
              <a:gd name="T80" fmla="*/ 787 w 859"/>
              <a:gd name="T81" fmla="*/ 668 h 752"/>
              <a:gd name="T82" fmla="*/ 787 w 859"/>
              <a:gd name="T83" fmla="*/ 502 h 752"/>
              <a:gd name="T84" fmla="*/ 716 w 859"/>
              <a:gd name="T85" fmla="*/ 502 h 752"/>
              <a:gd name="T86" fmla="*/ 716 w 859"/>
              <a:gd name="T87" fmla="*/ 68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859" h="752">
                <a:moveTo>
                  <a:pt x="608" y="0"/>
                </a:moveTo>
                <a:lnTo>
                  <a:pt x="250" y="0"/>
                </a:lnTo>
                <a:lnTo>
                  <a:pt x="250" y="72"/>
                </a:lnTo>
                <a:lnTo>
                  <a:pt x="608" y="72"/>
                </a:lnTo>
                <a:lnTo>
                  <a:pt x="608" y="0"/>
                </a:lnTo>
                <a:close/>
                <a:moveTo>
                  <a:pt x="608" y="394"/>
                </a:moveTo>
                <a:lnTo>
                  <a:pt x="608" y="322"/>
                </a:lnTo>
                <a:lnTo>
                  <a:pt x="537" y="322"/>
                </a:lnTo>
                <a:lnTo>
                  <a:pt x="537" y="394"/>
                </a:lnTo>
                <a:lnTo>
                  <a:pt x="322" y="394"/>
                </a:lnTo>
                <a:lnTo>
                  <a:pt x="322" y="322"/>
                </a:lnTo>
                <a:lnTo>
                  <a:pt x="250" y="322"/>
                </a:lnTo>
                <a:lnTo>
                  <a:pt x="250" y="394"/>
                </a:lnTo>
                <a:lnTo>
                  <a:pt x="71" y="394"/>
                </a:lnTo>
                <a:lnTo>
                  <a:pt x="71" y="215"/>
                </a:lnTo>
                <a:lnTo>
                  <a:pt x="787" y="215"/>
                </a:lnTo>
                <a:lnTo>
                  <a:pt x="787" y="394"/>
                </a:lnTo>
                <a:lnTo>
                  <a:pt x="608" y="394"/>
                </a:lnTo>
                <a:close/>
                <a:moveTo>
                  <a:pt x="0" y="143"/>
                </a:moveTo>
                <a:lnTo>
                  <a:pt x="0" y="376"/>
                </a:lnTo>
                <a:cubicBezTo>
                  <a:pt x="0" y="416"/>
                  <a:pt x="32" y="466"/>
                  <a:pt x="71" y="466"/>
                </a:cubicBezTo>
                <a:lnTo>
                  <a:pt x="250" y="466"/>
                </a:lnTo>
                <a:lnTo>
                  <a:pt x="250" y="537"/>
                </a:lnTo>
                <a:lnTo>
                  <a:pt x="322" y="537"/>
                </a:lnTo>
                <a:lnTo>
                  <a:pt x="322" y="466"/>
                </a:lnTo>
                <a:lnTo>
                  <a:pt x="537" y="466"/>
                </a:lnTo>
                <a:lnTo>
                  <a:pt x="537" y="537"/>
                </a:lnTo>
                <a:lnTo>
                  <a:pt x="608" y="537"/>
                </a:lnTo>
                <a:lnTo>
                  <a:pt x="608" y="466"/>
                </a:lnTo>
                <a:lnTo>
                  <a:pt x="788" y="466"/>
                </a:lnTo>
                <a:cubicBezTo>
                  <a:pt x="827" y="466"/>
                  <a:pt x="859" y="416"/>
                  <a:pt x="859" y="376"/>
                </a:cubicBezTo>
                <a:lnTo>
                  <a:pt x="859" y="143"/>
                </a:lnTo>
                <a:lnTo>
                  <a:pt x="0" y="143"/>
                </a:lnTo>
                <a:close/>
                <a:moveTo>
                  <a:pt x="716" y="681"/>
                </a:moveTo>
                <a:lnTo>
                  <a:pt x="143" y="681"/>
                </a:lnTo>
                <a:lnTo>
                  <a:pt x="143" y="502"/>
                </a:lnTo>
                <a:lnTo>
                  <a:pt x="71" y="502"/>
                </a:lnTo>
                <a:lnTo>
                  <a:pt x="71" y="668"/>
                </a:lnTo>
                <a:cubicBezTo>
                  <a:pt x="71" y="704"/>
                  <a:pt x="104" y="752"/>
                  <a:pt x="143" y="752"/>
                </a:cubicBezTo>
                <a:lnTo>
                  <a:pt x="716" y="752"/>
                </a:lnTo>
                <a:cubicBezTo>
                  <a:pt x="755" y="752"/>
                  <a:pt x="787" y="704"/>
                  <a:pt x="787" y="668"/>
                </a:cubicBezTo>
                <a:lnTo>
                  <a:pt x="787" y="502"/>
                </a:lnTo>
                <a:lnTo>
                  <a:pt x="716" y="502"/>
                </a:lnTo>
                <a:lnTo>
                  <a:pt x="716" y="68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4" name="Прямоугольник 23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0" y="6516869"/>
            <a:ext cx="12192000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ГК «Просвещение», 2021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948970" y="108504"/>
            <a:ext cx="244579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ЕГЭ 2021 физика </a:t>
            </a:r>
            <a:endParaRPr kumimoji="0" lang="ru-RU" sz="24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2132167" y="589185"/>
            <a:ext cx="8208963" cy="369332"/>
          </a:xfrm>
          <a:prstGeom prst="rect">
            <a:avLst/>
          </a:prstGeom>
        </p:spPr>
        <p:txBody>
          <a:bodyPr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Изменения в структуру и содержание по сравнению с 2020 г. не вносились</a:t>
            </a:r>
          </a:p>
        </p:txBody>
      </p:sp>
      <p:pic>
        <p:nvPicPr>
          <p:cNvPr id="14" name="Picture 2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1132299" y="1126616"/>
            <a:ext cx="2318824" cy="3300244"/>
          </a:xfrm>
          <a:prstGeom prst="rect">
            <a:avLst/>
          </a:prstGeom>
          <a:noFill/>
          <a:ln w="9525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</p:pic>
      <p:pic>
        <p:nvPicPr>
          <p:cNvPr id="15" name="Picture 3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8006410" y="1089709"/>
            <a:ext cx="3666074" cy="5307230"/>
          </a:xfrm>
          <a:prstGeom prst="rect">
            <a:avLst/>
          </a:prstGeom>
          <a:noFill/>
          <a:ln w="9525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</p:pic>
      <p:pic>
        <p:nvPicPr>
          <p:cNvPr id="16" name="Picture 4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3948693" y="1126616"/>
            <a:ext cx="2402945" cy="3294233"/>
          </a:xfrm>
          <a:prstGeom prst="rect">
            <a:avLst/>
          </a:prstGeom>
          <a:noFill/>
          <a:ln w="9525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</p:pic>
      <p:sp>
        <p:nvSpPr>
          <p:cNvPr id="5" name="Прямоугольник 4"/>
          <p:cNvSpPr/>
          <p:nvPr/>
        </p:nvSpPr>
        <p:spPr>
          <a:xfrm>
            <a:off x="1346768" y="4830992"/>
            <a:ext cx="6096000" cy="923330"/>
          </a:xfrm>
          <a:prstGeom prst="rect">
            <a:avLst/>
          </a:prstGeom>
        </p:spPr>
        <p:txBody>
          <a:bodyPr>
            <a:sp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32 задания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Максимальный балл – 53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35 мин. </a:t>
            </a:r>
          </a:p>
        </p:txBody>
      </p:sp>
    </p:spTree>
    <p:extLst>
      <p:ext uri="{BB962C8B-B14F-4D97-AF65-F5344CB8AC3E}">
        <p14:creationId xmlns:p14="http://schemas.microsoft.com/office/powerpoint/2010/main" val="13071025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48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cxnSp>
        <p:nvCxnSpPr>
          <p:cNvPr id="68" name="Прямая соединительная линия 67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Freeform 8"/>
          <p:cNvSpPr>
            <a:spLocks/>
          </p:cNvSpPr>
          <p:nvPr/>
        </p:nvSpPr>
        <p:spPr bwMode="auto">
          <a:xfrm>
            <a:off x="7596965" y="3958541"/>
            <a:ext cx="391642" cy="348126"/>
          </a:xfrm>
          <a:custGeom>
            <a:avLst/>
            <a:gdLst>
              <a:gd name="T0" fmla="*/ 860 w 860"/>
              <a:gd name="T1" fmla="*/ 251 h 752"/>
              <a:gd name="T2" fmla="*/ 430 w 860"/>
              <a:gd name="T3" fmla="*/ 0 h 752"/>
              <a:gd name="T4" fmla="*/ 0 w 860"/>
              <a:gd name="T5" fmla="*/ 251 h 752"/>
              <a:gd name="T6" fmla="*/ 144 w 860"/>
              <a:gd name="T7" fmla="*/ 335 h 752"/>
              <a:gd name="T8" fmla="*/ 144 w 860"/>
              <a:gd name="T9" fmla="*/ 476 h 752"/>
              <a:gd name="T10" fmla="*/ 149 w 860"/>
              <a:gd name="T11" fmla="*/ 484 h 752"/>
              <a:gd name="T12" fmla="*/ 430 w 860"/>
              <a:gd name="T13" fmla="*/ 645 h 752"/>
              <a:gd name="T14" fmla="*/ 573 w 860"/>
              <a:gd name="T15" fmla="*/ 611 h 752"/>
              <a:gd name="T16" fmla="*/ 573 w 860"/>
              <a:gd name="T17" fmla="*/ 528 h 752"/>
              <a:gd name="T18" fmla="*/ 430 w 860"/>
              <a:gd name="T19" fmla="*/ 573 h 752"/>
              <a:gd name="T20" fmla="*/ 215 w 860"/>
              <a:gd name="T21" fmla="*/ 456 h 752"/>
              <a:gd name="T22" fmla="*/ 215 w 860"/>
              <a:gd name="T23" fmla="*/ 376 h 752"/>
              <a:gd name="T24" fmla="*/ 430 w 860"/>
              <a:gd name="T25" fmla="*/ 502 h 752"/>
              <a:gd name="T26" fmla="*/ 553 w 860"/>
              <a:gd name="T27" fmla="*/ 430 h 752"/>
              <a:gd name="T28" fmla="*/ 483 w 860"/>
              <a:gd name="T29" fmla="*/ 388 h 752"/>
              <a:gd name="T30" fmla="*/ 430 w 860"/>
              <a:gd name="T31" fmla="*/ 419 h 752"/>
              <a:gd name="T32" fmla="*/ 143 w 860"/>
              <a:gd name="T33" fmla="*/ 251 h 752"/>
              <a:gd name="T34" fmla="*/ 430 w 860"/>
              <a:gd name="T35" fmla="*/ 83 h 752"/>
              <a:gd name="T36" fmla="*/ 718 w 860"/>
              <a:gd name="T37" fmla="*/ 251 h 752"/>
              <a:gd name="T38" fmla="*/ 624 w 860"/>
              <a:gd name="T39" fmla="*/ 306 h 752"/>
              <a:gd name="T40" fmla="*/ 454 w 860"/>
              <a:gd name="T41" fmla="*/ 205 h 752"/>
              <a:gd name="T42" fmla="*/ 391 w 860"/>
              <a:gd name="T43" fmla="*/ 247 h 752"/>
              <a:gd name="T44" fmla="*/ 390 w 860"/>
              <a:gd name="T45" fmla="*/ 250 h 752"/>
              <a:gd name="T46" fmla="*/ 645 w 860"/>
              <a:gd name="T47" fmla="*/ 401 h 752"/>
              <a:gd name="T48" fmla="*/ 645 w 860"/>
              <a:gd name="T49" fmla="*/ 752 h 752"/>
              <a:gd name="T50" fmla="*/ 717 w 860"/>
              <a:gd name="T51" fmla="*/ 752 h 752"/>
              <a:gd name="T52" fmla="*/ 717 w 860"/>
              <a:gd name="T53" fmla="*/ 361 h 752"/>
              <a:gd name="T54" fmla="*/ 694 w 860"/>
              <a:gd name="T55" fmla="*/ 347 h 752"/>
              <a:gd name="T56" fmla="*/ 860 w 860"/>
              <a:gd name="T57" fmla="*/ 25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860" h="752">
                <a:moveTo>
                  <a:pt x="860" y="251"/>
                </a:moveTo>
                <a:lnTo>
                  <a:pt x="430" y="0"/>
                </a:lnTo>
                <a:lnTo>
                  <a:pt x="0" y="251"/>
                </a:lnTo>
                <a:lnTo>
                  <a:pt x="144" y="335"/>
                </a:lnTo>
                <a:lnTo>
                  <a:pt x="144" y="476"/>
                </a:lnTo>
                <a:lnTo>
                  <a:pt x="149" y="484"/>
                </a:lnTo>
                <a:cubicBezTo>
                  <a:pt x="207" y="583"/>
                  <a:pt x="315" y="645"/>
                  <a:pt x="430" y="645"/>
                </a:cubicBezTo>
                <a:cubicBezTo>
                  <a:pt x="481" y="645"/>
                  <a:pt x="529" y="632"/>
                  <a:pt x="573" y="611"/>
                </a:cubicBezTo>
                <a:lnTo>
                  <a:pt x="573" y="528"/>
                </a:lnTo>
                <a:cubicBezTo>
                  <a:pt x="532" y="557"/>
                  <a:pt x="482" y="573"/>
                  <a:pt x="430" y="573"/>
                </a:cubicBezTo>
                <a:cubicBezTo>
                  <a:pt x="343" y="573"/>
                  <a:pt x="262" y="528"/>
                  <a:pt x="215" y="456"/>
                </a:cubicBezTo>
                <a:lnTo>
                  <a:pt x="215" y="376"/>
                </a:lnTo>
                <a:lnTo>
                  <a:pt x="430" y="502"/>
                </a:lnTo>
                <a:lnTo>
                  <a:pt x="553" y="430"/>
                </a:lnTo>
                <a:lnTo>
                  <a:pt x="483" y="388"/>
                </a:lnTo>
                <a:lnTo>
                  <a:pt x="430" y="419"/>
                </a:lnTo>
                <a:lnTo>
                  <a:pt x="143" y="251"/>
                </a:lnTo>
                <a:lnTo>
                  <a:pt x="430" y="83"/>
                </a:lnTo>
                <a:lnTo>
                  <a:pt x="718" y="251"/>
                </a:lnTo>
                <a:lnTo>
                  <a:pt x="624" y="306"/>
                </a:lnTo>
                <a:lnTo>
                  <a:pt x="454" y="205"/>
                </a:lnTo>
                <a:lnTo>
                  <a:pt x="391" y="247"/>
                </a:lnTo>
                <a:lnTo>
                  <a:pt x="390" y="250"/>
                </a:lnTo>
                <a:lnTo>
                  <a:pt x="645" y="401"/>
                </a:lnTo>
                <a:lnTo>
                  <a:pt x="645" y="752"/>
                </a:lnTo>
                <a:lnTo>
                  <a:pt x="717" y="752"/>
                </a:lnTo>
                <a:lnTo>
                  <a:pt x="717" y="361"/>
                </a:lnTo>
                <a:lnTo>
                  <a:pt x="694" y="347"/>
                </a:lnTo>
                <a:lnTo>
                  <a:pt x="860" y="25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7" name="Freeform 10"/>
          <p:cNvSpPr>
            <a:spLocks noEditPoints="1"/>
          </p:cNvSpPr>
          <p:nvPr/>
        </p:nvSpPr>
        <p:spPr bwMode="auto">
          <a:xfrm>
            <a:off x="7614768" y="2782742"/>
            <a:ext cx="391642" cy="346149"/>
          </a:xfrm>
          <a:custGeom>
            <a:avLst/>
            <a:gdLst>
              <a:gd name="T0" fmla="*/ 608 w 859"/>
              <a:gd name="T1" fmla="*/ 0 h 752"/>
              <a:gd name="T2" fmla="*/ 250 w 859"/>
              <a:gd name="T3" fmla="*/ 0 h 752"/>
              <a:gd name="T4" fmla="*/ 250 w 859"/>
              <a:gd name="T5" fmla="*/ 72 h 752"/>
              <a:gd name="T6" fmla="*/ 608 w 859"/>
              <a:gd name="T7" fmla="*/ 72 h 752"/>
              <a:gd name="T8" fmla="*/ 608 w 859"/>
              <a:gd name="T9" fmla="*/ 0 h 752"/>
              <a:gd name="T10" fmla="*/ 608 w 859"/>
              <a:gd name="T11" fmla="*/ 394 h 752"/>
              <a:gd name="T12" fmla="*/ 608 w 859"/>
              <a:gd name="T13" fmla="*/ 322 h 752"/>
              <a:gd name="T14" fmla="*/ 537 w 859"/>
              <a:gd name="T15" fmla="*/ 322 h 752"/>
              <a:gd name="T16" fmla="*/ 537 w 859"/>
              <a:gd name="T17" fmla="*/ 394 h 752"/>
              <a:gd name="T18" fmla="*/ 322 w 859"/>
              <a:gd name="T19" fmla="*/ 394 h 752"/>
              <a:gd name="T20" fmla="*/ 322 w 859"/>
              <a:gd name="T21" fmla="*/ 322 h 752"/>
              <a:gd name="T22" fmla="*/ 250 w 859"/>
              <a:gd name="T23" fmla="*/ 322 h 752"/>
              <a:gd name="T24" fmla="*/ 250 w 859"/>
              <a:gd name="T25" fmla="*/ 394 h 752"/>
              <a:gd name="T26" fmla="*/ 71 w 859"/>
              <a:gd name="T27" fmla="*/ 394 h 752"/>
              <a:gd name="T28" fmla="*/ 71 w 859"/>
              <a:gd name="T29" fmla="*/ 215 h 752"/>
              <a:gd name="T30" fmla="*/ 787 w 859"/>
              <a:gd name="T31" fmla="*/ 215 h 752"/>
              <a:gd name="T32" fmla="*/ 787 w 859"/>
              <a:gd name="T33" fmla="*/ 394 h 752"/>
              <a:gd name="T34" fmla="*/ 608 w 859"/>
              <a:gd name="T35" fmla="*/ 394 h 752"/>
              <a:gd name="T36" fmla="*/ 0 w 859"/>
              <a:gd name="T37" fmla="*/ 143 h 752"/>
              <a:gd name="T38" fmla="*/ 0 w 859"/>
              <a:gd name="T39" fmla="*/ 376 h 752"/>
              <a:gd name="T40" fmla="*/ 71 w 859"/>
              <a:gd name="T41" fmla="*/ 466 h 752"/>
              <a:gd name="T42" fmla="*/ 250 w 859"/>
              <a:gd name="T43" fmla="*/ 466 h 752"/>
              <a:gd name="T44" fmla="*/ 250 w 859"/>
              <a:gd name="T45" fmla="*/ 537 h 752"/>
              <a:gd name="T46" fmla="*/ 322 w 859"/>
              <a:gd name="T47" fmla="*/ 537 h 752"/>
              <a:gd name="T48" fmla="*/ 322 w 859"/>
              <a:gd name="T49" fmla="*/ 466 h 752"/>
              <a:gd name="T50" fmla="*/ 537 w 859"/>
              <a:gd name="T51" fmla="*/ 466 h 752"/>
              <a:gd name="T52" fmla="*/ 537 w 859"/>
              <a:gd name="T53" fmla="*/ 537 h 752"/>
              <a:gd name="T54" fmla="*/ 608 w 859"/>
              <a:gd name="T55" fmla="*/ 537 h 752"/>
              <a:gd name="T56" fmla="*/ 608 w 859"/>
              <a:gd name="T57" fmla="*/ 466 h 752"/>
              <a:gd name="T58" fmla="*/ 788 w 859"/>
              <a:gd name="T59" fmla="*/ 466 h 752"/>
              <a:gd name="T60" fmla="*/ 859 w 859"/>
              <a:gd name="T61" fmla="*/ 376 h 752"/>
              <a:gd name="T62" fmla="*/ 859 w 859"/>
              <a:gd name="T63" fmla="*/ 143 h 752"/>
              <a:gd name="T64" fmla="*/ 0 w 859"/>
              <a:gd name="T65" fmla="*/ 143 h 752"/>
              <a:gd name="T66" fmla="*/ 716 w 859"/>
              <a:gd name="T67" fmla="*/ 681 h 752"/>
              <a:gd name="T68" fmla="*/ 143 w 859"/>
              <a:gd name="T69" fmla="*/ 681 h 752"/>
              <a:gd name="T70" fmla="*/ 143 w 859"/>
              <a:gd name="T71" fmla="*/ 502 h 752"/>
              <a:gd name="T72" fmla="*/ 71 w 859"/>
              <a:gd name="T73" fmla="*/ 502 h 752"/>
              <a:gd name="T74" fmla="*/ 71 w 859"/>
              <a:gd name="T75" fmla="*/ 668 h 752"/>
              <a:gd name="T76" fmla="*/ 143 w 859"/>
              <a:gd name="T77" fmla="*/ 752 h 752"/>
              <a:gd name="T78" fmla="*/ 716 w 859"/>
              <a:gd name="T79" fmla="*/ 752 h 752"/>
              <a:gd name="T80" fmla="*/ 787 w 859"/>
              <a:gd name="T81" fmla="*/ 668 h 752"/>
              <a:gd name="T82" fmla="*/ 787 w 859"/>
              <a:gd name="T83" fmla="*/ 502 h 752"/>
              <a:gd name="T84" fmla="*/ 716 w 859"/>
              <a:gd name="T85" fmla="*/ 502 h 752"/>
              <a:gd name="T86" fmla="*/ 716 w 859"/>
              <a:gd name="T87" fmla="*/ 68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859" h="752">
                <a:moveTo>
                  <a:pt x="608" y="0"/>
                </a:moveTo>
                <a:lnTo>
                  <a:pt x="250" y="0"/>
                </a:lnTo>
                <a:lnTo>
                  <a:pt x="250" y="72"/>
                </a:lnTo>
                <a:lnTo>
                  <a:pt x="608" y="72"/>
                </a:lnTo>
                <a:lnTo>
                  <a:pt x="608" y="0"/>
                </a:lnTo>
                <a:close/>
                <a:moveTo>
                  <a:pt x="608" y="394"/>
                </a:moveTo>
                <a:lnTo>
                  <a:pt x="608" y="322"/>
                </a:lnTo>
                <a:lnTo>
                  <a:pt x="537" y="322"/>
                </a:lnTo>
                <a:lnTo>
                  <a:pt x="537" y="394"/>
                </a:lnTo>
                <a:lnTo>
                  <a:pt x="322" y="394"/>
                </a:lnTo>
                <a:lnTo>
                  <a:pt x="322" y="322"/>
                </a:lnTo>
                <a:lnTo>
                  <a:pt x="250" y="322"/>
                </a:lnTo>
                <a:lnTo>
                  <a:pt x="250" y="394"/>
                </a:lnTo>
                <a:lnTo>
                  <a:pt x="71" y="394"/>
                </a:lnTo>
                <a:lnTo>
                  <a:pt x="71" y="215"/>
                </a:lnTo>
                <a:lnTo>
                  <a:pt x="787" y="215"/>
                </a:lnTo>
                <a:lnTo>
                  <a:pt x="787" y="394"/>
                </a:lnTo>
                <a:lnTo>
                  <a:pt x="608" y="394"/>
                </a:lnTo>
                <a:close/>
                <a:moveTo>
                  <a:pt x="0" y="143"/>
                </a:moveTo>
                <a:lnTo>
                  <a:pt x="0" y="376"/>
                </a:lnTo>
                <a:cubicBezTo>
                  <a:pt x="0" y="416"/>
                  <a:pt x="32" y="466"/>
                  <a:pt x="71" y="466"/>
                </a:cubicBezTo>
                <a:lnTo>
                  <a:pt x="250" y="466"/>
                </a:lnTo>
                <a:lnTo>
                  <a:pt x="250" y="537"/>
                </a:lnTo>
                <a:lnTo>
                  <a:pt x="322" y="537"/>
                </a:lnTo>
                <a:lnTo>
                  <a:pt x="322" y="466"/>
                </a:lnTo>
                <a:lnTo>
                  <a:pt x="537" y="466"/>
                </a:lnTo>
                <a:lnTo>
                  <a:pt x="537" y="537"/>
                </a:lnTo>
                <a:lnTo>
                  <a:pt x="608" y="537"/>
                </a:lnTo>
                <a:lnTo>
                  <a:pt x="608" y="466"/>
                </a:lnTo>
                <a:lnTo>
                  <a:pt x="788" y="466"/>
                </a:lnTo>
                <a:cubicBezTo>
                  <a:pt x="827" y="466"/>
                  <a:pt x="859" y="416"/>
                  <a:pt x="859" y="376"/>
                </a:cubicBezTo>
                <a:lnTo>
                  <a:pt x="859" y="143"/>
                </a:lnTo>
                <a:lnTo>
                  <a:pt x="0" y="143"/>
                </a:lnTo>
                <a:close/>
                <a:moveTo>
                  <a:pt x="716" y="681"/>
                </a:moveTo>
                <a:lnTo>
                  <a:pt x="143" y="681"/>
                </a:lnTo>
                <a:lnTo>
                  <a:pt x="143" y="502"/>
                </a:lnTo>
                <a:lnTo>
                  <a:pt x="71" y="502"/>
                </a:lnTo>
                <a:lnTo>
                  <a:pt x="71" y="668"/>
                </a:lnTo>
                <a:cubicBezTo>
                  <a:pt x="71" y="704"/>
                  <a:pt x="104" y="752"/>
                  <a:pt x="143" y="752"/>
                </a:cubicBezTo>
                <a:lnTo>
                  <a:pt x="716" y="752"/>
                </a:lnTo>
                <a:cubicBezTo>
                  <a:pt x="755" y="752"/>
                  <a:pt x="787" y="704"/>
                  <a:pt x="787" y="668"/>
                </a:cubicBezTo>
                <a:lnTo>
                  <a:pt x="787" y="502"/>
                </a:lnTo>
                <a:lnTo>
                  <a:pt x="716" y="502"/>
                </a:lnTo>
                <a:lnTo>
                  <a:pt x="716" y="68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4" name="Прямоугольник 23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0" y="6516869"/>
            <a:ext cx="12192000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ГК «Просвещение», 2021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948970" y="108504"/>
            <a:ext cx="244579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ЕГЭ 2021 физика </a:t>
            </a:r>
            <a:endParaRPr kumimoji="0" lang="ru-RU" sz="24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7" name="Picture 3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2951860" y="2805177"/>
            <a:ext cx="6536269" cy="3665395"/>
          </a:xfrm>
          <a:prstGeom prst="rect">
            <a:avLst/>
          </a:prstGeom>
          <a:noFill/>
          <a:ln w="9525">
            <a:solidFill>
              <a:schemeClr val="tx2">
                <a:lumMod val="75000"/>
              </a:schemeClr>
            </a:solidFill>
            <a:miter lim="800000"/>
            <a:headEnd/>
            <a:tailEnd/>
          </a:ln>
        </p:spPr>
      </p:pic>
      <p:pic>
        <p:nvPicPr>
          <p:cNvPr id="18" name="Picture 4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2951861" y="635483"/>
            <a:ext cx="6536269" cy="2083689"/>
          </a:xfrm>
          <a:prstGeom prst="rect">
            <a:avLst/>
          </a:prstGeom>
          <a:noFill/>
          <a:ln w="9525">
            <a:solidFill>
              <a:schemeClr val="tx2">
                <a:lumMod val="75000"/>
              </a:schemeClr>
            </a:solidFill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0992331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Ksfz2C1qJMSUX3vhOgGv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Ksfz2C1qJMSUX3vhOgGv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o5uqDj7qfaJbUX6I4Lbc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Стандартная">
    <a:majorFont>
      <a:latin typeface="Calibri Light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18812</TotalTime>
  <Words>4143</Words>
  <Application>Microsoft Office PowerPoint</Application>
  <PresentationFormat>Широкоэкранный</PresentationFormat>
  <Paragraphs>819</Paragraphs>
  <Slides>55</Slides>
  <Notes>29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14</vt:i4>
      </vt:variant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55</vt:i4>
      </vt:variant>
    </vt:vector>
  </HeadingPairs>
  <TitlesOfParts>
    <vt:vector size="72" baseType="lpstr">
      <vt:lpstr>Arial</vt:lpstr>
      <vt:lpstr>Calibri</vt:lpstr>
      <vt:lpstr>Calibri Light</vt:lpstr>
      <vt:lpstr>Cambria</vt:lpstr>
      <vt:lpstr>Cambria Math</vt:lpstr>
      <vt:lpstr>Courier New</vt:lpstr>
      <vt:lpstr>Franklin Gothic Book</vt:lpstr>
      <vt:lpstr>FuturaPT-Book</vt:lpstr>
      <vt:lpstr>Helvetica Light</vt:lpstr>
      <vt:lpstr>Open Sans</vt:lpstr>
      <vt:lpstr>Open Sans Condensed</vt:lpstr>
      <vt:lpstr>Open Sans Light</vt:lpstr>
      <vt:lpstr>Times New Roman</vt:lpstr>
      <vt:lpstr>Wingdings</vt:lpstr>
      <vt:lpstr>Тема Office</vt:lpstr>
      <vt:lpstr>1_Тема Office</vt:lpstr>
      <vt:lpstr>Слайд think-cell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Компоненты линии УМК ГРОМОВ С.В., РОДИНА Н.А.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Маркетинг</dc:creator>
  <cp:lastModifiedBy>Литвинов Олег Андреевич</cp:lastModifiedBy>
  <cp:revision>656</cp:revision>
  <dcterms:created xsi:type="dcterms:W3CDTF">2020-02-25T09:30:21Z</dcterms:created>
  <dcterms:modified xsi:type="dcterms:W3CDTF">2021-03-18T06:29:38Z</dcterms:modified>
</cp:coreProperties>
</file>